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3.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5.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2.xml" ContentType="application/vnd.openxmlformats-officedocument.drawingml.chartshape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3.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tags/tag22.xml" ContentType="application/vnd.openxmlformats-officedocument.presentationml.tags+xml"/>
  <Override PartName="/ppt/tags/tag23.xml" ContentType="application/vnd.openxmlformats-officedocument.presentationml.tags+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diagrams/data30.xml" ContentType="application/vnd.openxmlformats-officedocument.drawingml.diagramData+xml"/>
  <Override PartName="/ppt/diagrams/layout30.xml" ContentType="application/vnd.openxmlformats-officedocument.drawingml.diagramLayout+xml"/>
  <Override PartName="/ppt/diagrams/quickStyle30.xml" ContentType="application/vnd.openxmlformats-officedocument.drawingml.diagramStyle+xml"/>
  <Override PartName="/ppt/diagrams/colors30.xml" ContentType="application/vnd.openxmlformats-officedocument.drawingml.diagramColors+xml"/>
  <Override PartName="/ppt/diagrams/drawing30.xml" ContentType="application/vnd.ms-office.drawingml.diagramDrawing+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diagrams/data31.xml" ContentType="application/vnd.openxmlformats-officedocument.drawingml.diagramData+xml"/>
  <Override PartName="/ppt/diagrams/layout31.xml" ContentType="application/vnd.openxmlformats-officedocument.drawingml.diagramLayout+xml"/>
  <Override PartName="/ppt/diagrams/quickStyle31.xml" ContentType="application/vnd.openxmlformats-officedocument.drawingml.diagramStyle+xml"/>
  <Override PartName="/ppt/diagrams/colors31.xml" ContentType="application/vnd.openxmlformats-officedocument.drawingml.diagramColors+xml"/>
  <Override PartName="/ppt/diagrams/drawing31.xml" ContentType="application/vnd.ms-office.drawingml.diagramDrawing+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diagrams/data32.xml" ContentType="application/vnd.openxmlformats-officedocument.drawingml.diagramData+xml"/>
  <Override PartName="/ppt/diagrams/layout32.xml" ContentType="application/vnd.openxmlformats-officedocument.drawingml.diagramLayout+xml"/>
  <Override PartName="/ppt/diagrams/quickStyle32.xml" ContentType="application/vnd.openxmlformats-officedocument.drawingml.diagramStyle+xml"/>
  <Override PartName="/ppt/diagrams/colors32.xml" ContentType="application/vnd.openxmlformats-officedocument.drawingml.diagramColors+xml"/>
  <Override PartName="/ppt/diagrams/drawing32.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664" r:id="rId5"/>
    <p:sldMasterId id="2147483666" r:id="rId6"/>
    <p:sldMasterId id="2147483668" r:id="rId7"/>
    <p:sldMasterId id="2147483698" r:id="rId8"/>
    <p:sldMasterId id="2147483718" r:id="rId9"/>
  </p:sldMasterIdLst>
  <p:notesMasterIdLst>
    <p:notesMasterId r:id="rId43"/>
  </p:notesMasterIdLst>
  <p:handoutMasterIdLst>
    <p:handoutMasterId r:id="rId44"/>
  </p:handoutMasterIdLst>
  <p:sldIdLst>
    <p:sldId id="375" r:id="rId10"/>
    <p:sldId id="398" r:id="rId11"/>
    <p:sldId id="468" r:id="rId12"/>
    <p:sldId id="470" r:id="rId13"/>
    <p:sldId id="472" r:id="rId14"/>
    <p:sldId id="514" r:id="rId15"/>
    <p:sldId id="515" r:id="rId16"/>
    <p:sldId id="516" r:id="rId17"/>
    <p:sldId id="517" r:id="rId18"/>
    <p:sldId id="518" r:id="rId19"/>
    <p:sldId id="519" r:id="rId20"/>
    <p:sldId id="520" r:id="rId21"/>
    <p:sldId id="521" r:id="rId22"/>
    <p:sldId id="480" r:id="rId23"/>
    <p:sldId id="482" r:id="rId24"/>
    <p:sldId id="483" r:id="rId25"/>
    <p:sldId id="484" r:id="rId26"/>
    <p:sldId id="485" r:id="rId27"/>
    <p:sldId id="486" r:id="rId28"/>
    <p:sldId id="487" r:id="rId29"/>
    <p:sldId id="488" r:id="rId30"/>
    <p:sldId id="489" r:id="rId31"/>
    <p:sldId id="490" r:id="rId32"/>
    <p:sldId id="491" r:id="rId33"/>
    <p:sldId id="492" r:id="rId34"/>
    <p:sldId id="493" r:id="rId35"/>
    <p:sldId id="406" r:id="rId36"/>
    <p:sldId id="495" r:id="rId37"/>
    <p:sldId id="542" r:id="rId38"/>
    <p:sldId id="544" r:id="rId39"/>
    <p:sldId id="545" r:id="rId40"/>
    <p:sldId id="546" r:id="rId41"/>
    <p:sldId id="537" r:id="rId42"/>
  </p:sldIdLst>
  <p:sldSz cx="9144000" cy="5715000" type="screen16x10"/>
  <p:notesSz cx="9926638" cy="6797675"/>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orient="horz" pos="212" userDrawn="1">
          <p15:clr>
            <a:srgbClr val="A4A3A4"/>
          </p15:clr>
        </p15:guide>
      </p15:sldGuideLst>
    </p:ext>
    <p:ext uri="{2D200454-40CA-4A62-9FC3-DE9A4176ACB9}">
      <p15:notesGuideLst xmlns:p15="http://schemas.microsoft.com/office/powerpoint/2012/main">
        <p15:guide id="1" orient="horz" pos="2141" userDrawn="1">
          <p15:clr>
            <a:srgbClr val="A4A3A4"/>
          </p15:clr>
        </p15:guide>
        <p15:guide id="2" pos="3127"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C002E"/>
    <a:srgbClr val="0033A0"/>
    <a:srgbClr val="008080"/>
    <a:srgbClr val="006666"/>
    <a:srgbClr val="CC0000"/>
    <a:srgbClr val="004687"/>
    <a:srgbClr val="0033CC"/>
    <a:srgbClr val="E31E24"/>
    <a:srgbClr val="46AAC5"/>
    <a:srgbClr val="FFED0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Stile medio 4 - Colore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3C2FFA5D-87B4-456A-9821-1D502468CF0F}" styleName="Stile con tema 1 - Colore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DF18680-E054-41AD-8BC1-D1AEF772440D}" styleName="Stile medio 2 - Colore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Stile medio 2 - Colore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3134" autoAdjust="0"/>
    <p:restoredTop sz="94095" autoAdjust="0"/>
  </p:normalViewPr>
  <p:slideViewPr>
    <p:cSldViewPr snapToGrid="0">
      <p:cViewPr varScale="1">
        <p:scale>
          <a:sx n="126" d="100"/>
          <a:sy n="126" d="100"/>
        </p:scale>
        <p:origin x="780" y="126"/>
      </p:cViewPr>
      <p:guideLst>
        <p:guide orient="horz" pos="2160"/>
        <p:guide pos="2880"/>
        <p:guide orient="horz" pos="21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71" d="100"/>
          <a:sy n="71" d="100"/>
        </p:scale>
        <p:origin x="720" y="36"/>
      </p:cViewPr>
      <p:guideLst>
        <p:guide orient="horz" pos="2141"/>
        <p:guide pos="3127"/>
      </p:guideLst>
    </p:cSldViewPr>
  </p:notesViewPr>
  <p:gridSpacing cx="45005" cy="45005"/>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notesMaster" Target="notesMasters/notesMaster1.xml"/><Relationship Id="rId48"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viewProps" Target="viewProps.xml"/><Relationship Id="rId20" Type="http://schemas.openxmlformats.org/officeDocument/2006/relationships/slide" Target="slides/slide11.xml"/><Relationship Id="rId41" Type="http://schemas.openxmlformats.org/officeDocument/2006/relationships/slide" Target="slides/slide3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file:///C:\Users\a24444e\Desktop\MP\Gennaio%2022\Riunione%20AD\MP%20al%2005.01.2022%20x%20Riunione%20AD.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14.xml"/><Relationship Id="rId1" Type="http://schemas.microsoft.com/office/2011/relationships/chartStyle" Target="style14.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2.xml"/></Relationships>
</file>

<file path=ppt/charts/_rels/chart4.xml.rels><?xml version="1.0" encoding="UTF-8" standalone="yes"?>
<Relationships xmlns="http://schemas.openxmlformats.org/package/2006/relationships"><Relationship Id="rId3" Type="http://schemas.openxmlformats.org/officeDocument/2006/relationships/oleObject" Target="file:///\\dg-home\home\A22074C\SOC\Slide\SalaOperativaGiornaliero_16%20tratte%20su%20A90_dal_01-01-2021_al_31-12-2021.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dg-home\home\A22074C\SOC\Slide\SalaOperativaGiornaliero_5%20tratte%20su%20SS148_dal_01-01-2021_al_31-12-2021.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dg-home\home\A22074C\SOC\Slide\SalaOperativaGiornaliero_6%20tratte%20su%20A91_dal_01-01-2021_al_31-12-2021.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dg-home\home\A22074C\SOC\Slide\grafici.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baseline="0">
                <a:solidFill>
                  <a:srgbClr val="C00000"/>
                </a:solidFill>
                <a:latin typeface="+mn-lt"/>
                <a:ea typeface="+mn-ea"/>
                <a:cs typeface="+mn-cs"/>
              </a:defRPr>
            </a:pPr>
            <a:r>
              <a:rPr lang="it-IT" sz="1800" dirty="0">
                <a:solidFill>
                  <a:srgbClr val="C00000"/>
                </a:solidFill>
              </a:rPr>
              <a:t>TOTALE PERSONALE ST LAZIO: 353</a:t>
            </a:r>
          </a:p>
        </c:rich>
      </c:tx>
      <c:layout>
        <c:manualLayout>
          <c:xMode val="edge"/>
          <c:yMode val="edge"/>
          <c:x val="0.5470725442106622"/>
          <c:y val="0.17821782178217821"/>
        </c:manualLayout>
      </c:layout>
      <c:overlay val="0"/>
      <c:spPr>
        <a:noFill/>
        <a:ln>
          <a:noFill/>
        </a:ln>
        <a:effectLst/>
      </c:spPr>
      <c:txPr>
        <a:bodyPr rot="0" spcFirstLastPara="1" vertOverflow="ellipsis" vert="horz" wrap="square" anchor="ctr" anchorCtr="1"/>
        <a:lstStyle/>
        <a:p>
          <a:pPr>
            <a:defRPr sz="1400" b="1" i="0" u="none" strike="noStrike" kern="1200" cap="all" baseline="0">
              <a:solidFill>
                <a:srgbClr val="C00000"/>
              </a:solidFill>
              <a:latin typeface="+mn-lt"/>
              <a:ea typeface="+mn-ea"/>
              <a:cs typeface="+mn-cs"/>
            </a:defRPr>
          </a:pPr>
          <a:endParaRPr lang="it-IT"/>
        </a:p>
      </c:txPr>
    </c:title>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6.8487828626399567E-4"/>
          <c:y val="9.248109456614953E-2"/>
          <c:w val="0.73437227313798892"/>
          <c:h val="0.60246355344195834"/>
        </c:manualLayout>
      </c:layout>
      <c:pie3DChart>
        <c:varyColors val="1"/>
        <c:ser>
          <c:idx val="0"/>
          <c:order val="0"/>
          <c:tx>
            <c:strRef>
              <c:f>Foglio1!$B$1</c:f>
              <c:strCache>
                <c:ptCount val="1"/>
                <c:pt idx="0">
                  <c:v>TOTALE PERSONALE: 353</c:v>
                </c:pt>
              </c:strCache>
            </c:strRef>
          </c:tx>
          <c:explosion val="5"/>
          <c:dPt>
            <c:idx val="0"/>
            <c:bubble3D val="0"/>
            <c:spPr>
              <a:solidFill>
                <a:schemeClr val="accent1"/>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1-9242-416F-B942-75D62DF68081}"/>
              </c:ext>
            </c:extLst>
          </c:dPt>
          <c:dPt>
            <c:idx val="1"/>
            <c:bubble3D val="0"/>
            <c:spPr>
              <a:solidFill>
                <a:schemeClr val="accent2"/>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3-9242-416F-B942-75D62DF68081}"/>
              </c:ext>
            </c:extLst>
          </c:dPt>
          <c:dPt>
            <c:idx val="2"/>
            <c:bubble3D val="0"/>
            <c:spPr>
              <a:solidFill>
                <a:schemeClr val="accent3"/>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5-9242-416F-B942-75D62DF68081}"/>
              </c:ext>
            </c:extLst>
          </c:dPt>
          <c:dPt>
            <c:idx val="3"/>
            <c:bubble3D val="0"/>
            <c:spPr>
              <a:solidFill>
                <a:schemeClr val="accent4"/>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7-9242-416F-B942-75D62DF68081}"/>
              </c:ext>
            </c:extLst>
          </c:dPt>
          <c:dLbls>
            <c:dLbl>
              <c:idx val="0"/>
              <c:layout>
                <c:manualLayout>
                  <c:x val="-0.11143229637278947"/>
                  <c:y val="-0.10094994932564127"/>
                </c:manualLayout>
              </c:layout>
              <c:spPr>
                <a:noFill/>
                <a:ln>
                  <a:noFill/>
                </a:ln>
                <a:effectLst/>
              </c:spPr>
              <c:txPr>
                <a:bodyPr rot="0" spcFirstLastPara="1" vertOverflow="ellipsis" vert="horz" wrap="square" lIns="38100" tIns="19050" rIns="38100" bIns="19050" anchor="ctr" anchorCtr="1">
                  <a:spAutoFit/>
                </a:bodyPr>
                <a:lstStyle/>
                <a:p>
                  <a:pPr>
                    <a:defRPr sz="2000" b="1" i="0" u="none" strike="noStrike" kern="1200" spc="0" baseline="0">
                      <a:solidFill>
                        <a:schemeClr val="bg1">
                          <a:lumMod val="95000"/>
                        </a:schemeClr>
                      </a:solidFill>
                      <a:latin typeface="+mn-lt"/>
                      <a:ea typeface="+mn-ea"/>
                      <a:cs typeface="+mn-cs"/>
                    </a:defRPr>
                  </a:pPr>
                  <a:endParaRPr lang="it-IT"/>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242-416F-B942-75D62DF68081}"/>
                </c:ext>
              </c:extLst>
            </c:dLbl>
            <c:dLbl>
              <c:idx val="1"/>
              <c:layout>
                <c:manualLayout>
                  <c:x val="8.2043242545501521E-2"/>
                  <c:y val="9.5891478911670699E-3"/>
                </c:manualLayout>
              </c:layout>
              <c:tx>
                <c:rich>
                  <a:bodyPr rot="0" spcFirstLastPara="1" vertOverflow="ellipsis" vert="horz" wrap="square" lIns="38100" tIns="19050" rIns="38100" bIns="19050" anchor="ctr" anchorCtr="1">
                    <a:spAutoFit/>
                  </a:bodyPr>
                  <a:lstStyle/>
                  <a:p>
                    <a:pPr>
                      <a:defRPr sz="1800" b="1" i="0" u="none" strike="noStrike" kern="1200" spc="0" baseline="0">
                        <a:solidFill>
                          <a:schemeClr val="bg1">
                            <a:lumMod val="95000"/>
                          </a:schemeClr>
                        </a:solidFill>
                        <a:latin typeface="+mn-lt"/>
                        <a:ea typeface="+mn-ea"/>
                        <a:cs typeface="+mn-cs"/>
                      </a:defRPr>
                    </a:pPr>
                    <a:r>
                      <a:rPr lang="en-US" dirty="0"/>
                      <a:t>146</a:t>
                    </a:r>
                  </a:p>
                </c:rich>
              </c:tx>
              <c:spPr>
                <a:noFill/>
                <a:ln>
                  <a:noFill/>
                </a:ln>
                <a:effectLst/>
              </c:spPr>
              <c:txPr>
                <a:bodyPr rot="0" spcFirstLastPara="1" vertOverflow="ellipsis" vert="horz" wrap="square" lIns="38100" tIns="19050" rIns="38100" bIns="19050" anchor="ctr" anchorCtr="1">
                  <a:spAutoFit/>
                </a:bodyPr>
                <a:lstStyle/>
                <a:p>
                  <a:pPr>
                    <a:defRPr sz="1800" b="1" i="0" u="none" strike="noStrike" kern="1200" spc="0" baseline="0">
                      <a:solidFill>
                        <a:schemeClr val="bg1">
                          <a:lumMod val="95000"/>
                        </a:schemeClr>
                      </a:solidFill>
                      <a:latin typeface="+mn-lt"/>
                      <a:ea typeface="+mn-ea"/>
                      <a:cs typeface="+mn-cs"/>
                    </a:defRPr>
                  </a:pPr>
                  <a:endParaRPr lang="it-IT"/>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242-416F-B942-75D62DF68081}"/>
                </c:ext>
              </c:extLst>
            </c:dLbl>
            <c:dLbl>
              <c:idx val="2"/>
              <c:layout>
                <c:manualLayout>
                  <c:x val="-5.1104427520330453E-2"/>
                  <c:y val="5.6852732517346221E-3"/>
                </c:manualLayout>
              </c:layout>
              <c:tx>
                <c:rich>
                  <a:bodyPr rot="0" spcFirstLastPara="1" vertOverflow="ellipsis" vert="horz" wrap="square" lIns="38100" tIns="19050" rIns="38100" bIns="19050" anchor="ctr" anchorCtr="1">
                    <a:spAutoFit/>
                  </a:bodyPr>
                  <a:lstStyle/>
                  <a:p>
                    <a:pPr>
                      <a:defRPr sz="1330" b="1" i="0" u="none" strike="noStrike" kern="1200" spc="0" baseline="0">
                        <a:solidFill>
                          <a:srgbClr val="C00000"/>
                        </a:solidFill>
                        <a:latin typeface="+mn-lt"/>
                        <a:ea typeface="+mn-ea"/>
                        <a:cs typeface="+mn-cs"/>
                      </a:defRPr>
                    </a:pPr>
                    <a:r>
                      <a:rPr lang="en-US" dirty="0"/>
                      <a:t>12</a:t>
                    </a:r>
                  </a:p>
                </c:rich>
              </c:tx>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rgbClr val="C00000"/>
                      </a:solidFill>
                      <a:latin typeface="+mn-lt"/>
                      <a:ea typeface="+mn-ea"/>
                      <a:cs typeface="+mn-cs"/>
                    </a:defRPr>
                  </a:pPr>
                  <a:endParaRPr lang="it-IT"/>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242-416F-B942-75D62DF68081}"/>
                </c:ext>
              </c:extLst>
            </c:dLbl>
            <c:dLbl>
              <c:idx val="3"/>
              <c:layout>
                <c:manualLayout>
                  <c:x val="5.0413966696785793E-2"/>
                  <c:y val="5.5700865362126751E-3"/>
                </c:manualLayout>
              </c:layout>
              <c:tx>
                <c:rich>
                  <a:bodyPr rot="0" spcFirstLastPara="1" vertOverflow="ellipsis" vert="horz" wrap="square" lIns="38100" tIns="19050" rIns="38100" bIns="19050" anchor="ctr" anchorCtr="1">
                    <a:spAutoFit/>
                  </a:bodyPr>
                  <a:lstStyle/>
                  <a:p>
                    <a:pPr>
                      <a:defRPr sz="1330" b="1" i="0" u="none" strike="noStrike" kern="1200" spc="0" baseline="0">
                        <a:solidFill>
                          <a:srgbClr val="C00000"/>
                        </a:solidFill>
                        <a:latin typeface="+mn-lt"/>
                        <a:ea typeface="+mn-ea"/>
                        <a:cs typeface="+mn-cs"/>
                      </a:defRPr>
                    </a:pPr>
                    <a:r>
                      <a:rPr lang="en-US" dirty="0"/>
                      <a:t>2</a:t>
                    </a:r>
                  </a:p>
                </c:rich>
              </c:tx>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rgbClr val="C00000"/>
                      </a:solidFill>
                      <a:latin typeface="+mn-lt"/>
                      <a:ea typeface="+mn-ea"/>
                      <a:cs typeface="+mn-cs"/>
                    </a:defRPr>
                  </a:pPr>
                  <a:endParaRPr lang="it-IT"/>
                </a:p>
              </c:txPr>
              <c:showLegendKey val="0"/>
              <c:showVal val="1"/>
              <c:showCatName val="0"/>
              <c:showSerName val="0"/>
              <c:showPercent val="0"/>
              <c:showBubbleSize val="0"/>
              <c:extLst>
                <c:ext xmlns:c15="http://schemas.microsoft.com/office/drawing/2012/chart" uri="{CE6537A1-D6FC-4f65-9D91-7224C49458BB}">
                  <c15:layout>
                    <c:manualLayout>
                      <c:w val="2.2524590163934426E-2"/>
                      <c:h val="9.5222967178607607E-2"/>
                    </c:manualLayout>
                  </c15:layout>
                  <c15:showDataLabelsRange val="0"/>
                </c:ext>
                <c:ext xmlns:c16="http://schemas.microsoft.com/office/drawing/2014/chart" uri="{C3380CC4-5D6E-409C-BE32-E72D297353CC}">
                  <c16:uniqueId val="{00000007-9242-416F-B942-75D62DF68081}"/>
                </c:ext>
              </c:extLst>
            </c:dLbl>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bg1">
                        <a:lumMod val="95000"/>
                      </a:schemeClr>
                    </a:solidFill>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extLst>
          </c:dLbls>
          <c:cat>
            <c:strRef>
              <c:f>Foglio1!$A$2:$A$5</c:f>
              <c:strCache>
                <c:ptCount val="4"/>
                <c:pt idx="0">
                  <c:v>SEDE  </c:v>
                </c:pt>
                <c:pt idx="1">
                  <c:v>ESERCIZIO</c:v>
                </c:pt>
                <c:pt idx="2">
                  <c:v>BARBARANO </c:v>
                </c:pt>
                <c:pt idx="3">
                  <c:v>TIBURTINA </c:v>
                </c:pt>
              </c:strCache>
            </c:strRef>
          </c:cat>
          <c:val>
            <c:numRef>
              <c:f>Foglio1!$B$2:$B$5</c:f>
              <c:numCache>
                <c:formatCode>General</c:formatCode>
                <c:ptCount val="4"/>
                <c:pt idx="0">
                  <c:v>193</c:v>
                </c:pt>
                <c:pt idx="1">
                  <c:v>129</c:v>
                </c:pt>
                <c:pt idx="2">
                  <c:v>12</c:v>
                </c:pt>
                <c:pt idx="3">
                  <c:v>2</c:v>
                </c:pt>
              </c:numCache>
            </c:numRef>
          </c:val>
          <c:extLst>
            <c:ext xmlns:c16="http://schemas.microsoft.com/office/drawing/2014/chart" uri="{C3380CC4-5D6E-409C-BE32-E72D297353CC}">
              <c16:uniqueId val="{00000008-9242-416F-B942-75D62DF68081}"/>
            </c:ext>
          </c:extLst>
        </c:ser>
        <c:dLbls>
          <c:showLegendKey val="0"/>
          <c:showVal val="0"/>
          <c:showCatName val="0"/>
          <c:showSerName val="0"/>
          <c:showPercent val="1"/>
          <c:showBubbleSize val="0"/>
          <c:showLeaderLines val="0"/>
        </c:dLbls>
      </c:pie3DChart>
      <c:spPr>
        <a:noFill/>
        <a:ln>
          <a:noFill/>
        </a:ln>
        <a:effectLst/>
      </c:spPr>
    </c:plotArea>
    <c:legend>
      <c:legendPos val="r"/>
      <c:layout>
        <c:manualLayout>
          <c:xMode val="edge"/>
          <c:yMode val="edge"/>
          <c:x val="0.67465737175894758"/>
          <c:y val="0.3668422078428315"/>
          <c:w val="0.13819555957144702"/>
          <c:h val="0.4052264754034458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it-IT"/>
        </a:p>
      </c:txPr>
    </c:legend>
    <c:plotVisOnly val="1"/>
    <c:dispBlanksAs val="zero"/>
    <c:showDLblsOverMax val="0"/>
  </c:chart>
  <c:spPr>
    <a:noFill/>
    <a:ln>
      <a:noFill/>
    </a:ln>
    <a:effectLst/>
  </c:spPr>
  <c:txPr>
    <a:bodyPr/>
    <a:lstStyle/>
    <a:p>
      <a:pPr>
        <a:defRPr/>
      </a:pPr>
      <a:endParaRPr lang="it-IT"/>
    </a:p>
  </c:txPr>
  <c:externalData r:id="rId3">
    <c:autoUpdate val="0"/>
  </c:externalData>
  <c:userShapes r:id="rId4"/>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it-IT" dirty="0"/>
              <a:t>Progetti MP</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it-IT"/>
        </a:p>
      </c:txPr>
    </c:title>
    <c:autoTitleDeleted val="0"/>
    <c:plotArea>
      <c:layout/>
      <c:barChart>
        <c:barDir val="col"/>
        <c:grouping val="clustered"/>
        <c:varyColors val="0"/>
        <c:ser>
          <c:idx val="0"/>
          <c:order val="0"/>
          <c:spPr>
            <a:solidFill>
              <a:srgbClr val="006666"/>
            </a:solidFill>
            <a:ln>
              <a:noFill/>
            </a:ln>
            <a:effectLst/>
          </c:spPr>
          <c:invertIfNegative val="0"/>
          <c:dPt>
            <c:idx val="2"/>
            <c:invertIfNegative val="0"/>
            <c:bubble3D val="0"/>
            <c:spPr>
              <a:solidFill>
                <a:srgbClr val="DC002E"/>
              </a:solidFill>
              <a:ln>
                <a:noFill/>
              </a:ln>
              <a:effectLst/>
            </c:spPr>
            <c:extLst>
              <c:ext xmlns:c16="http://schemas.microsoft.com/office/drawing/2014/chart" uri="{C3380CC4-5D6E-409C-BE32-E72D297353CC}">
                <c16:uniqueId val="{00000001-FB18-4A11-A71B-0DE70953498D}"/>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ogetti!$B$581:$B$584</c:f>
              <c:strCache>
                <c:ptCount val="4"/>
                <c:pt idx="0">
                  <c:v>2019</c:v>
                </c:pt>
                <c:pt idx="1">
                  <c:v>2020</c:v>
                </c:pt>
                <c:pt idx="2">
                  <c:v>Stima 2021</c:v>
                </c:pt>
                <c:pt idx="3">
                  <c:v>2021</c:v>
                </c:pt>
              </c:strCache>
            </c:strRef>
          </c:cat>
          <c:val>
            <c:numRef>
              <c:f>Progetti!$C$581:$C$584</c:f>
              <c:numCache>
                <c:formatCode>#,##0</c:formatCode>
                <c:ptCount val="4"/>
                <c:pt idx="0">
                  <c:v>92127552.110000029</c:v>
                </c:pt>
                <c:pt idx="1">
                  <c:v>110255576.16999999</c:v>
                </c:pt>
                <c:pt idx="2">
                  <c:v>156000000</c:v>
                </c:pt>
                <c:pt idx="3">
                  <c:v>190651922.20000002</c:v>
                </c:pt>
              </c:numCache>
            </c:numRef>
          </c:val>
          <c:extLst>
            <c:ext xmlns:c16="http://schemas.microsoft.com/office/drawing/2014/chart" uri="{C3380CC4-5D6E-409C-BE32-E72D297353CC}">
              <c16:uniqueId val="{00000002-FB18-4A11-A71B-0DE70953498D}"/>
            </c:ext>
          </c:extLst>
        </c:ser>
        <c:dLbls>
          <c:showLegendKey val="0"/>
          <c:showVal val="0"/>
          <c:showCatName val="0"/>
          <c:showSerName val="0"/>
          <c:showPercent val="0"/>
          <c:showBubbleSize val="0"/>
        </c:dLbls>
        <c:gapWidth val="219"/>
        <c:overlap val="-27"/>
        <c:axId val="1352366192"/>
        <c:axId val="1352385776"/>
      </c:barChart>
      <c:catAx>
        <c:axId val="1352366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it-IT"/>
          </a:p>
        </c:txPr>
        <c:crossAx val="1352385776"/>
        <c:crosses val="autoZero"/>
        <c:auto val="1"/>
        <c:lblAlgn val="ctr"/>
        <c:lblOffset val="100"/>
        <c:noMultiLvlLbl val="0"/>
      </c:catAx>
      <c:valAx>
        <c:axId val="135238577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it-IT"/>
          </a:p>
        </c:txPr>
        <c:crossAx val="13523661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it-IT"/>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it-IT"/>
              <a:t>Produzione MP (€/Milioni)</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it-IT"/>
        </a:p>
      </c:txPr>
    </c:title>
    <c:autoTitleDeleted val="0"/>
    <c:plotArea>
      <c:layout/>
      <c:barChart>
        <c:barDir val="col"/>
        <c:grouping val="stacked"/>
        <c:varyColors val="0"/>
        <c:ser>
          <c:idx val="0"/>
          <c:order val="0"/>
          <c:spPr>
            <a:solidFill>
              <a:srgbClr val="DC002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it-IT"/>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tato Lavori'!$B$42:$F$42</c:f>
              <c:numCache>
                <c:formatCode>General</c:formatCode>
                <c:ptCount val="5"/>
                <c:pt idx="0">
                  <c:v>2018</c:v>
                </c:pt>
                <c:pt idx="1">
                  <c:v>2019</c:v>
                </c:pt>
                <c:pt idx="2">
                  <c:v>2020</c:v>
                </c:pt>
                <c:pt idx="3">
                  <c:v>2021</c:v>
                </c:pt>
                <c:pt idx="4">
                  <c:v>2022</c:v>
                </c:pt>
              </c:numCache>
            </c:numRef>
          </c:cat>
          <c:val>
            <c:numRef>
              <c:f>'Stato Lavori'!$B$43:$F$43</c:f>
              <c:numCache>
                <c:formatCode>#,##0.00</c:formatCode>
                <c:ptCount val="5"/>
                <c:pt idx="0">
                  <c:v>15.59</c:v>
                </c:pt>
                <c:pt idx="1">
                  <c:v>36.44</c:v>
                </c:pt>
                <c:pt idx="2">
                  <c:v>57.79</c:v>
                </c:pt>
                <c:pt idx="3">
                  <c:v>81.400000000000006</c:v>
                </c:pt>
                <c:pt idx="4">
                  <c:v>80</c:v>
                </c:pt>
              </c:numCache>
            </c:numRef>
          </c:val>
          <c:extLst>
            <c:ext xmlns:c16="http://schemas.microsoft.com/office/drawing/2014/chart" uri="{C3380CC4-5D6E-409C-BE32-E72D297353CC}">
              <c16:uniqueId val="{00000000-E204-4AFE-8D7D-58F6B8887EE0}"/>
            </c:ext>
          </c:extLst>
        </c:ser>
        <c:ser>
          <c:idx val="1"/>
          <c:order val="1"/>
          <c:spPr>
            <a:solidFill>
              <a:srgbClr val="FF99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tato Lavori'!$B$42:$F$42</c:f>
              <c:numCache>
                <c:formatCode>General</c:formatCode>
                <c:ptCount val="5"/>
                <c:pt idx="0">
                  <c:v>2018</c:v>
                </c:pt>
                <c:pt idx="1">
                  <c:v>2019</c:v>
                </c:pt>
                <c:pt idx="2">
                  <c:v>2020</c:v>
                </c:pt>
                <c:pt idx="3">
                  <c:v>2021</c:v>
                </c:pt>
                <c:pt idx="4">
                  <c:v>2022</c:v>
                </c:pt>
              </c:numCache>
            </c:numRef>
          </c:cat>
          <c:val>
            <c:numRef>
              <c:f>'Stato Lavori'!$B$44:$F$44</c:f>
              <c:numCache>
                <c:formatCode>General</c:formatCode>
                <c:ptCount val="5"/>
                <c:pt idx="4" formatCode="#,##0.00">
                  <c:v>24</c:v>
                </c:pt>
              </c:numCache>
            </c:numRef>
          </c:val>
          <c:extLst>
            <c:ext xmlns:c16="http://schemas.microsoft.com/office/drawing/2014/chart" uri="{C3380CC4-5D6E-409C-BE32-E72D297353CC}">
              <c16:uniqueId val="{00000001-E204-4AFE-8D7D-58F6B8887EE0}"/>
            </c:ext>
          </c:extLst>
        </c:ser>
        <c:dLbls>
          <c:showLegendKey val="0"/>
          <c:showVal val="0"/>
          <c:showCatName val="0"/>
          <c:showSerName val="0"/>
          <c:showPercent val="0"/>
          <c:showBubbleSize val="0"/>
        </c:dLbls>
        <c:gapWidth val="160"/>
        <c:overlap val="100"/>
        <c:axId val="1100832976"/>
        <c:axId val="1100834064"/>
      </c:barChart>
      <c:catAx>
        <c:axId val="11008329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it-IT"/>
          </a:p>
        </c:txPr>
        <c:crossAx val="1100834064"/>
        <c:crosses val="autoZero"/>
        <c:auto val="1"/>
        <c:lblAlgn val="ctr"/>
        <c:lblOffset val="100"/>
        <c:noMultiLvlLbl val="0"/>
      </c:catAx>
      <c:valAx>
        <c:axId val="1100834064"/>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it-IT"/>
          </a:p>
        </c:txPr>
        <c:crossAx val="110083297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it-IT"/>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rgbClr val="0E6B69"/>
                </a:solidFill>
                <a:latin typeface="+mn-lt"/>
                <a:ea typeface="+mn-ea"/>
                <a:cs typeface="+mn-cs"/>
              </a:defRPr>
            </a:pPr>
            <a:r>
              <a:rPr lang="en-US" sz="1600" b="1" dirty="0" err="1">
                <a:solidFill>
                  <a:srgbClr val="0E6B69"/>
                </a:solidFill>
              </a:rPr>
              <a:t>Stato</a:t>
            </a:r>
            <a:r>
              <a:rPr lang="en-US" sz="1600" b="1" dirty="0">
                <a:solidFill>
                  <a:srgbClr val="0E6B69"/>
                </a:solidFill>
              </a:rPr>
              <a:t> </a:t>
            </a:r>
            <a:r>
              <a:rPr lang="en-US" sz="1600" b="1" dirty="0" err="1">
                <a:solidFill>
                  <a:srgbClr val="0E6B69"/>
                </a:solidFill>
              </a:rPr>
              <a:t>delle</a:t>
            </a:r>
            <a:r>
              <a:rPr lang="en-US" sz="1600" b="1" dirty="0">
                <a:solidFill>
                  <a:srgbClr val="0E6B69"/>
                </a:solidFill>
              </a:rPr>
              <a:t> </a:t>
            </a:r>
            <a:r>
              <a:rPr lang="en-US" sz="1600" b="1" dirty="0" err="1">
                <a:solidFill>
                  <a:srgbClr val="0E6B69"/>
                </a:solidFill>
              </a:rPr>
              <a:t>opere</a:t>
            </a:r>
            <a:r>
              <a:rPr lang="en-US" sz="1600" b="1" dirty="0">
                <a:solidFill>
                  <a:srgbClr val="0E6B69"/>
                </a:solidFill>
              </a:rPr>
              <a:t> per IRD</a:t>
            </a:r>
          </a:p>
        </c:rich>
      </c:tx>
      <c:layout>
        <c:manualLayout>
          <c:xMode val="edge"/>
          <c:yMode val="edge"/>
          <c:x val="0.24687453703703705"/>
          <c:y val="2.6228594072492634E-2"/>
        </c:manualLayout>
      </c:layout>
      <c:overlay val="0"/>
      <c:spPr>
        <a:noFill/>
        <a:ln>
          <a:noFill/>
        </a:ln>
        <a:effectLst/>
      </c:spPr>
      <c:txPr>
        <a:bodyPr rot="0" spcFirstLastPara="1" vertOverflow="ellipsis" vert="horz" wrap="square" anchor="ctr" anchorCtr="1"/>
        <a:lstStyle/>
        <a:p>
          <a:pPr>
            <a:defRPr sz="1600" b="1" i="0" u="none" strike="noStrike" kern="1200" spc="0" baseline="0">
              <a:solidFill>
                <a:srgbClr val="0E6B69"/>
              </a:solidFill>
              <a:latin typeface="+mn-lt"/>
              <a:ea typeface="+mn-ea"/>
              <a:cs typeface="+mn-cs"/>
            </a:defRPr>
          </a:pPr>
          <a:endParaRPr lang="it-IT"/>
        </a:p>
      </c:txPr>
    </c:title>
    <c:autoTitleDeleted val="0"/>
    <c:plotArea>
      <c:layout/>
      <c:pieChart>
        <c:varyColors val="1"/>
        <c:ser>
          <c:idx val="0"/>
          <c:order val="0"/>
          <c:tx>
            <c:strRef>
              <c:f>Foglio1!$B$1</c:f>
              <c:strCache>
                <c:ptCount val="1"/>
                <c:pt idx="0">
                  <c:v>Vendite</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BA05-46D8-AE59-6BEB74E029D9}"/>
              </c:ext>
            </c:extLst>
          </c:dPt>
          <c:dPt>
            <c:idx val="1"/>
            <c:bubble3D val="0"/>
            <c:spPr>
              <a:solidFill>
                <a:srgbClr val="FFC000"/>
              </a:solidFill>
              <a:ln w="19050">
                <a:solidFill>
                  <a:schemeClr val="lt1"/>
                </a:solidFill>
              </a:ln>
              <a:effectLst/>
            </c:spPr>
            <c:extLst>
              <c:ext xmlns:c16="http://schemas.microsoft.com/office/drawing/2014/chart" uri="{C3380CC4-5D6E-409C-BE32-E72D297353CC}">
                <c16:uniqueId val="{00000003-BA05-46D8-AE59-6BEB74E029D9}"/>
              </c:ext>
            </c:extLst>
          </c:dPt>
          <c:dPt>
            <c:idx val="2"/>
            <c:bubble3D val="0"/>
            <c:spPr>
              <a:solidFill>
                <a:srgbClr val="00B0F0"/>
              </a:solidFill>
              <a:ln w="19050">
                <a:solidFill>
                  <a:schemeClr val="lt1"/>
                </a:solidFill>
              </a:ln>
              <a:effectLst/>
            </c:spPr>
            <c:extLst>
              <c:ext xmlns:c16="http://schemas.microsoft.com/office/drawing/2014/chart" uri="{C3380CC4-5D6E-409C-BE32-E72D297353CC}">
                <c16:uniqueId val="{00000005-BA05-46D8-AE59-6BEB74E029D9}"/>
              </c:ext>
            </c:extLst>
          </c:dPt>
          <c:dPt>
            <c:idx val="3"/>
            <c:bubble3D val="0"/>
            <c:spPr>
              <a:solidFill>
                <a:schemeClr val="accent5"/>
              </a:solidFill>
              <a:ln w="19050">
                <a:solidFill>
                  <a:schemeClr val="lt1"/>
                </a:solidFill>
              </a:ln>
              <a:effectLst/>
            </c:spPr>
            <c:extLst>
              <c:ext xmlns:c16="http://schemas.microsoft.com/office/drawing/2014/chart" uri="{C3380CC4-5D6E-409C-BE32-E72D297353CC}">
                <c16:uniqueId val="{00000007-BA05-46D8-AE59-6BEB74E029D9}"/>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it-IT"/>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oglio1!$A$2:$A$6</c:f>
              <c:strCache>
                <c:ptCount val="4"/>
                <c:pt idx="0">
                  <c:v>100-70</c:v>
                </c:pt>
                <c:pt idx="1">
                  <c:v>70-63</c:v>
                </c:pt>
                <c:pt idx="2">
                  <c:v>63-37</c:v>
                </c:pt>
                <c:pt idx="3">
                  <c:v>37-0</c:v>
                </c:pt>
              </c:strCache>
            </c:strRef>
          </c:cat>
          <c:val>
            <c:numRef>
              <c:f>Foglio1!$B$2:$B$6</c:f>
              <c:numCache>
                <c:formatCode>0.0%</c:formatCode>
                <c:ptCount val="4"/>
                <c:pt idx="0">
                  <c:v>8.3950617283950618E-2</c:v>
                </c:pt>
                <c:pt idx="1">
                  <c:v>4.6913580246913583E-2</c:v>
                </c:pt>
                <c:pt idx="2">
                  <c:v>0.55925925925925923</c:v>
                </c:pt>
                <c:pt idx="3">
                  <c:v>0.30987654320987656</c:v>
                </c:pt>
              </c:numCache>
            </c:numRef>
          </c:val>
          <c:extLst>
            <c:ext xmlns:c16="http://schemas.microsoft.com/office/drawing/2014/chart" uri="{C3380CC4-5D6E-409C-BE32-E72D297353CC}">
              <c16:uniqueId val="{00000008-BA05-46D8-AE59-6BEB74E029D9}"/>
            </c:ext>
          </c:extLst>
        </c:ser>
        <c:dLbls>
          <c:showLegendKey val="0"/>
          <c:showVal val="0"/>
          <c:showCatName val="0"/>
          <c:showSerName val="0"/>
          <c:showPercent val="0"/>
          <c:showBubbleSize val="0"/>
          <c:showLeaderLines val="1"/>
        </c:dLbls>
        <c:firstSliceAng val="87"/>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it-IT"/>
        </a:p>
      </c:txPr>
    </c:legend>
    <c:plotVisOnly val="1"/>
    <c:dispBlanksAs val="gap"/>
    <c:showDLblsOverMax val="0"/>
  </c:chart>
  <c:spPr>
    <a:noFill/>
    <a:ln>
      <a:noFill/>
    </a:ln>
    <a:effectLst/>
  </c:spPr>
  <c:txPr>
    <a:bodyPr/>
    <a:lstStyle/>
    <a:p>
      <a:pPr>
        <a:defRPr/>
      </a:pPr>
      <a:endParaRPr lang="it-IT"/>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cap="none" spc="150" baseline="0">
                <a:ln>
                  <a:noFill/>
                </a:ln>
                <a:solidFill>
                  <a:srgbClr val="0E6B69"/>
                </a:solidFill>
                <a:latin typeface="+mn-lt"/>
                <a:ea typeface="+mn-ea"/>
                <a:cs typeface="+mn-cs"/>
              </a:defRPr>
            </a:pPr>
            <a:r>
              <a:rPr lang="en-US" sz="1600" b="1" cap="none" spc="0" dirty="0" err="1">
                <a:ln>
                  <a:noFill/>
                </a:ln>
                <a:solidFill>
                  <a:srgbClr val="0E6B69"/>
                </a:solidFill>
                <a:latin typeface="+mn-lt"/>
              </a:rPr>
              <a:t>Stato</a:t>
            </a:r>
            <a:r>
              <a:rPr lang="en-US" sz="1600" b="1" cap="none" spc="0" dirty="0">
                <a:ln>
                  <a:noFill/>
                </a:ln>
                <a:solidFill>
                  <a:srgbClr val="0E6B69"/>
                </a:solidFill>
                <a:latin typeface="+mn-lt"/>
              </a:rPr>
              <a:t> </a:t>
            </a:r>
            <a:r>
              <a:rPr lang="en-US" sz="1600" b="1" cap="none" spc="0" dirty="0" err="1">
                <a:ln>
                  <a:noFill/>
                </a:ln>
                <a:solidFill>
                  <a:srgbClr val="0E6B69"/>
                </a:solidFill>
                <a:latin typeface="+mn-lt"/>
              </a:rPr>
              <a:t>dell’arte</a:t>
            </a:r>
            <a:r>
              <a:rPr lang="en-US" sz="1600" b="1" cap="none" spc="0" dirty="0">
                <a:ln>
                  <a:noFill/>
                </a:ln>
                <a:solidFill>
                  <a:srgbClr val="0E6B69"/>
                </a:solidFill>
                <a:latin typeface="+mn-lt"/>
              </a:rPr>
              <a:t> </a:t>
            </a:r>
            <a:r>
              <a:rPr lang="en-US" sz="1600" b="1" cap="none" spc="0" baseline="0" dirty="0" err="1">
                <a:ln>
                  <a:noFill/>
                </a:ln>
                <a:solidFill>
                  <a:srgbClr val="0E6B69"/>
                </a:solidFill>
                <a:latin typeface="+mn-lt"/>
              </a:rPr>
              <a:t>su</a:t>
            </a:r>
            <a:r>
              <a:rPr lang="en-US" sz="1600" b="1" cap="none" spc="0" baseline="0" dirty="0">
                <a:ln>
                  <a:noFill/>
                </a:ln>
                <a:solidFill>
                  <a:srgbClr val="0E6B69"/>
                </a:solidFill>
                <a:latin typeface="+mn-lt"/>
              </a:rPr>
              <a:t> </a:t>
            </a:r>
            <a:r>
              <a:rPr lang="en-US" sz="1600" b="1" cap="none" spc="0" baseline="0" dirty="0" err="1">
                <a:ln>
                  <a:noFill/>
                </a:ln>
                <a:solidFill>
                  <a:srgbClr val="0E6B69"/>
                </a:solidFill>
                <a:latin typeface="+mn-lt"/>
              </a:rPr>
              <a:t>opere</a:t>
            </a:r>
            <a:r>
              <a:rPr lang="en-US" sz="1600" b="1" cap="none" spc="0" baseline="0" dirty="0">
                <a:ln>
                  <a:noFill/>
                </a:ln>
                <a:solidFill>
                  <a:srgbClr val="0E6B69"/>
                </a:solidFill>
                <a:latin typeface="+mn-lt"/>
              </a:rPr>
              <a:t> con IRD≥70</a:t>
            </a:r>
            <a:endParaRPr lang="en-US" sz="1600" b="1" cap="none" spc="0" dirty="0">
              <a:ln>
                <a:noFill/>
              </a:ln>
              <a:solidFill>
                <a:srgbClr val="0E6B69"/>
              </a:solidFill>
              <a:latin typeface="+mn-lt"/>
            </a:endParaRPr>
          </a:p>
        </c:rich>
      </c:tx>
      <c:layout>
        <c:manualLayout>
          <c:xMode val="edge"/>
          <c:yMode val="edge"/>
          <c:x val="0.14056342592592594"/>
          <c:y val="1.9605940445577525E-2"/>
        </c:manualLayout>
      </c:layout>
      <c:overlay val="0"/>
      <c:spPr>
        <a:noFill/>
        <a:ln>
          <a:noFill/>
        </a:ln>
        <a:effectLst/>
      </c:spPr>
      <c:txPr>
        <a:bodyPr rot="0" spcFirstLastPara="1" vertOverflow="ellipsis" vert="horz" wrap="square" anchor="ctr" anchorCtr="1"/>
        <a:lstStyle/>
        <a:p>
          <a:pPr>
            <a:defRPr sz="1600" b="1" i="0" u="none" strike="noStrike" kern="1200" cap="none" spc="150" baseline="0">
              <a:ln>
                <a:noFill/>
              </a:ln>
              <a:solidFill>
                <a:srgbClr val="0E6B69"/>
              </a:solidFill>
              <a:latin typeface="+mn-lt"/>
              <a:ea typeface="+mn-ea"/>
              <a:cs typeface="+mn-cs"/>
            </a:defRPr>
          </a:pPr>
          <a:endParaRPr lang="it-IT"/>
        </a:p>
      </c:txPr>
    </c:title>
    <c:autoTitleDeleted val="0"/>
    <c:plotArea>
      <c:layout/>
      <c:pieChart>
        <c:varyColors val="1"/>
        <c:ser>
          <c:idx val="0"/>
          <c:order val="0"/>
          <c:tx>
            <c:strRef>
              <c:f>Foglio1!$B$1</c:f>
              <c:strCache>
                <c:ptCount val="1"/>
                <c:pt idx="0">
                  <c:v>azione</c:v>
                </c:pt>
              </c:strCache>
            </c:strRef>
          </c:tx>
          <c:dPt>
            <c:idx val="0"/>
            <c:bubble3D val="0"/>
            <c:spPr>
              <a:pattFill prst="ltUpDiag">
                <a:fgClr>
                  <a:schemeClr val="bg2"/>
                </a:fgClr>
                <a:bgClr>
                  <a:schemeClr val="bg1"/>
                </a:bgClr>
              </a:pattFill>
              <a:ln w="19050">
                <a:solidFill>
                  <a:schemeClr val="bg1"/>
                </a:solidFill>
              </a:ln>
              <a:effectLst>
                <a:innerShdw blurRad="114300">
                  <a:schemeClr val="bg2"/>
                </a:innerShdw>
              </a:effectLst>
            </c:spPr>
            <c:extLst>
              <c:ext xmlns:c16="http://schemas.microsoft.com/office/drawing/2014/chart" uri="{C3380CC4-5D6E-409C-BE32-E72D297353CC}">
                <c16:uniqueId val="{00000001-7EF8-4148-8952-00DFFEC7C2C1}"/>
              </c:ext>
            </c:extLst>
          </c:dPt>
          <c:dPt>
            <c:idx val="1"/>
            <c:bubble3D val="0"/>
            <c:spPr>
              <a:pattFill prst="dkUpDiag">
                <a:fgClr>
                  <a:srgbClr val="FFFF00"/>
                </a:fgClr>
                <a:bgClr>
                  <a:schemeClr val="bg1"/>
                </a:bgClr>
              </a:pattFill>
              <a:ln w="19050">
                <a:solidFill>
                  <a:schemeClr val="lt1"/>
                </a:solidFill>
              </a:ln>
              <a:effectLst>
                <a:innerShdw blurRad="114300">
                  <a:srgbClr val="FFE07D"/>
                </a:innerShdw>
              </a:effectLst>
            </c:spPr>
            <c:extLst>
              <c:ext xmlns:c16="http://schemas.microsoft.com/office/drawing/2014/chart" uri="{C3380CC4-5D6E-409C-BE32-E72D297353CC}">
                <c16:uniqueId val="{00000003-7EF8-4148-8952-00DFFEC7C2C1}"/>
              </c:ext>
            </c:extLst>
          </c:dPt>
          <c:dPt>
            <c:idx val="2"/>
            <c:bubble3D val="0"/>
            <c:spPr>
              <a:pattFill prst="ltUpDiag">
                <a:fgClr>
                  <a:schemeClr val="accent3"/>
                </a:fgClr>
                <a:bgClr>
                  <a:schemeClr val="accent3">
                    <a:lumMod val="20000"/>
                    <a:lumOff val="80000"/>
                  </a:schemeClr>
                </a:bgClr>
              </a:pattFill>
              <a:ln w="19050">
                <a:solidFill>
                  <a:schemeClr val="lt1"/>
                </a:solidFill>
              </a:ln>
              <a:effectLst>
                <a:innerShdw blurRad="114300">
                  <a:schemeClr val="accent3"/>
                </a:innerShdw>
              </a:effectLst>
            </c:spPr>
            <c:extLst>
              <c:ext xmlns:c16="http://schemas.microsoft.com/office/drawing/2014/chart" uri="{C3380CC4-5D6E-409C-BE32-E72D297353CC}">
                <c16:uniqueId val="{00000005-7EF8-4148-8952-00DFFEC7C2C1}"/>
              </c:ext>
            </c:extLst>
          </c:dPt>
          <c:dPt>
            <c:idx val="3"/>
            <c:bubble3D val="0"/>
            <c:spPr>
              <a:pattFill prst="ltUpDiag">
                <a:fgClr>
                  <a:srgbClr val="00B050"/>
                </a:fgClr>
                <a:bgClr>
                  <a:schemeClr val="bg1"/>
                </a:bgClr>
              </a:pattFill>
              <a:ln w="19050">
                <a:solidFill>
                  <a:schemeClr val="lt1"/>
                </a:solidFill>
              </a:ln>
              <a:effectLst>
                <a:innerShdw blurRad="114300">
                  <a:srgbClr val="00B050"/>
                </a:innerShdw>
              </a:effectLst>
            </c:spPr>
            <c:extLst>
              <c:ext xmlns:c16="http://schemas.microsoft.com/office/drawing/2014/chart" uri="{C3380CC4-5D6E-409C-BE32-E72D297353CC}">
                <c16:uniqueId val="{00000007-7EF8-4148-8952-00DFFEC7C2C1}"/>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it-IT"/>
              </a:p>
            </c:txPr>
            <c:dLblPos val="inEnd"/>
            <c:showLegendKey val="0"/>
            <c:showVal val="1"/>
            <c:showCatName val="0"/>
            <c:showSerName val="0"/>
            <c:showPercent val="0"/>
            <c:showBubbleSize val="0"/>
            <c:showLeaderLines val="1"/>
            <c:leaderLines>
              <c:spPr>
                <a:ln w="9525">
                  <a:solidFill>
                    <a:schemeClr val="tx1">
                      <a:lumMod val="35000"/>
                      <a:lumOff val="65000"/>
                    </a:schemeClr>
                  </a:solidFill>
                </a:ln>
                <a:effectLst/>
              </c:spPr>
            </c:leaderLines>
            <c:extLst>
              <c:ext xmlns:c15="http://schemas.microsoft.com/office/drawing/2012/chart" uri="{CE6537A1-D6FC-4f65-9D91-7224C49458BB}"/>
            </c:extLst>
          </c:dLbls>
          <c:cat>
            <c:strRef>
              <c:f>Foglio1!$A$2:$A$5</c:f>
              <c:strCache>
                <c:ptCount val="4"/>
                <c:pt idx="0">
                  <c:v>progettazione di prossimo avvio</c:v>
                </c:pt>
                <c:pt idx="1">
                  <c:v>progettazione in corso</c:v>
                </c:pt>
                <c:pt idx="2">
                  <c:v>progettazione conclusa /attesa spendibilità</c:v>
                </c:pt>
                <c:pt idx="3">
                  <c:v>intervento spendibile / lavori consegnati</c:v>
                </c:pt>
              </c:strCache>
            </c:strRef>
          </c:cat>
          <c:val>
            <c:numRef>
              <c:f>Foglio1!$B$2:$B$5</c:f>
              <c:numCache>
                <c:formatCode>0.0%</c:formatCode>
                <c:ptCount val="4"/>
                <c:pt idx="0">
                  <c:v>0.73499999999999999</c:v>
                </c:pt>
                <c:pt idx="1">
                  <c:v>0.11799999999999999</c:v>
                </c:pt>
                <c:pt idx="2">
                  <c:v>7.3999999999999996E-2</c:v>
                </c:pt>
                <c:pt idx="3">
                  <c:v>7.3999999999999996E-2</c:v>
                </c:pt>
              </c:numCache>
            </c:numRef>
          </c:val>
          <c:extLst>
            <c:ext xmlns:c16="http://schemas.microsoft.com/office/drawing/2014/chart" uri="{C3380CC4-5D6E-409C-BE32-E72D297353CC}">
              <c16:uniqueId val="{00000008-7EF8-4148-8952-00DFFEC7C2C1}"/>
            </c:ext>
          </c:extLst>
        </c:ser>
        <c:dLbls>
          <c:dLblPos val="ctr"/>
          <c:showLegendKey val="0"/>
          <c:showVal val="1"/>
          <c:showCatName val="0"/>
          <c:showSerName val="0"/>
          <c:showPercent val="0"/>
          <c:showBubbleSize val="0"/>
          <c:showLeaderLines val="1"/>
        </c:dLbls>
        <c:firstSliceAng val="0"/>
      </c:pieChart>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it-IT"/>
        </a:p>
      </c:txPr>
    </c:legend>
    <c:plotVisOnly val="1"/>
    <c:dispBlanksAs val="gap"/>
    <c:showDLblsOverMax val="0"/>
  </c:chart>
  <c:spPr>
    <a:noFill/>
    <a:ln>
      <a:noFill/>
    </a:ln>
    <a:effectLst/>
  </c:spPr>
  <c:txPr>
    <a:bodyPr/>
    <a:lstStyle/>
    <a:p>
      <a:pPr>
        <a:defRPr/>
      </a:pPr>
      <a:endParaRPr lang="it-IT"/>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it-IT" sz="1600" b="1" dirty="0"/>
              <a:t>Pagamenti triennio 2019 - 2020 - 2021  </a:t>
            </a:r>
            <a:r>
              <a:rPr lang="it-IT" sz="1600" b="1" baseline="0" dirty="0"/>
              <a:t> </a:t>
            </a:r>
          </a:p>
          <a:p>
            <a:pPr>
              <a:defRPr/>
            </a:pPr>
            <a:r>
              <a:rPr lang="it-IT" sz="1600" b="1" dirty="0"/>
              <a:t>209.070 €/000</a:t>
            </a:r>
          </a:p>
        </c:rich>
      </c:tx>
      <c:layout>
        <c:manualLayout>
          <c:xMode val="edge"/>
          <c:yMode val="edge"/>
          <c:x val="0.31210195235415428"/>
          <c:y val="2.708677525855567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it-IT"/>
        </a:p>
      </c:tx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clustered"/>
        <c:varyColors val="0"/>
        <c:ser>
          <c:idx val="0"/>
          <c:order val="0"/>
          <c:tx>
            <c:strRef>
              <c:f>Foglio1!$B$1</c:f>
              <c:strCache>
                <c:ptCount val="1"/>
              </c:strCache>
            </c:strRef>
          </c:tx>
          <c:spPr>
            <a:solidFill>
              <a:schemeClr val="accent6"/>
            </a:solidFill>
            <a:ln>
              <a:noFill/>
            </a:ln>
            <a:effectLst/>
            <a:sp3d/>
          </c:spPr>
          <c:invertIfNegative val="0"/>
          <c:dPt>
            <c:idx val="0"/>
            <c:invertIfNegative val="0"/>
            <c:bubble3D val="0"/>
            <c:spPr>
              <a:solidFill>
                <a:schemeClr val="accent4"/>
              </a:solidFill>
              <a:ln>
                <a:noFill/>
              </a:ln>
              <a:effectLst/>
              <a:sp3d/>
            </c:spPr>
            <c:extLst>
              <c:ext xmlns:c16="http://schemas.microsoft.com/office/drawing/2014/chart" uri="{C3380CC4-5D6E-409C-BE32-E72D297353CC}">
                <c16:uniqueId val="{00000004-9A19-4DE5-9744-CDA93B07471B}"/>
              </c:ext>
            </c:extLst>
          </c:dPt>
          <c:dPt>
            <c:idx val="1"/>
            <c:invertIfNegative val="0"/>
            <c:bubble3D val="0"/>
            <c:spPr>
              <a:solidFill>
                <a:schemeClr val="accent6">
                  <a:lumMod val="75000"/>
                </a:schemeClr>
              </a:solidFill>
              <a:ln>
                <a:noFill/>
              </a:ln>
              <a:effectLst/>
              <a:sp3d/>
            </c:spPr>
            <c:extLst>
              <c:ext xmlns:c16="http://schemas.microsoft.com/office/drawing/2014/chart" uri="{C3380CC4-5D6E-409C-BE32-E72D297353CC}">
                <c16:uniqueId val="{00000001-9A19-4DE5-9744-CDA93B07471B}"/>
              </c:ext>
            </c:extLst>
          </c:dPt>
          <c:dPt>
            <c:idx val="2"/>
            <c:invertIfNegative val="0"/>
            <c:bubble3D val="0"/>
            <c:spPr>
              <a:solidFill>
                <a:schemeClr val="accent5">
                  <a:lumMod val="75000"/>
                </a:schemeClr>
              </a:solidFill>
              <a:ln>
                <a:noFill/>
              </a:ln>
              <a:effectLst/>
              <a:sp3d/>
            </c:spPr>
            <c:extLst>
              <c:ext xmlns:c16="http://schemas.microsoft.com/office/drawing/2014/chart" uri="{C3380CC4-5D6E-409C-BE32-E72D297353CC}">
                <c16:uniqueId val="{00000003-9A19-4DE5-9744-CDA93B07471B}"/>
              </c:ext>
            </c:extLst>
          </c:dPt>
          <c:dLbls>
            <c:dLbl>
              <c:idx val="0"/>
              <c:layout>
                <c:manualLayout>
                  <c:x val="1.3631874915430588E-2"/>
                  <c:y val="-5.0928530987136511E-2"/>
                </c:manualLayout>
              </c:layout>
              <c:tx>
                <c:rich>
                  <a:bodyPr/>
                  <a:lstStyle/>
                  <a:p>
                    <a:fld id="{33CAB612-EAF3-47C4-9533-8C5E1BCDE576}" type="VALUE">
                      <a:rPr lang="en-US" b="1"/>
                      <a:pPr/>
                      <a:t>[VALORE]</a:t>
                    </a:fld>
                    <a:endParaRPr lang="it-IT"/>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9A19-4DE5-9744-CDA93B07471B}"/>
                </c:ext>
              </c:extLst>
            </c:dLbl>
            <c:dLbl>
              <c:idx val="1"/>
              <c:layout>
                <c:manualLayout>
                  <c:x val="1.2564514380371919E-2"/>
                  <c:y val="-4.5393129040679971E-2"/>
                </c:manualLayout>
              </c:layout>
              <c:tx>
                <c:rich>
                  <a:bodyPr/>
                  <a:lstStyle/>
                  <a:p>
                    <a:fld id="{6EE32992-2332-4C6A-A5D3-2E9CEBC1A195}" type="VALUE">
                      <a:rPr lang="en-US" b="1"/>
                      <a:pPr/>
                      <a:t>[VALORE]</a:t>
                    </a:fld>
                    <a:endParaRPr lang="it-IT"/>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9A19-4DE5-9744-CDA93B07471B}"/>
                </c:ext>
              </c:extLst>
            </c:dLbl>
            <c:dLbl>
              <c:idx val="2"/>
              <c:layout>
                <c:manualLayout>
                  <c:x val="2.7236230970540492E-2"/>
                  <c:y val="-4.0630065543731081E-2"/>
                </c:manualLayout>
              </c:layout>
              <c:tx>
                <c:rich>
                  <a:bodyPr/>
                  <a:lstStyle/>
                  <a:p>
                    <a:fld id="{95176B54-5B70-48E7-BFB2-787E1668082A}" type="VALUE">
                      <a:rPr lang="en-US" b="1"/>
                      <a:pPr/>
                      <a:t>[VALORE]</a:t>
                    </a:fld>
                    <a:endParaRPr lang="it-IT"/>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9A19-4DE5-9744-CDA93B07471B}"/>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Foglio1!$A$2:$A$4</c:f>
              <c:numCache>
                <c:formatCode>General</c:formatCode>
                <c:ptCount val="3"/>
                <c:pt idx="0">
                  <c:v>2019</c:v>
                </c:pt>
                <c:pt idx="1">
                  <c:v>2020</c:v>
                </c:pt>
                <c:pt idx="2">
                  <c:v>2021</c:v>
                </c:pt>
              </c:numCache>
            </c:numRef>
          </c:cat>
          <c:val>
            <c:numRef>
              <c:f>Foglio1!$B$2:$B$4</c:f>
              <c:numCache>
                <c:formatCode>_-* #,##0\ _€_-;\-* #,##0\ _€_-;_-* "-"??\ _€_-;_-@_-</c:formatCode>
                <c:ptCount val="3"/>
                <c:pt idx="0">
                  <c:v>48755.644510000006</c:v>
                </c:pt>
                <c:pt idx="1">
                  <c:v>58783.750509999998</c:v>
                </c:pt>
                <c:pt idx="2">
                  <c:v>101530.10795999998</c:v>
                </c:pt>
              </c:numCache>
            </c:numRef>
          </c:val>
          <c:extLst>
            <c:ext xmlns:c16="http://schemas.microsoft.com/office/drawing/2014/chart" uri="{C3380CC4-5D6E-409C-BE32-E72D297353CC}">
              <c16:uniqueId val="{00000005-9A19-4DE5-9744-CDA93B07471B}"/>
            </c:ext>
          </c:extLst>
        </c:ser>
        <c:dLbls>
          <c:showLegendKey val="0"/>
          <c:showVal val="0"/>
          <c:showCatName val="0"/>
          <c:showSerName val="0"/>
          <c:showPercent val="0"/>
          <c:showBubbleSize val="0"/>
        </c:dLbls>
        <c:gapWidth val="150"/>
        <c:shape val="box"/>
        <c:axId val="1449467200"/>
        <c:axId val="1449467744"/>
        <c:axId val="0"/>
      </c:bar3DChart>
      <c:catAx>
        <c:axId val="1449467200"/>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it-IT"/>
          </a:p>
        </c:txPr>
        <c:crossAx val="1449467744"/>
        <c:crosses val="autoZero"/>
        <c:auto val="1"/>
        <c:lblAlgn val="ctr"/>
        <c:lblOffset val="100"/>
        <c:noMultiLvlLbl val="0"/>
      </c:catAx>
      <c:valAx>
        <c:axId val="1449467744"/>
        <c:scaling>
          <c:orientation val="minMax"/>
        </c:scaling>
        <c:delete val="0"/>
        <c:axPos val="l"/>
        <c:majorGridlines>
          <c:spPr>
            <a:ln w="9525" cap="flat" cmpd="sng" algn="ctr">
              <a:solidFill>
                <a:schemeClr val="tx1">
                  <a:lumMod val="15000"/>
                  <a:lumOff val="85000"/>
                </a:schemeClr>
              </a:solidFill>
              <a:round/>
            </a:ln>
            <a:effectLst/>
          </c:spPr>
        </c:majorGridlines>
        <c:numFmt formatCode="_-* #,##0\ _€_-;\-* #,##0\ _€_-;_-* &quot;-&quot;??\ _€_-;_-@_-"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it-IT"/>
          </a:p>
        </c:txPr>
        <c:crossAx val="14494672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it-IT"/>
        </a:p>
      </c:txPr>
    </c:legend>
    <c:plotVisOnly val="1"/>
    <c:dispBlanksAs val="gap"/>
    <c:showDLblsOverMax val="0"/>
  </c:chart>
  <c:spPr>
    <a:noFill/>
    <a:ln>
      <a:noFill/>
    </a:ln>
    <a:effectLst/>
  </c:spPr>
  <c:txPr>
    <a:bodyPr/>
    <a:lstStyle/>
    <a:p>
      <a:pPr>
        <a:defRPr/>
      </a:pPr>
      <a:endParaRPr lang="it-IT"/>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algn="ctr" rtl="0">
              <a:defRPr lang="it-IT" sz="1200" b="1" i="0" u="none" strike="noStrike" kern="1200" cap="all" spc="0" baseline="0" dirty="0" smtClean="0">
                <a:solidFill>
                  <a:srgbClr val="C00000"/>
                </a:solidFill>
                <a:latin typeface="+mn-lt"/>
                <a:ea typeface="+mn-ea"/>
                <a:cs typeface="+mn-cs"/>
              </a:defRPr>
            </a:pPr>
            <a:r>
              <a:rPr lang="it-IT" sz="1200" b="1" i="0" u="none" strike="noStrike" kern="1200" spc="0" baseline="0" dirty="0">
                <a:solidFill>
                  <a:srgbClr val="C00000"/>
                </a:solidFill>
                <a:latin typeface="+mn-lt"/>
                <a:ea typeface="+mn-ea"/>
                <a:cs typeface="+mn-cs"/>
              </a:rPr>
              <a:t>PERSONALE ESERCIZIO TOT. 146</a:t>
            </a:r>
          </a:p>
        </c:rich>
      </c:tx>
      <c:layout>
        <c:manualLayout>
          <c:xMode val="edge"/>
          <c:yMode val="edge"/>
          <c:x val="1.5084765145783951E-2"/>
          <c:y val="8.8275540924478771E-3"/>
        </c:manualLayout>
      </c:layout>
      <c:overlay val="0"/>
      <c:spPr>
        <a:noFill/>
        <a:ln>
          <a:noFill/>
        </a:ln>
        <a:effectLst/>
      </c:spPr>
      <c:txPr>
        <a:bodyPr rot="0" spcFirstLastPara="1" vertOverflow="ellipsis" vert="horz" wrap="square" anchor="ctr" anchorCtr="1"/>
        <a:lstStyle/>
        <a:p>
          <a:pPr algn="ctr" rtl="0">
            <a:defRPr lang="it-IT" sz="1200" b="1" i="0" u="none" strike="noStrike" kern="1200" cap="all" spc="0" baseline="0" dirty="0" smtClean="0">
              <a:solidFill>
                <a:srgbClr val="C00000"/>
              </a:solidFill>
              <a:latin typeface="+mn-lt"/>
              <a:ea typeface="+mn-ea"/>
              <a:cs typeface="+mn-cs"/>
            </a:defRPr>
          </a:pPr>
          <a:endParaRPr lang="it-IT"/>
        </a:p>
      </c:txPr>
    </c:title>
    <c:autoTitleDeleted val="0"/>
    <c:plotArea>
      <c:layout>
        <c:manualLayout>
          <c:layoutTarget val="inner"/>
          <c:xMode val="edge"/>
          <c:yMode val="edge"/>
          <c:x val="0.20719740001452994"/>
          <c:y val="0.12994001189636042"/>
          <c:w val="0.54158548969395259"/>
          <c:h val="0.76636257585479695"/>
        </c:manualLayout>
      </c:layout>
      <c:barChart>
        <c:barDir val="col"/>
        <c:grouping val="clustered"/>
        <c:varyColors val="0"/>
        <c:ser>
          <c:idx val="0"/>
          <c:order val="0"/>
          <c:tx>
            <c:strRef>
              <c:f>Foglio1!$B$1</c:f>
              <c:strCache>
                <c:ptCount val="1"/>
                <c:pt idx="0">
                  <c:v>SORVEGLIANTI</c:v>
                </c:pt>
              </c:strCache>
            </c:strRef>
          </c:tx>
          <c:spPr>
            <a:solidFill>
              <a:srgbClr val="FFC000"/>
            </a:solidFill>
            <a:ln>
              <a:noFill/>
            </a:ln>
            <a:effectLst/>
            <a:scene3d>
              <a:camera prst="orthographicFront"/>
              <a:lightRig rig="brightRoom" dir="t"/>
            </a:scene3d>
            <a:sp3d prstMaterial="flat">
              <a:bevelT w="50800" h="101600" prst="angle"/>
              <a:contourClr>
                <a:srgbClr val="000000"/>
              </a:contourClr>
            </a:sp3d>
          </c:spPr>
          <c:invertIfNegative val="0"/>
          <c:dPt>
            <c:idx val="0"/>
            <c:invertIfNegative val="0"/>
            <c:bubble3D val="0"/>
            <c:spPr>
              <a:solidFill>
                <a:srgbClr val="FFC000"/>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4AED-4BFC-98C1-3F6B9304E95F}"/>
              </c:ext>
            </c:extLst>
          </c:dPt>
          <c:dPt>
            <c:idx val="1"/>
            <c:invertIfNegative val="0"/>
            <c:bubble3D val="0"/>
            <c:spPr>
              <a:solidFill>
                <a:srgbClr val="FFC000"/>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4AED-4BFC-98C1-3F6B9304E95F}"/>
              </c:ext>
            </c:extLst>
          </c:dPt>
          <c:dPt>
            <c:idx val="2"/>
            <c:invertIfNegative val="0"/>
            <c:bubble3D val="0"/>
            <c:spPr>
              <a:solidFill>
                <a:srgbClr val="FFC000"/>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5-4AED-4BFC-98C1-3F6B9304E95F}"/>
              </c:ext>
            </c:extLst>
          </c:dPt>
          <c:dPt>
            <c:idx val="3"/>
            <c:invertIfNegative val="0"/>
            <c:bubble3D val="0"/>
            <c:spPr>
              <a:solidFill>
                <a:srgbClr val="FFC000"/>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7-4AED-4BFC-98C1-3F6B9304E95F}"/>
              </c:ext>
            </c:extLst>
          </c:dPt>
          <c:dPt>
            <c:idx val="4"/>
            <c:invertIfNegative val="0"/>
            <c:bubble3D val="0"/>
            <c:spPr>
              <a:solidFill>
                <a:srgbClr val="FFC000"/>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9-4AED-4BFC-98C1-3F6B9304E95F}"/>
              </c:ext>
            </c:extLst>
          </c:dPt>
          <c:dPt>
            <c:idx val="5"/>
            <c:invertIfNegative val="0"/>
            <c:bubble3D val="0"/>
            <c:spPr>
              <a:solidFill>
                <a:srgbClr val="FFC000"/>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B-4AED-4BFC-98C1-3F6B9304E95F}"/>
              </c:ext>
            </c:extLst>
          </c:dPt>
          <c:dPt>
            <c:idx val="6"/>
            <c:invertIfNegative val="0"/>
            <c:bubble3D val="0"/>
            <c:spPr>
              <a:solidFill>
                <a:srgbClr val="FFC000"/>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D-4AED-4BFC-98C1-3F6B9304E95F}"/>
              </c:ext>
            </c:extLst>
          </c:dPt>
          <c:dPt>
            <c:idx val="7"/>
            <c:invertIfNegative val="0"/>
            <c:bubble3D val="0"/>
            <c:spPr>
              <a:solidFill>
                <a:srgbClr val="FFC000"/>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F-4AED-4BFC-98C1-3F6B9304E95F}"/>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cap="none" spc="0" baseline="0">
                    <a:ln w="0"/>
                    <a:solidFill>
                      <a:schemeClr val="accent1"/>
                    </a:solidFill>
                    <a:effectLst>
                      <a:outerShdw blurRad="38100" dist="25400" dir="5400000" algn="ctr" rotWithShape="0">
                        <a:srgbClr val="6E747A">
                          <a:alpha val="43000"/>
                        </a:srgbClr>
                      </a:outerShdw>
                    </a:effectLst>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A$2:$A$3</c:f>
              <c:strCache>
                <c:ptCount val="2"/>
                <c:pt idx="0">
                  <c:v>GRA: 57</c:v>
                </c:pt>
                <c:pt idx="1">
                  <c:v>S.S. : 89</c:v>
                </c:pt>
              </c:strCache>
            </c:strRef>
          </c:cat>
          <c:val>
            <c:numRef>
              <c:f>Foglio1!$B$2:$B$3</c:f>
              <c:numCache>
                <c:formatCode>General</c:formatCode>
                <c:ptCount val="2"/>
                <c:pt idx="0">
                  <c:v>2</c:v>
                </c:pt>
                <c:pt idx="1">
                  <c:v>21</c:v>
                </c:pt>
              </c:numCache>
            </c:numRef>
          </c:val>
          <c:extLst>
            <c:ext xmlns:c16="http://schemas.microsoft.com/office/drawing/2014/chart" uri="{C3380CC4-5D6E-409C-BE32-E72D297353CC}">
              <c16:uniqueId val="{00000010-4AED-4BFC-98C1-3F6B9304E95F}"/>
            </c:ext>
          </c:extLst>
        </c:ser>
        <c:ser>
          <c:idx val="1"/>
          <c:order val="1"/>
          <c:tx>
            <c:strRef>
              <c:f>Foglio1!$C$1</c:f>
              <c:strCache>
                <c:ptCount val="1"/>
                <c:pt idx="0">
                  <c:v>CAPI SQUADRA </c:v>
                </c:pt>
              </c:strCache>
            </c:strRef>
          </c:tx>
          <c:spPr>
            <a:solidFill>
              <a:srgbClr val="00B050"/>
            </a:solidFill>
            <a:ln>
              <a:noFill/>
            </a:ln>
            <a:effectLst/>
            <a:scene3d>
              <a:camera prst="orthographicFront"/>
              <a:lightRig rig="brightRoom" dir="t"/>
            </a:scene3d>
            <a:sp3d prstMaterial="flat">
              <a:bevelT w="50800" h="101600" prst="angle"/>
              <a:contourClr>
                <a:srgbClr val="000000"/>
              </a:contourClr>
            </a:sp3d>
          </c:spPr>
          <c:invertIfNegative val="0"/>
          <c:dPt>
            <c:idx val="0"/>
            <c:invertIfNegative val="0"/>
            <c:bubble3D val="0"/>
            <c:spPr>
              <a:solidFill>
                <a:srgbClr val="00B050"/>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12-4AED-4BFC-98C1-3F6B9304E95F}"/>
              </c:ext>
            </c:extLst>
          </c:dPt>
          <c:dPt>
            <c:idx val="1"/>
            <c:invertIfNegative val="0"/>
            <c:bubble3D val="0"/>
            <c:spPr>
              <a:solidFill>
                <a:srgbClr val="00B050"/>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14-4AED-4BFC-98C1-3F6B9304E95F}"/>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cap="none" spc="0" baseline="0">
                    <a:ln w="0"/>
                    <a:solidFill>
                      <a:schemeClr val="accent1"/>
                    </a:solidFill>
                    <a:effectLst>
                      <a:outerShdw blurRad="38100" dist="25400" dir="5400000" algn="ctr" rotWithShape="0">
                        <a:srgbClr val="6E747A">
                          <a:alpha val="43000"/>
                        </a:srgbClr>
                      </a:outerShdw>
                    </a:effectLst>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A$2:$A$3</c:f>
              <c:strCache>
                <c:ptCount val="2"/>
                <c:pt idx="0">
                  <c:v>GRA: 57</c:v>
                </c:pt>
                <c:pt idx="1">
                  <c:v>S.S. : 89</c:v>
                </c:pt>
              </c:strCache>
            </c:strRef>
          </c:cat>
          <c:val>
            <c:numRef>
              <c:f>Foglio1!$C$2:$C$3</c:f>
              <c:numCache>
                <c:formatCode>General</c:formatCode>
                <c:ptCount val="2"/>
                <c:pt idx="0">
                  <c:v>10</c:v>
                </c:pt>
                <c:pt idx="1">
                  <c:v>12</c:v>
                </c:pt>
              </c:numCache>
            </c:numRef>
          </c:val>
          <c:extLst>
            <c:ext xmlns:c16="http://schemas.microsoft.com/office/drawing/2014/chart" uri="{C3380CC4-5D6E-409C-BE32-E72D297353CC}">
              <c16:uniqueId val="{00000015-4AED-4BFC-98C1-3F6B9304E95F}"/>
            </c:ext>
          </c:extLst>
        </c:ser>
        <c:ser>
          <c:idx val="3"/>
          <c:order val="2"/>
          <c:tx>
            <c:strRef>
              <c:f>Foglio1!$D$1</c:f>
              <c:strCache>
                <c:ptCount val="1"/>
                <c:pt idx="0">
                  <c:v>PERSONALE SQUADRA </c:v>
                </c:pt>
              </c:strCache>
            </c:strRef>
          </c:tx>
          <c:spPr>
            <a:solidFill>
              <a:srgbClr val="002060"/>
            </a:solidFill>
            <a:ln>
              <a:noFill/>
            </a:ln>
            <a:effectLst/>
            <a:scene3d>
              <a:camera prst="orthographicFront"/>
              <a:lightRig rig="brightRoom" dir="t"/>
            </a:scene3d>
            <a:sp3d prstMaterial="flat">
              <a:bevelT w="50800" h="101600" prst="angle"/>
              <a:contourClr>
                <a:srgbClr val="000000"/>
              </a:contourClr>
            </a:sp3d>
          </c:spPr>
          <c:invertIfNegative val="0"/>
          <c:dPt>
            <c:idx val="0"/>
            <c:invertIfNegative val="0"/>
            <c:bubble3D val="0"/>
            <c:spPr>
              <a:solidFill>
                <a:srgbClr val="002060"/>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17-4AED-4BFC-98C1-3F6B9304E95F}"/>
              </c:ext>
            </c:extLst>
          </c:dPt>
          <c:dPt>
            <c:idx val="1"/>
            <c:invertIfNegative val="0"/>
            <c:bubble3D val="0"/>
            <c:spPr>
              <a:solidFill>
                <a:srgbClr val="002060"/>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19-4AED-4BFC-98C1-3F6B9304E95F}"/>
              </c:ext>
            </c:extLst>
          </c:dPt>
          <c:dLbls>
            <c:dLbl>
              <c:idx val="0"/>
              <c:layout>
                <c:manualLayout>
                  <c:x val="-5.3359802772068726E-17"/>
                  <c:y val="-4.3741684344162325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4AED-4BFC-98C1-3F6B9304E95F}"/>
                </c:ext>
              </c:extLst>
            </c:dLbl>
            <c:dLbl>
              <c:idx val="1"/>
              <c:layout>
                <c:manualLayout>
                  <c:x val="-7.8585344623893841E-2"/>
                  <c:y val="8.748336868832468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4AED-4BFC-98C1-3F6B9304E95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cap="none" spc="0" baseline="0">
                    <a:ln w="0"/>
                    <a:solidFill>
                      <a:schemeClr val="accent1"/>
                    </a:solidFill>
                    <a:effectLst>
                      <a:outerShdw blurRad="38100" dist="25400" dir="5400000" algn="ctr" rotWithShape="0">
                        <a:srgbClr val="6E747A">
                          <a:alpha val="43000"/>
                        </a:srgbClr>
                      </a:outerShdw>
                    </a:effectLst>
                    <a:latin typeface="+mn-lt"/>
                    <a:ea typeface="+mn-ea"/>
                    <a:cs typeface="+mn-cs"/>
                  </a:defRPr>
                </a:pPr>
                <a:endParaRPr lang="it-IT"/>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A$2:$A$3</c:f>
              <c:strCache>
                <c:ptCount val="2"/>
                <c:pt idx="0">
                  <c:v>GRA: 57</c:v>
                </c:pt>
                <c:pt idx="1">
                  <c:v>S.S. : 89</c:v>
                </c:pt>
              </c:strCache>
            </c:strRef>
          </c:cat>
          <c:val>
            <c:numRef>
              <c:f>Foglio1!$D$2:$D$3</c:f>
              <c:numCache>
                <c:formatCode>General</c:formatCode>
                <c:ptCount val="2"/>
                <c:pt idx="0">
                  <c:v>45</c:v>
                </c:pt>
                <c:pt idx="1">
                  <c:v>56</c:v>
                </c:pt>
              </c:numCache>
            </c:numRef>
          </c:val>
          <c:extLst>
            <c:ext xmlns:c16="http://schemas.microsoft.com/office/drawing/2014/chart" uri="{C3380CC4-5D6E-409C-BE32-E72D297353CC}">
              <c16:uniqueId val="{0000001A-4AED-4BFC-98C1-3F6B9304E95F}"/>
            </c:ext>
          </c:extLst>
        </c:ser>
        <c:dLbls>
          <c:showLegendKey val="0"/>
          <c:showVal val="0"/>
          <c:showCatName val="0"/>
          <c:showSerName val="0"/>
          <c:showPercent val="0"/>
          <c:showBubbleSize val="0"/>
        </c:dLbls>
        <c:gapWidth val="100"/>
        <c:axId val="1352352048"/>
        <c:axId val="1352337904"/>
      </c:barChart>
      <c:catAx>
        <c:axId val="1352352048"/>
        <c:scaling>
          <c:orientation val="minMax"/>
        </c:scaling>
        <c:delete val="0"/>
        <c:axPos val="b"/>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it-IT"/>
          </a:p>
        </c:txPr>
        <c:crossAx val="1352337904"/>
        <c:crosses val="autoZero"/>
        <c:auto val="1"/>
        <c:lblAlgn val="ctr"/>
        <c:lblOffset val="100"/>
        <c:noMultiLvlLbl val="0"/>
      </c:catAx>
      <c:valAx>
        <c:axId val="135233790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solidFill>
              <a:schemeClr val="accent3"/>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it-IT"/>
          </a:p>
        </c:txPr>
        <c:crossAx val="1352352048"/>
        <c:crosses val="autoZero"/>
        <c:crossBetween val="between"/>
      </c:valAx>
      <c:spPr>
        <a:noFill/>
        <a:ln>
          <a:solidFill>
            <a:schemeClr val="accent3"/>
          </a:solidFill>
        </a:ln>
        <a:effectLst/>
      </c:spPr>
    </c:plotArea>
    <c:legend>
      <c:legendPos val="r"/>
      <c:legendEntry>
        <c:idx val="0"/>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it-IT"/>
          </a:p>
        </c:txPr>
      </c:legendEntry>
      <c:legendEntry>
        <c:idx val="1"/>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it-IT"/>
          </a:p>
        </c:txPr>
      </c:legendEntry>
      <c:legendEntry>
        <c:idx val="2"/>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it-IT"/>
          </a:p>
        </c:txPr>
      </c:legendEntry>
      <c:layout>
        <c:manualLayout>
          <c:xMode val="edge"/>
          <c:yMode val="edge"/>
          <c:x val="0.74382804820726178"/>
          <c:y val="0.35317311477645758"/>
          <c:w val="0.23870854187631732"/>
          <c:h val="0.4277220329619423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it-IT"/>
        </a:p>
      </c:txPr>
    </c:legend>
    <c:plotVisOnly val="1"/>
    <c:dispBlanksAs val="zero"/>
    <c:showDLblsOverMax val="0"/>
  </c:chart>
  <c:spPr>
    <a:noFill/>
    <a:ln>
      <a:noFill/>
    </a:ln>
    <a:effectLst/>
  </c:spPr>
  <c:txPr>
    <a:bodyPr/>
    <a:lstStyle/>
    <a:p>
      <a:pPr>
        <a:defRPr/>
      </a:pPr>
      <a:endParaRPr lang="it-IT"/>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lgn="ctr" rtl="0">
              <a:defRPr lang="it-IT" sz="1200" b="1" i="0" u="none" strike="noStrike" kern="1200" spc="0" baseline="0">
                <a:solidFill>
                  <a:srgbClr val="C00000"/>
                </a:solidFill>
                <a:latin typeface="+mn-lt"/>
                <a:ea typeface="+mn-ea"/>
                <a:cs typeface="+mn-cs"/>
              </a:defRPr>
            </a:pPr>
            <a:r>
              <a:rPr lang="it-IT" sz="1200" b="1" i="0" u="none" strike="noStrike" kern="1200" spc="0" baseline="0" dirty="0">
                <a:solidFill>
                  <a:srgbClr val="C00000"/>
                </a:solidFill>
                <a:latin typeface="+mn-lt"/>
                <a:ea typeface="+mn-ea"/>
                <a:cs typeface="+mn-cs"/>
              </a:rPr>
              <a:t>PERSONALE SEDE</a:t>
            </a:r>
          </a:p>
          <a:p>
            <a:pPr algn="ctr" rtl="0">
              <a:defRPr lang="it-IT" sz="1200" b="1">
                <a:solidFill>
                  <a:srgbClr val="C00000"/>
                </a:solidFill>
              </a:defRPr>
            </a:pPr>
            <a:r>
              <a:rPr lang="it-IT" sz="1200" b="1" i="0" u="none" strike="noStrike" kern="1200" spc="0" baseline="0" dirty="0">
                <a:solidFill>
                  <a:srgbClr val="C00000"/>
                </a:solidFill>
                <a:latin typeface="+mn-lt"/>
                <a:ea typeface="+mn-ea"/>
                <a:cs typeface="+mn-cs"/>
              </a:rPr>
              <a:t>TOTALE 193</a:t>
            </a:r>
          </a:p>
        </c:rich>
      </c:tx>
      <c:layout>
        <c:manualLayout>
          <c:xMode val="edge"/>
          <c:yMode val="edge"/>
          <c:x val="0.72247342983297269"/>
          <c:y val="7.7550848743844483E-3"/>
        </c:manualLayout>
      </c:layout>
      <c:overlay val="0"/>
      <c:spPr>
        <a:noFill/>
        <a:ln>
          <a:noFill/>
        </a:ln>
        <a:effectLst/>
      </c:spPr>
      <c:txPr>
        <a:bodyPr rot="0" spcFirstLastPara="1" vertOverflow="ellipsis" vert="horz" wrap="square" anchor="ctr" anchorCtr="1"/>
        <a:lstStyle/>
        <a:p>
          <a:pPr algn="ctr" rtl="0">
            <a:defRPr lang="it-IT" sz="1200" b="1" i="0" u="none" strike="noStrike" kern="1200" spc="0" baseline="0">
              <a:solidFill>
                <a:srgbClr val="C00000"/>
              </a:solidFill>
              <a:latin typeface="+mn-lt"/>
              <a:ea typeface="+mn-ea"/>
              <a:cs typeface="+mn-cs"/>
            </a:defRPr>
          </a:pPr>
          <a:endParaRPr lang="it-IT"/>
        </a:p>
      </c:txPr>
    </c:title>
    <c:autoTitleDeleted val="0"/>
    <c:plotArea>
      <c:layout>
        <c:manualLayout>
          <c:layoutTarget val="inner"/>
          <c:xMode val="edge"/>
          <c:yMode val="edge"/>
          <c:x val="0.31692140032069926"/>
          <c:y val="0.16404719977617957"/>
          <c:w val="0.42090599201040074"/>
          <c:h val="0.81430905503531936"/>
        </c:manualLayout>
      </c:layout>
      <c:doughnutChart>
        <c:varyColors val="1"/>
        <c:ser>
          <c:idx val="0"/>
          <c:order val="0"/>
          <c:tx>
            <c:strRef>
              <c:f>Foglio1!$B$1</c:f>
              <c:strCache>
                <c:ptCount val="1"/>
                <c:pt idx="0">
                  <c:v>PERSONALE ESERCIZIO TOT. 193</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8C0D-4FAE-B223-645554ED0AE5}"/>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3-8C0D-4FAE-B223-645554ED0AE5}"/>
              </c:ext>
            </c:extLst>
          </c:dPt>
          <c:dPt>
            <c:idx val="2"/>
            <c:bubble3D val="0"/>
            <c:spPr>
              <a:solidFill>
                <a:schemeClr val="accent1"/>
              </a:solidFill>
              <a:ln w="19050">
                <a:solidFill>
                  <a:schemeClr val="lt1"/>
                </a:solidFill>
              </a:ln>
              <a:effectLst/>
            </c:spPr>
            <c:extLst>
              <c:ext xmlns:c16="http://schemas.microsoft.com/office/drawing/2014/chart" uri="{C3380CC4-5D6E-409C-BE32-E72D297353CC}">
                <c16:uniqueId val="{00000005-8C0D-4FAE-B223-645554ED0AE5}"/>
              </c:ext>
            </c:extLst>
          </c:dPt>
          <c:dPt>
            <c:idx val="3"/>
            <c:bubble3D val="0"/>
            <c:spPr>
              <a:solidFill>
                <a:schemeClr val="accent1">
                  <a:tint val="84000"/>
                </a:schemeClr>
              </a:solidFill>
              <a:ln w="19050">
                <a:solidFill>
                  <a:schemeClr val="lt1"/>
                </a:solidFill>
              </a:ln>
              <a:effectLst/>
            </c:spPr>
            <c:extLst>
              <c:ext xmlns:c16="http://schemas.microsoft.com/office/drawing/2014/chart" uri="{C3380CC4-5D6E-409C-BE32-E72D297353CC}">
                <c16:uniqueId val="{00000007-8C0D-4FAE-B223-645554ED0AE5}"/>
              </c:ext>
            </c:extLst>
          </c:dPt>
          <c:dLbls>
            <c:dLbl>
              <c:idx val="0"/>
              <c:layout>
                <c:manualLayout>
                  <c:x val="0.11378350010231564"/>
                  <c:y val="-4.2117187542857773E-2"/>
                </c:manualLayout>
              </c:layout>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2"/>
                      </a:solidFill>
                      <a:latin typeface="+mn-lt"/>
                      <a:ea typeface="+mn-ea"/>
                      <a:cs typeface="+mn-cs"/>
                    </a:defRPr>
                  </a:pPr>
                  <a:endParaRPr lang="it-IT"/>
                </a:p>
              </c:txPr>
              <c:showLegendKey val="0"/>
              <c:showVal val="0"/>
              <c:showCatName val="1"/>
              <c:showSerName val="0"/>
              <c:showPercent val="1"/>
              <c:showBubbleSize val="0"/>
              <c:extLst>
                <c:ext xmlns:c15="http://schemas.microsoft.com/office/drawing/2012/chart" uri="{CE6537A1-D6FC-4f65-9D91-7224C49458BB}">
                  <c15:layout>
                    <c:manualLayout>
                      <c:w val="0.33399276390731364"/>
                      <c:h val="0.22761086445027823"/>
                    </c:manualLayout>
                  </c15:layout>
                </c:ext>
                <c:ext xmlns:c16="http://schemas.microsoft.com/office/drawing/2014/chart" uri="{C3380CC4-5D6E-409C-BE32-E72D297353CC}">
                  <c16:uniqueId val="{00000001-8C0D-4FAE-B223-645554ED0AE5}"/>
                </c:ext>
              </c:extLst>
            </c:dLbl>
            <c:dLbl>
              <c:idx val="1"/>
              <c:layout>
                <c:manualLayout>
                  <c:x val="-0.14941456909884354"/>
                  <c:y val="1.1050674283925803E-2"/>
                </c:manualLayout>
              </c:layout>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2"/>
                      </a:solidFill>
                      <a:latin typeface="+mn-lt"/>
                      <a:ea typeface="+mn-ea"/>
                      <a:cs typeface="+mn-cs"/>
                    </a:defRPr>
                  </a:pPr>
                  <a:endParaRPr lang="it-IT"/>
                </a:p>
              </c:txPr>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8C0D-4FAE-B223-645554ED0AE5}"/>
                </c:ext>
              </c:extLst>
            </c:dLbl>
            <c:dLbl>
              <c:idx val="2"/>
              <c:layout>
                <c:manualLayout>
                  <c:x val="-7.2022650272849584E-2"/>
                  <c:y val="-0.13933918119030772"/>
                </c:manualLayout>
              </c:layout>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rgbClr val="C00000"/>
                      </a:solidFill>
                      <a:latin typeface="+mn-lt"/>
                      <a:ea typeface="+mn-ea"/>
                      <a:cs typeface="+mn-cs"/>
                    </a:defRPr>
                  </a:pPr>
                  <a:endParaRPr lang="it-IT"/>
                </a:p>
              </c:txPr>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8C0D-4FAE-B223-645554ED0AE5}"/>
                </c:ext>
              </c:extLst>
            </c:dLbl>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lumMod val="75000"/>
                        <a:lumOff val="25000"/>
                      </a:schemeClr>
                    </a:solidFill>
                    <a:latin typeface="+mn-lt"/>
                    <a:ea typeface="+mn-ea"/>
                    <a:cs typeface="+mn-cs"/>
                  </a:defRPr>
                </a:pPr>
                <a:endParaRPr lang="it-IT"/>
              </a:p>
            </c:txPr>
            <c:showLegendKey val="0"/>
            <c:showVal val="0"/>
            <c:showCatName val="1"/>
            <c:showSerName val="0"/>
            <c:showPercent val="1"/>
            <c:showBubbleSize val="0"/>
            <c:showLeaderLines val="0"/>
            <c:extLst>
              <c:ext xmlns:c15="http://schemas.microsoft.com/office/drawing/2012/chart" uri="{CE6537A1-D6FC-4f65-9D91-7224C49458BB}"/>
            </c:extLst>
          </c:dLbls>
          <c:cat>
            <c:strRef>
              <c:f>Foglio1!$A$2:$A$4</c:f>
              <c:strCache>
                <c:ptCount val="3"/>
                <c:pt idx="0">
                  <c:v>AAG</c:v>
                </c:pt>
                <c:pt idx="1">
                  <c:v>TECNICI</c:v>
                </c:pt>
                <c:pt idx="2">
                  <c:v>ST STAFF</c:v>
                </c:pt>
              </c:strCache>
            </c:strRef>
          </c:cat>
          <c:val>
            <c:numRef>
              <c:f>Foglio1!$B$2:$B$4</c:f>
              <c:numCache>
                <c:formatCode>General</c:formatCode>
                <c:ptCount val="3"/>
                <c:pt idx="0">
                  <c:v>46</c:v>
                </c:pt>
                <c:pt idx="1">
                  <c:v>121</c:v>
                </c:pt>
                <c:pt idx="2">
                  <c:v>26</c:v>
                </c:pt>
              </c:numCache>
            </c:numRef>
          </c:val>
          <c:extLst>
            <c:ext xmlns:c16="http://schemas.microsoft.com/office/drawing/2014/chart" uri="{C3380CC4-5D6E-409C-BE32-E72D297353CC}">
              <c16:uniqueId val="{00000008-8C0D-4FAE-B223-645554ED0AE5}"/>
            </c:ext>
          </c:extLst>
        </c:ser>
        <c:dLbls>
          <c:showLegendKey val="0"/>
          <c:showVal val="0"/>
          <c:showCatName val="0"/>
          <c:showSerName val="0"/>
          <c:showPercent val="1"/>
          <c:showBubbleSize val="0"/>
          <c:showLeaderLines val="0"/>
        </c:dLbls>
        <c:firstSliceAng val="0"/>
        <c:holeSize val="50"/>
      </c:doughnutChart>
      <c:spPr>
        <a:noFill/>
        <a:ln>
          <a:noFill/>
        </a:ln>
        <a:effectLst/>
      </c:spPr>
    </c:plotArea>
    <c:plotVisOnly val="1"/>
    <c:dispBlanksAs val="zero"/>
    <c:showDLblsOverMax val="0"/>
  </c:chart>
  <c:spPr>
    <a:noFill/>
    <a:ln>
      <a:noFill/>
    </a:ln>
    <a:effectLst/>
  </c:spPr>
  <c:txPr>
    <a:bodyPr/>
    <a:lstStyle/>
    <a:p>
      <a:pPr>
        <a:defRPr/>
      </a:pPr>
      <a:endParaRPr lang="it-IT"/>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it-IT" b="1" dirty="0"/>
              <a:t>A90</a:t>
            </a:r>
            <a:r>
              <a:rPr lang="it-IT" b="1" baseline="0" dirty="0"/>
              <a:t> G.R.A.</a:t>
            </a:r>
          </a:p>
          <a:p>
            <a:pPr>
              <a:defRPr/>
            </a:pPr>
            <a:r>
              <a:rPr lang="it-IT" sz="1000" dirty="0"/>
              <a:t>Traffico</a:t>
            </a:r>
            <a:r>
              <a:rPr lang="it-IT" sz="1000" baseline="0" dirty="0"/>
              <a:t> medio giornaliero 2021</a:t>
            </a:r>
            <a:endParaRPr lang="it-IT" sz="1000" dirty="0"/>
          </a:p>
        </c:rich>
      </c:tx>
      <c:layout>
        <c:manualLayout>
          <c:xMode val="edge"/>
          <c:yMode val="edge"/>
          <c:x val="0.15985170109204194"/>
          <c:y val="3.0718634641347848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it-IT"/>
        </a:p>
      </c:txPr>
    </c:title>
    <c:autoTitleDeleted val="0"/>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nagrafica!$D$9:$D$18</c:f>
              <c:strCache>
                <c:ptCount val="10"/>
                <c:pt idx="0">
                  <c:v>Km 0+722</c:v>
                </c:pt>
                <c:pt idx="1">
                  <c:v>Km 8+446</c:v>
                </c:pt>
                <c:pt idx="2">
                  <c:v>Km 14+270</c:v>
                </c:pt>
                <c:pt idx="3">
                  <c:v>Km 20+814</c:v>
                </c:pt>
                <c:pt idx="4">
                  <c:v>Km 25+200</c:v>
                </c:pt>
                <c:pt idx="5">
                  <c:v>Km 27+576</c:v>
                </c:pt>
                <c:pt idx="6">
                  <c:v>Km 41+772</c:v>
                </c:pt>
                <c:pt idx="7">
                  <c:v>Km 48+990</c:v>
                </c:pt>
                <c:pt idx="8">
                  <c:v>Km 56+789</c:v>
                </c:pt>
                <c:pt idx="9">
                  <c:v>Km 63+894</c:v>
                </c:pt>
              </c:strCache>
            </c:strRef>
          </c:cat>
          <c:val>
            <c:numRef>
              <c:f>Anagrafica!$H$9:$H$18</c:f>
              <c:numCache>
                <c:formatCode>0</c:formatCode>
                <c:ptCount val="10"/>
                <c:pt idx="0">
                  <c:v>77916.133858267727</c:v>
                </c:pt>
                <c:pt idx="1">
                  <c:v>91965.832417582424</c:v>
                </c:pt>
                <c:pt idx="2">
                  <c:v>104391.61878453039</c:v>
                </c:pt>
                <c:pt idx="3">
                  <c:v>68648.243346007599</c:v>
                </c:pt>
                <c:pt idx="4">
                  <c:v>97141.036082474224</c:v>
                </c:pt>
                <c:pt idx="5">
                  <c:v>99539.182242990661</c:v>
                </c:pt>
                <c:pt idx="6">
                  <c:v>106099.94736842105</c:v>
                </c:pt>
                <c:pt idx="7">
                  <c:v>116837.40483383686</c:v>
                </c:pt>
                <c:pt idx="8">
                  <c:v>115267.29014084507</c:v>
                </c:pt>
                <c:pt idx="9">
                  <c:v>97046.321229050285</c:v>
                </c:pt>
              </c:numCache>
            </c:numRef>
          </c:val>
          <c:extLst>
            <c:ext xmlns:c16="http://schemas.microsoft.com/office/drawing/2014/chart" uri="{C3380CC4-5D6E-409C-BE32-E72D297353CC}">
              <c16:uniqueId val="{00000000-9E85-4E91-9A7D-E8ACFCF71D1B}"/>
            </c:ext>
          </c:extLst>
        </c:ser>
        <c:dLbls>
          <c:showLegendKey val="0"/>
          <c:showVal val="0"/>
          <c:showCatName val="0"/>
          <c:showSerName val="0"/>
          <c:showPercent val="0"/>
          <c:showBubbleSize val="0"/>
        </c:dLbls>
        <c:gapWidth val="219"/>
        <c:overlap val="-27"/>
        <c:axId val="1100828624"/>
        <c:axId val="1100839504"/>
      </c:barChart>
      <c:catAx>
        <c:axId val="11008286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it-IT"/>
          </a:p>
        </c:txPr>
        <c:crossAx val="1100839504"/>
        <c:crosses val="autoZero"/>
        <c:auto val="1"/>
        <c:lblAlgn val="ctr"/>
        <c:lblOffset val="100"/>
        <c:noMultiLvlLbl val="0"/>
      </c:catAx>
      <c:valAx>
        <c:axId val="110083950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it-IT"/>
          </a:p>
        </c:txPr>
        <c:crossAx val="110082862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it-IT"/>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lumMod val="65000"/>
                    <a:lumOff val="35000"/>
                  </a:schemeClr>
                </a:solidFill>
                <a:latin typeface="+mn-lt"/>
                <a:ea typeface="+mn-ea"/>
                <a:cs typeface="+mn-cs"/>
              </a:defRPr>
            </a:pPr>
            <a:r>
              <a:rPr lang="it-IT" sz="1400" b="1" baseline="0" dirty="0"/>
              <a:t>SS 148 Via Pontina </a:t>
            </a:r>
            <a:endParaRPr lang="it-IT" sz="1000" b="1" baseline="0" dirty="0"/>
          </a:p>
          <a:p>
            <a:pPr>
              <a:defRPr sz="1000"/>
            </a:pPr>
            <a:r>
              <a:rPr lang="it-IT" sz="1000" baseline="0" dirty="0"/>
              <a:t> Traffico medio giornaliero 2021</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lumMod val="65000"/>
                  <a:lumOff val="35000"/>
                </a:schemeClr>
              </a:solidFill>
              <a:latin typeface="+mn-lt"/>
              <a:ea typeface="+mn-ea"/>
              <a:cs typeface="+mn-cs"/>
            </a:defRPr>
          </a:pPr>
          <a:endParaRPr lang="it-IT"/>
        </a:p>
      </c:txPr>
    </c:title>
    <c:autoTitleDeleted val="0"/>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nagrafica!$C$9:$C$13</c:f>
              <c:strCache>
                <c:ptCount val="5"/>
                <c:pt idx="0">
                  <c:v>Km 17+447</c:v>
                </c:pt>
                <c:pt idx="1">
                  <c:v>Km 23+858</c:v>
                </c:pt>
                <c:pt idx="2">
                  <c:v>Km 36+797</c:v>
                </c:pt>
                <c:pt idx="3">
                  <c:v>Km 59+461</c:v>
                </c:pt>
                <c:pt idx="4">
                  <c:v>Km 88+399</c:v>
                </c:pt>
              </c:strCache>
            </c:strRef>
          </c:cat>
          <c:val>
            <c:numRef>
              <c:f>Anagrafica!$G$9:$G$13</c:f>
              <c:numCache>
                <c:formatCode>0</c:formatCode>
                <c:ptCount val="5"/>
                <c:pt idx="0">
                  <c:v>81926.616071428565</c:v>
                </c:pt>
                <c:pt idx="1">
                  <c:v>78930.732240437152</c:v>
                </c:pt>
                <c:pt idx="2">
                  <c:v>45562.885135135133</c:v>
                </c:pt>
                <c:pt idx="3">
                  <c:v>34406.78729281768</c:v>
                </c:pt>
                <c:pt idx="4">
                  <c:v>16945.36752136752</c:v>
                </c:pt>
              </c:numCache>
            </c:numRef>
          </c:val>
          <c:extLst>
            <c:ext xmlns:c16="http://schemas.microsoft.com/office/drawing/2014/chart" uri="{C3380CC4-5D6E-409C-BE32-E72D297353CC}">
              <c16:uniqueId val="{00000000-DB65-4B63-AA42-1933BC9BE5E5}"/>
            </c:ext>
          </c:extLst>
        </c:ser>
        <c:dLbls>
          <c:showLegendKey val="0"/>
          <c:showVal val="0"/>
          <c:showCatName val="0"/>
          <c:showSerName val="0"/>
          <c:showPercent val="0"/>
          <c:showBubbleSize val="0"/>
        </c:dLbls>
        <c:gapWidth val="219"/>
        <c:overlap val="-27"/>
        <c:axId val="1100840592"/>
        <c:axId val="1100842768"/>
      </c:barChart>
      <c:catAx>
        <c:axId val="1100840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it-IT"/>
          </a:p>
        </c:txPr>
        <c:crossAx val="1100842768"/>
        <c:crosses val="autoZero"/>
        <c:auto val="1"/>
        <c:lblAlgn val="ctr"/>
        <c:lblOffset val="100"/>
        <c:noMultiLvlLbl val="0"/>
      </c:catAx>
      <c:valAx>
        <c:axId val="110084276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it-IT"/>
          </a:p>
        </c:txPr>
        <c:crossAx val="11008405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it-IT"/>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lumMod val="65000"/>
                    <a:lumOff val="35000"/>
                  </a:schemeClr>
                </a:solidFill>
                <a:latin typeface="+mn-lt"/>
                <a:ea typeface="+mn-ea"/>
                <a:cs typeface="+mn-cs"/>
              </a:defRPr>
            </a:pPr>
            <a:r>
              <a:rPr lang="it-IT" sz="1400" b="1" baseline="0" dirty="0"/>
              <a:t>A91 Roma Fiumicino</a:t>
            </a:r>
            <a:endParaRPr lang="it-IT" sz="1000" b="1" baseline="0" dirty="0"/>
          </a:p>
          <a:p>
            <a:pPr>
              <a:defRPr sz="1000"/>
            </a:pPr>
            <a:r>
              <a:rPr lang="it-IT" sz="1000" baseline="0" dirty="0"/>
              <a:t>Traffico medio giornaliero 2021</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lumMod val="65000"/>
                  <a:lumOff val="35000"/>
                </a:schemeClr>
              </a:solidFill>
              <a:latin typeface="+mn-lt"/>
              <a:ea typeface="+mn-ea"/>
              <a:cs typeface="+mn-cs"/>
            </a:defRPr>
          </a:pPr>
          <a:endParaRPr lang="it-IT"/>
        </a:p>
      </c:txPr>
    </c:title>
    <c:autoTitleDeleted val="0"/>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nagrafica!$C$9:$C$11</c:f>
              <c:strCache>
                <c:ptCount val="3"/>
                <c:pt idx="0">
                  <c:v>Km 5+279</c:v>
                </c:pt>
                <c:pt idx="1">
                  <c:v>Km 9+298</c:v>
                </c:pt>
                <c:pt idx="2">
                  <c:v>Km 14+303</c:v>
                </c:pt>
              </c:strCache>
            </c:strRef>
          </c:cat>
          <c:val>
            <c:numRef>
              <c:f>Anagrafica!$G$9:$G$11</c:f>
              <c:numCache>
                <c:formatCode>0</c:formatCode>
                <c:ptCount val="3"/>
                <c:pt idx="0">
                  <c:v>57231.175925925927</c:v>
                </c:pt>
                <c:pt idx="1">
                  <c:v>72945.56048387097</c:v>
                </c:pt>
                <c:pt idx="2">
                  <c:v>35324.436090225565</c:v>
                </c:pt>
              </c:numCache>
            </c:numRef>
          </c:val>
          <c:extLst>
            <c:ext xmlns:c16="http://schemas.microsoft.com/office/drawing/2014/chart" uri="{C3380CC4-5D6E-409C-BE32-E72D297353CC}">
              <c16:uniqueId val="{00000000-1C25-4805-A027-2E00BF7791B3}"/>
            </c:ext>
          </c:extLst>
        </c:ser>
        <c:dLbls>
          <c:showLegendKey val="0"/>
          <c:showVal val="0"/>
          <c:showCatName val="0"/>
          <c:showSerName val="0"/>
          <c:showPercent val="0"/>
          <c:showBubbleSize val="0"/>
        </c:dLbls>
        <c:gapWidth val="219"/>
        <c:overlap val="-27"/>
        <c:axId val="1100826992"/>
        <c:axId val="1100833520"/>
      </c:barChart>
      <c:catAx>
        <c:axId val="11008269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it-IT"/>
          </a:p>
        </c:txPr>
        <c:crossAx val="1100833520"/>
        <c:crosses val="autoZero"/>
        <c:auto val="1"/>
        <c:lblAlgn val="ctr"/>
        <c:lblOffset val="100"/>
        <c:noMultiLvlLbl val="0"/>
      </c:catAx>
      <c:valAx>
        <c:axId val="110083352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it-IT"/>
          </a:p>
        </c:txPr>
        <c:crossAx val="11008269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it-IT"/>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it-IT"/>
        </a:p>
      </c:txPr>
    </c:title>
    <c:autoTitleDeleted val="0"/>
    <c:plotArea>
      <c:layout/>
      <c:barChart>
        <c:barDir val="col"/>
        <c:grouping val="clustered"/>
        <c:varyColors val="0"/>
        <c:ser>
          <c:idx val="0"/>
          <c:order val="0"/>
          <c:tx>
            <c:strRef>
              <c:f>Foglio5!$B$1</c:f>
              <c:strCache>
                <c:ptCount val="1"/>
                <c:pt idx="0">
                  <c:v>Picco massimo giornaliero di veicoli</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5!$A$2:$A$4</c:f>
              <c:strCache>
                <c:ptCount val="3"/>
                <c:pt idx="0">
                  <c:v>A90 - Km 48+000</c:v>
                </c:pt>
                <c:pt idx="1">
                  <c:v>A91 Km 9+200</c:v>
                </c:pt>
                <c:pt idx="2">
                  <c:v>SS148 - Km 17+000</c:v>
                </c:pt>
              </c:strCache>
            </c:strRef>
          </c:cat>
          <c:val>
            <c:numRef>
              <c:f>Foglio5!$B$2:$B$4</c:f>
              <c:numCache>
                <c:formatCode>General</c:formatCode>
                <c:ptCount val="3"/>
                <c:pt idx="0">
                  <c:v>146000</c:v>
                </c:pt>
                <c:pt idx="1">
                  <c:v>104000</c:v>
                </c:pt>
                <c:pt idx="2">
                  <c:v>101000</c:v>
                </c:pt>
              </c:numCache>
            </c:numRef>
          </c:val>
          <c:extLst>
            <c:ext xmlns:c16="http://schemas.microsoft.com/office/drawing/2014/chart" uri="{C3380CC4-5D6E-409C-BE32-E72D297353CC}">
              <c16:uniqueId val="{00000000-D845-4043-97F1-8C82A03BCB67}"/>
            </c:ext>
          </c:extLst>
        </c:ser>
        <c:dLbls>
          <c:showLegendKey val="0"/>
          <c:showVal val="0"/>
          <c:showCatName val="0"/>
          <c:showSerName val="0"/>
          <c:showPercent val="0"/>
          <c:showBubbleSize val="0"/>
        </c:dLbls>
        <c:gapWidth val="219"/>
        <c:overlap val="-27"/>
        <c:axId val="1100832432"/>
        <c:axId val="1100829168"/>
      </c:barChart>
      <c:catAx>
        <c:axId val="11008324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it-IT"/>
          </a:p>
        </c:txPr>
        <c:crossAx val="1100829168"/>
        <c:crosses val="autoZero"/>
        <c:auto val="1"/>
        <c:lblAlgn val="ctr"/>
        <c:lblOffset val="100"/>
        <c:noMultiLvlLbl val="0"/>
      </c:catAx>
      <c:valAx>
        <c:axId val="110082916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it-IT"/>
          </a:p>
        </c:txPr>
        <c:crossAx val="110083243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it-IT"/>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explosion val="10"/>
            <c:spPr>
              <a:solidFill>
                <a:schemeClr val="accent1"/>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93AE-4B4D-B826-A1662CEDD989}"/>
              </c:ext>
            </c:extLst>
          </c:dPt>
          <c:dPt>
            <c:idx val="1"/>
            <c:bubble3D val="0"/>
            <c:spPr>
              <a:solidFill>
                <a:schemeClr val="accent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93AE-4B4D-B826-A1662CEDD989}"/>
              </c:ext>
            </c:extLst>
          </c:dPt>
          <c:dLbls>
            <c:dLbl>
              <c:idx val="0"/>
              <c:layout>
                <c:manualLayout>
                  <c:x val="-0.22684449176401239"/>
                  <c:y val="0.15963740405139021"/>
                </c:manualLayout>
              </c:layout>
              <c:tx>
                <c:rich>
                  <a:bodyPr rot="0" spcFirstLastPara="1" vertOverflow="ellipsis" vert="horz" wrap="square" lIns="38100" tIns="19050" rIns="38100" bIns="19050" anchor="ctr" anchorCtr="1">
                    <a:spAutoFit/>
                  </a:bodyPr>
                  <a:lstStyle/>
                  <a:p>
                    <a:pPr>
                      <a:defRPr sz="1200" b="1" i="0" u="none" strike="noStrike" kern="1200" baseline="0">
                        <a:solidFill>
                          <a:schemeClr val="lt1"/>
                        </a:solidFill>
                        <a:latin typeface="+mn-lt"/>
                        <a:ea typeface="+mn-ea"/>
                        <a:cs typeface="+mn-cs"/>
                      </a:defRPr>
                    </a:pPr>
                    <a:fld id="{7E3BC74B-30F6-48BC-8064-D0A605E67C5E}" type="CATEGORYNAME">
                      <a:rPr lang="en-US"/>
                      <a:pPr>
                        <a:defRPr sz="1200"/>
                      </a:pPr>
                      <a:t>[NOME CATEGORIA]</a:t>
                    </a:fld>
                    <a:r>
                      <a:rPr lang="en-US" baseline="0" dirty="0"/>
                      <a:t>
1078,1</a:t>
                    </a:r>
                  </a:p>
                  <a:p>
                    <a:pPr>
                      <a:defRPr sz="1200"/>
                    </a:pPr>
                    <a:r>
                      <a:rPr lang="en-US" baseline="0" dirty="0"/>
                      <a:t>30 %
</a:t>
                    </a:r>
                  </a:p>
                </c:rich>
              </c:tx>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lt1"/>
                      </a:solidFill>
                      <a:latin typeface="+mn-lt"/>
                      <a:ea typeface="+mn-ea"/>
                      <a:cs typeface="+mn-cs"/>
                    </a:defRPr>
                  </a:pPr>
                  <a:endParaRPr lang="it-IT"/>
                </a:p>
              </c:txPr>
              <c:dLblPos val="bestFit"/>
              <c:showLegendKey val="0"/>
              <c:showVal val="1"/>
              <c:showCatName val="1"/>
              <c:showSerName val="0"/>
              <c:showPercent val="1"/>
              <c:showBubbleSize val="0"/>
              <c:separator>
</c:separator>
              <c:extLst>
                <c:ext xmlns:c15="http://schemas.microsoft.com/office/drawing/2012/chart" uri="{CE6537A1-D6FC-4f65-9D91-7224C49458BB}">
                  <c15:layout>
                    <c:manualLayout>
                      <c:w val="0.21667635993880502"/>
                      <c:h val="0.32197096592675128"/>
                    </c:manualLayout>
                  </c15:layout>
                  <c15:dlblFieldTable/>
                  <c15:showDataLabelsRange val="0"/>
                </c:ext>
                <c:ext xmlns:c16="http://schemas.microsoft.com/office/drawing/2014/chart" uri="{C3380CC4-5D6E-409C-BE32-E72D297353CC}">
                  <c16:uniqueId val="{00000001-93AE-4B4D-B826-A1662CEDD989}"/>
                </c:ext>
              </c:extLst>
            </c:dLbl>
            <c:dLbl>
              <c:idx val="1"/>
              <c:layout>
                <c:manualLayout>
                  <c:x val="0.21949271521983788"/>
                  <c:y val="-0.27477502926124131"/>
                </c:manualLayout>
              </c:layout>
              <c:tx>
                <c:rich>
                  <a:bodyPr rot="0" spcFirstLastPara="1" vertOverflow="ellipsis" vert="horz" wrap="square" lIns="38100" tIns="19050" rIns="38100" bIns="19050" anchor="ctr" anchorCtr="1">
                    <a:noAutofit/>
                  </a:bodyPr>
                  <a:lstStyle/>
                  <a:p>
                    <a:pPr>
                      <a:defRPr sz="1400" b="1" i="0" u="none" strike="noStrike" kern="1200" baseline="0">
                        <a:solidFill>
                          <a:schemeClr val="lt1"/>
                        </a:solidFill>
                        <a:latin typeface="+mn-lt"/>
                        <a:ea typeface="+mn-ea"/>
                        <a:cs typeface="+mn-cs"/>
                      </a:defRPr>
                    </a:pPr>
                    <a:fld id="{FCE3AB5C-9721-4623-AAF9-69CFCBC7C7C7}" type="CATEGORYNAME">
                      <a:rPr lang="it-IT"/>
                      <a:pPr>
                        <a:defRPr sz="1400"/>
                      </a:pPr>
                      <a:t>[NOME CATEGORIA]</a:t>
                    </a:fld>
                    <a:r>
                      <a:rPr lang="it-IT" baseline="0" dirty="0"/>
                      <a:t>
2 587</a:t>
                    </a:r>
                  </a:p>
                  <a:p>
                    <a:pPr>
                      <a:defRPr sz="1400"/>
                    </a:pPr>
                    <a:r>
                      <a:rPr lang="it-IT" baseline="0" dirty="0"/>
                      <a:t>70%
</a:t>
                    </a:r>
                  </a:p>
                </c:rich>
              </c:tx>
              <c:spPr>
                <a:noFill/>
                <a:ln>
                  <a:noFill/>
                </a:ln>
                <a:effectLst/>
              </c:spPr>
              <c:txPr>
                <a:bodyPr rot="0" spcFirstLastPara="1" vertOverflow="ellipsis" vert="horz" wrap="square" lIns="38100" tIns="19050" rIns="38100" bIns="19050" anchor="ctr" anchorCtr="1">
                  <a:noAutofit/>
                </a:bodyPr>
                <a:lstStyle/>
                <a:p>
                  <a:pPr>
                    <a:defRPr sz="1400" b="1" i="0" u="none" strike="noStrike" kern="1200" baseline="0">
                      <a:solidFill>
                        <a:schemeClr val="lt1"/>
                      </a:solidFill>
                      <a:latin typeface="+mn-lt"/>
                      <a:ea typeface="+mn-ea"/>
                      <a:cs typeface="+mn-cs"/>
                    </a:defRPr>
                  </a:pPr>
                  <a:endParaRPr lang="it-IT"/>
                </a:p>
              </c:txPr>
              <c:dLblPos val="bestFit"/>
              <c:showLegendKey val="0"/>
              <c:showVal val="1"/>
              <c:showCatName val="1"/>
              <c:showSerName val="0"/>
              <c:showPercent val="1"/>
              <c:showBubbleSize val="0"/>
              <c:separator>
</c:separator>
              <c:extLst>
                <c:ext xmlns:c15="http://schemas.microsoft.com/office/drawing/2012/chart" uri="{CE6537A1-D6FC-4f65-9D91-7224C49458BB}">
                  <c15:layout>
                    <c:manualLayout>
                      <c:w val="0.19277531667542097"/>
                      <c:h val="0.39169993994230035"/>
                    </c:manualLayout>
                  </c15:layout>
                  <c15:dlblFieldTable/>
                  <c15:showDataLabelsRange val="0"/>
                </c:ext>
                <c:ext xmlns:c16="http://schemas.microsoft.com/office/drawing/2014/chart" uri="{C3380CC4-5D6E-409C-BE32-E72D297353CC}">
                  <c16:uniqueId val="{00000003-93AE-4B4D-B826-A1662CEDD989}"/>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lt1"/>
                    </a:solidFill>
                    <a:latin typeface="+mn-lt"/>
                    <a:ea typeface="+mn-ea"/>
                    <a:cs typeface="+mn-cs"/>
                  </a:defRPr>
                </a:pPr>
                <a:endParaRPr lang="it-IT"/>
              </a:p>
            </c:txPr>
            <c:dLblPos val="inEnd"/>
            <c:showLegendKey val="0"/>
            <c:showVal val="1"/>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tato Lavori'!$H$49:$I$49</c:f>
              <c:strCache>
                <c:ptCount val="2"/>
                <c:pt idx="0">
                  <c:v>Manutenzione Programmata</c:v>
                </c:pt>
                <c:pt idx="1">
                  <c:v>Nuove Opere</c:v>
                </c:pt>
              </c:strCache>
            </c:strRef>
          </c:cat>
          <c:val>
            <c:numRef>
              <c:f>'Stato Lavori'!$H$50:$I$50</c:f>
              <c:numCache>
                <c:formatCode>#,##0.00</c:formatCode>
                <c:ptCount val="2"/>
                <c:pt idx="0">
                  <c:v>1078.0999999999999</c:v>
                </c:pt>
                <c:pt idx="1">
                  <c:v>2587</c:v>
                </c:pt>
              </c:numCache>
            </c:numRef>
          </c:val>
          <c:extLst>
            <c:ext xmlns:c16="http://schemas.microsoft.com/office/drawing/2014/chart" uri="{C3380CC4-5D6E-409C-BE32-E72D297353CC}">
              <c16:uniqueId val="{00000004-93AE-4B4D-B826-A1662CEDD989}"/>
            </c:ext>
          </c:extLst>
        </c:ser>
        <c:dLbls>
          <c:dLblPos val="inEnd"/>
          <c:showLegendKey val="0"/>
          <c:showVal val="0"/>
          <c:showCatName val="0"/>
          <c:showSerName val="0"/>
          <c:showPercent val="1"/>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it-IT"/>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it-IT" sz="1800" b="1" i="0" baseline="0">
                <a:effectLst/>
              </a:rPr>
              <a:t>Investimenti Manutenzione Programmata</a:t>
            </a:r>
            <a:endParaRPr lang="it-IT" sz="1400">
              <a:effectLst/>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it-IT"/>
        </a:p>
      </c:txPr>
    </c:title>
    <c:autoTitleDeleted val="0"/>
    <c:plotArea>
      <c:layout/>
      <c:barChart>
        <c:barDir val="col"/>
        <c:grouping val="clustered"/>
        <c:varyColors val="0"/>
        <c:ser>
          <c:idx val="0"/>
          <c:order val="0"/>
          <c:spPr>
            <a:solidFill>
              <a:srgbClr val="DC002E"/>
            </a:solidFill>
            <a:ln>
              <a:solidFill>
                <a:schemeClr val="bg1">
                  <a:lumMod val="65000"/>
                </a:schemeClr>
              </a:solidFill>
            </a:ln>
            <a:effectLst/>
          </c:spPr>
          <c:invertIfNegative val="0"/>
          <c:dPt>
            <c:idx val="5"/>
            <c:invertIfNegative val="0"/>
            <c:bubble3D val="0"/>
            <c:spPr>
              <a:solidFill>
                <a:schemeClr val="bg1">
                  <a:lumMod val="65000"/>
                </a:schemeClr>
              </a:solidFill>
              <a:ln>
                <a:solidFill>
                  <a:schemeClr val="bg1">
                    <a:lumMod val="65000"/>
                  </a:schemeClr>
                </a:solidFill>
              </a:ln>
              <a:effectLst/>
            </c:spPr>
            <c:extLst>
              <c:ext xmlns:c16="http://schemas.microsoft.com/office/drawing/2014/chart" uri="{C3380CC4-5D6E-409C-BE32-E72D297353CC}">
                <c16:uniqueId val="{00000001-8F4B-45FC-A3DD-278A00425CA8}"/>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B$24:$G$24</c:f>
              <c:strCache>
                <c:ptCount val="6"/>
                <c:pt idx="0">
                  <c:v>In Programmazione</c:v>
                </c:pt>
                <c:pt idx="1">
                  <c:v>In Progettazione</c:v>
                </c:pt>
                <c:pt idx="2">
                  <c:v>Di Prossimo Avvio</c:v>
                </c:pt>
                <c:pt idx="3">
                  <c:v>In Corso</c:v>
                </c:pt>
                <c:pt idx="4">
                  <c:v>Concluso</c:v>
                </c:pt>
                <c:pt idx="5">
                  <c:v>Totale complessivo</c:v>
                </c:pt>
              </c:strCache>
            </c:strRef>
          </c:cat>
          <c:val>
            <c:numRef>
              <c:f>Piv!$B$35:$G$35</c:f>
              <c:numCache>
                <c:formatCode>#,##0.0</c:formatCode>
                <c:ptCount val="6"/>
                <c:pt idx="0">
                  <c:v>165.3</c:v>
                </c:pt>
                <c:pt idx="1">
                  <c:v>371.8</c:v>
                </c:pt>
                <c:pt idx="2">
                  <c:v>123.9</c:v>
                </c:pt>
                <c:pt idx="3">
                  <c:v>159.19999999999999</c:v>
                </c:pt>
                <c:pt idx="4">
                  <c:v>257.89999999999998</c:v>
                </c:pt>
                <c:pt idx="5">
                  <c:v>1078.0999999999999</c:v>
                </c:pt>
              </c:numCache>
            </c:numRef>
          </c:val>
          <c:extLst>
            <c:ext xmlns:c16="http://schemas.microsoft.com/office/drawing/2014/chart" uri="{C3380CC4-5D6E-409C-BE32-E72D297353CC}">
              <c16:uniqueId val="{00000002-8F4B-45FC-A3DD-278A00425CA8}"/>
            </c:ext>
          </c:extLst>
        </c:ser>
        <c:dLbls>
          <c:showLegendKey val="0"/>
          <c:showVal val="0"/>
          <c:showCatName val="0"/>
          <c:showSerName val="0"/>
          <c:showPercent val="0"/>
          <c:showBubbleSize val="0"/>
        </c:dLbls>
        <c:gapWidth val="219"/>
        <c:overlap val="-27"/>
        <c:axId val="1352390128"/>
        <c:axId val="1352374352"/>
      </c:barChart>
      <c:catAx>
        <c:axId val="13523901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it-IT"/>
          </a:p>
        </c:txPr>
        <c:crossAx val="1352374352"/>
        <c:crosses val="autoZero"/>
        <c:auto val="1"/>
        <c:lblAlgn val="ctr"/>
        <c:lblOffset val="100"/>
        <c:noMultiLvlLbl val="0"/>
      </c:catAx>
      <c:valAx>
        <c:axId val="1352374352"/>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it-IT"/>
          </a:p>
        </c:txPr>
        <c:crossAx val="135239012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it-IT"/>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Reversed" id="22">
  <a:schemeClr val="accent2"/>
</cs:colorStyle>
</file>

<file path=ppt/charts/colors3.xml><?xml version="1.0" encoding="utf-8"?>
<cs:colorStyle xmlns:cs="http://schemas.microsoft.com/office/drawing/2012/chartStyle" xmlns:a="http://schemas.openxmlformats.org/drawingml/2006/main" meth="withinLinear" id="14">
  <a:schemeClr val="accent1"/>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2">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14.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782CD9B-2B4B-48D2-BF13-2B0D6056B78A}"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it-IT"/>
        </a:p>
      </dgm:t>
    </dgm:pt>
    <dgm:pt modelId="{DFCF748E-4FA2-4C04-B1DF-85DA1021BE5D}">
      <dgm:prSet phldrT="[Testo]"/>
      <dgm:spPr>
        <a:solidFill>
          <a:schemeClr val="accent1"/>
        </a:solidFill>
      </dgm:spPr>
      <dgm:t>
        <a:bodyPr/>
        <a:lstStyle/>
        <a:p>
          <a:r>
            <a:rPr lang="it-IT" dirty="0"/>
            <a:t>Rete viaria complessiva</a:t>
          </a:r>
        </a:p>
      </dgm:t>
    </dgm:pt>
    <dgm:pt modelId="{7DAF1956-B700-4203-9672-92E4451DCC31}" type="parTrans" cxnId="{92751D9D-02E3-45C2-978C-737085227C42}">
      <dgm:prSet/>
      <dgm:spPr/>
      <dgm:t>
        <a:bodyPr/>
        <a:lstStyle/>
        <a:p>
          <a:endParaRPr lang="it-IT"/>
        </a:p>
      </dgm:t>
    </dgm:pt>
    <dgm:pt modelId="{A0ED7260-8442-4FBF-80B4-500E49A4F3AF}" type="sibTrans" cxnId="{92751D9D-02E3-45C2-978C-737085227C42}">
      <dgm:prSet/>
      <dgm:spPr/>
      <dgm:t>
        <a:bodyPr/>
        <a:lstStyle/>
        <a:p>
          <a:endParaRPr lang="it-IT"/>
        </a:p>
      </dgm:t>
    </dgm:pt>
    <dgm:pt modelId="{B754C885-66E5-4615-BD33-B6EE917A035D}">
      <dgm:prSet phldrT="[Testo]"/>
      <dgm:spPr>
        <a:gradFill flip="none"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16200000" scaled="1"/>
          <a:tileRect/>
        </a:gradFill>
      </dgm:spPr>
      <dgm:t>
        <a:bodyPr/>
        <a:lstStyle/>
        <a:p>
          <a:r>
            <a:rPr lang="it-IT" dirty="0"/>
            <a:t>Risorse</a:t>
          </a:r>
        </a:p>
      </dgm:t>
    </dgm:pt>
    <dgm:pt modelId="{65812F9F-DD0E-4752-BF8B-D07282594751}" type="parTrans" cxnId="{F8EA3703-CEE5-4162-AB46-CFFF8AC28B48}">
      <dgm:prSet/>
      <dgm:spPr/>
      <dgm:t>
        <a:bodyPr/>
        <a:lstStyle/>
        <a:p>
          <a:endParaRPr lang="it-IT"/>
        </a:p>
      </dgm:t>
    </dgm:pt>
    <dgm:pt modelId="{79AAED35-18A8-4347-A2B8-6AAE8B34BA56}" type="sibTrans" cxnId="{F8EA3703-CEE5-4162-AB46-CFFF8AC28B48}">
      <dgm:prSet/>
      <dgm:spPr/>
      <dgm:t>
        <a:bodyPr/>
        <a:lstStyle/>
        <a:p>
          <a:endParaRPr lang="it-IT"/>
        </a:p>
      </dgm:t>
    </dgm:pt>
    <dgm:pt modelId="{9225496C-39D8-4F53-8BB5-1B069B40EB3E}">
      <dgm:prSet phldrT="[Testo]"/>
      <dgm:spPr>
        <a:gradFill flip="none"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16200000" scaled="1"/>
          <a:tileRect/>
        </a:gradFill>
      </dgm:spPr>
      <dgm:t>
        <a:bodyPr/>
        <a:lstStyle/>
        <a:p>
          <a:r>
            <a:rPr lang="it-IT" dirty="0"/>
            <a:t>Affidamenti</a:t>
          </a:r>
        </a:p>
      </dgm:t>
    </dgm:pt>
    <dgm:pt modelId="{D3A21DFB-000A-4FCE-9E9D-8516EBA4DD45}" type="parTrans" cxnId="{94A2B45D-2D69-4650-AFC3-C5574217F910}">
      <dgm:prSet/>
      <dgm:spPr/>
      <dgm:t>
        <a:bodyPr/>
        <a:lstStyle/>
        <a:p>
          <a:endParaRPr lang="it-IT"/>
        </a:p>
      </dgm:t>
    </dgm:pt>
    <dgm:pt modelId="{1E3F53DD-2537-4C67-AA71-87081D444A81}" type="sibTrans" cxnId="{94A2B45D-2D69-4650-AFC3-C5574217F910}">
      <dgm:prSet/>
      <dgm:spPr/>
      <dgm:t>
        <a:bodyPr/>
        <a:lstStyle/>
        <a:p>
          <a:endParaRPr lang="it-IT"/>
        </a:p>
      </dgm:t>
    </dgm:pt>
    <dgm:pt modelId="{2F442204-E894-4EB6-A3FA-953074E6D5F9}">
      <dgm:prSet phldrT="[Testo]" custT="1"/>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sz="700" dirty="0"/>
            <a:t>Investimenti e Produzione</a:t>
          </a:r>
        </a:p>
        <a:p>
          <a:r>
            <a:rPr lang="it-IT" sz="700" dirty="0"/>
            <a:t>MP</a:t>
          </a:r>
        </a:p>
      </dgm:t>
    </dgm:pt>
    <dgm:pt modelId="{9E6A019B-6886-407A-A3BB-1A2A8D416818}" type="parTrans" cxnId="{6FD2AE64-BDEB-482D-ACF3-1D5403180A1E}">
      <dgm:prSet/>
      <dgm:spPr/>
      <dgm:t>
        <a:bodyPr/>
        <a:lstStyle/>
        <a:p>
          <a:endParaRPr lang="it-IT"/>
        </a:p>
      </dgm:t>
    </dgm:pt>
    <dgm:pt modelId="{07F51AA8-9070-4A56-AF24-8977CF9B6A80}" type="sibTrans" cxnId="{6FD2AE64-BDEB-482D-ACF3-1D5403180A1E}">
      <dgm:prSet/>
      <dgm:spPr/>
      <dgm:t>
        <a:bodyPr/>
        <a:lstStyle/>
        <a:p>
          <a:endParaRPr lang="it-IT"/>
        </a:p>
      </dgm:t>
    </dgm:pt>
    <dgm:pt modelId="{2D51EAF0-C497-40E9-996D-2D0BC40F318C}">
      <dgm:prSet phldrT="[Testo]"/>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Pagamenti</a:t>
          </a:r>
        </a:p>
      </dgm:t>
    </dgm:pt>
    <dgm:pt modelId="{43C509B8-DD3A-429A-ADC4-232D55259B3D}" type="parTrans" cxnId="{7BC9B318-E7A6-41F3-853C-1D1DFB2050EF}">
      <dgm:prSet/>
      <dgm:spPr/>
      <dgm:t>
        <a:bodyPr/>
        <a:lstStyle/>
        <a:p>
          <a:endParaRPr lang="it-IT"/>
        </a:p>
      </dgm:t>
    </dgm:pt>
    <dgm:pt modelId="{66A12237-9546-42D0-81C0-2C324670B743}" type="sibTrans" cxnId="{7BC9B318-E7A6-41F3-853C-1D1DFB2050EF}">
      <dgm:prSet/>
      <dgm:spPr/>
      <dgm:t>
        <a:bodyPr/>
        <a:lstStyle/>
        <a:p>
          <a:endParaRPr lang="it-IT"/>
        </a:p>
      </dgm:t>
    </dgm:pt>
    <dgm:pt modelId="{72FFD339-6A5F-4ED7-B529-6155AF8C35BB}">
      <dgm:prSet/>
      <dgm:spPr>
        <a:gradFill flip="none"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16200000" scaled="1"/>
          <a:tileRect/>
        </a:gradFill>
      </dgm:spPr>
      <dgm:t>
        <a:bodyPr/>
        <a:lstStyle/>
        <a:p>
          <a:r>
            <a:rPr lang="it-IT" dirty="0" err="1"/>
            <a:t>soc</a:t>
          </a:r>
          <a:endParaRPr lang="it-IT" dirty="0"/>
        </a:p>
      </dgm:t>
    </dgm:pt>
    <dgm:pt modelId="{ECFEA23F-DCCD-42C6-8706-10917CE3C2B0}" type="parTrans" cxnId="{C381E8F4-D0AE-4AD0-B8F1-4BDFF55901DE}">
      <dgm:prSet/>
      <dgm:spPr/>
      <dgm:t>
        <a:bodyPr/>
        <a:lstStyle/>
        <a:p>
          <a:endParaRPr lang="it-IT"/>
        </a:p>
      </dgm:t>
    </dgm:pt>
    <dgm:pt modelId="{A3B7292F-5113-4C29-982F-BC1D14C7BE90}" type="sibTrans" cxnId="{C381E8F4-D0AE-4AD0-B8F1-4BDFF55901DE}">
      <dgm:prSet/>
      <dgm:spPr/>
      <dgm:t>
        <a:bodyPr/>
        <a:lstStyle/>
        <a:p>
          <a:endParaRPr lang="it-IT"/>
        </a:p>
      </dgm:t>
    </dgm:pt>
    <dgm:pt modelId="{A07A8528-D240-4AAE-BA81-005F6AD457F1}">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Ispezione Opere D’arte</a:t>
          </a:r>
        </a:p>
      </dgm:t>
    </dgm:pt>
    <dgm:pt modelId="{3C15A388-1B3D-47E8-B2CB-E67F7E1AFFF1}" type="parTrans" cxnId="{C9F268FB-CB20-4E78-9CDC-F035D61B7E09}">
      <dgm:prSet/>
      <dgm:spPr/>
      <dgm:t>
        <a:bodyPr/>
        <a:lstStyle/>
        <a:p>
          <a:endParaRPr lang="it-IT"/>
        </a:p>
      </dgm:t>
    </dgm:pt>
    <dgm:pt modelId="{7D0C416E-0310-43FE-A0D6-735CD62199B6}" type="sibTrans" cxnId="{C9F268FB-CB20-4E78-9CDC-F035D61B7E09}">
      <dgm:prSet/>
      <dgm:spPr/>
      <dgm:t>
        <a:bodyPr/>
        <a:lstStyle/>
        <a:p>
          <a:endParaRPr lang="it-IT"/>
        </a:p>
      </dgm:t>
    </dgm:pt>
    <dgm:pt modelId="{56EC974B-4690-4A6A-B143-36A5A9DDDB75}">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Supporto Tecnico</a:t>
          </a:r>
        </a:p>
      </dgm:t>
    </dgm:pt>
    <dgm:pt modelId="{F24B2512-EFC3-4494-92F8-F4C2A580DD56}" type="parTrans" cxnId="{FE5FBCA8-5D6F-44E5-8DFA-D24300AECCE8}">
      <dgm:prSet/>
      <dgm:spPr/>
      <dgm:t>
        <a:bodyPr/>
        <a:lstStyle/>
        <a:p>
          <a:endParaRPr lang="it-IT"/>
        </a:p>
      </dgm:t>
    </dgm:pt>
    <dgm:pt modelId="{57612FAC-3D38-4A5A-9D54-8452999285F4}" type="sibTrans" cxnId="{FE5FBCA8-5D6F-44E5-8DFA-D24300AECCE8}">
      <dgm:prSet/>
      <dgm:spPr/>
      <dgm:t>
        <a:bodyPr/>
        <a:lstStyle/>
        <a:p>
          <a:endParaRPr lang="it-IT"/>
        </a:p>
      </dgm:t>
    </dgm:pt>
    <dgm:pt modelId="{5805825E-3BC3-4961-910E-96065463977D}">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Interventi Rilevanti</a:t>
          </a:r>
        </a:p>
      </dgm:t>
    </dgm:pt>
    <dgm:pt modelId="{263FA899-3C2D-4809-A47A-DB65911293C7}" type="parTrans" cxnId="{D6C89AE1-00A8-492D-888B-1E3DDC006D86}">
      <dgm:prSet/>
      <dgm:spPr/>
      <dgm:t>
        <a:bodyPr/>
        <a:lstStyle/>
        <a:p>
          <a:endParaRPr lang="it-IT"/>
        </a:p>
      </dgm:t>
    </dgm:pt>
    <dgm:pt modelId="{B58F1702-0059-4F53-9A60-77242457BBFA}" type="sibTrans" cxnId="{D6C89AE1-00A8-492D-888B-1E3DDC006D86}">
      <dgm:prSet/>
      <dgm:spPr/>
      <dgm:t>
        <a:bodyPr/>
        <a:lstStyle/>
        <a:p>
          <a:endParaRPr lang="it-IT"/>
        </a:p>
      </dgm:t>
    </dgm:pt>
    <dgm:pt modelId="{7A5D9CDD-E10F-422D-808B-815C691EF2E8}">
      <dgm:prSet phldrT="[Testo]" custT="1"/>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sz="700" dirty="0"/>
            <a:t>Investimenti e Produzione</a:t>
          </a:r>
        </a:p>
        <a:p>
          <a:r>
            <a:rPr lang="it-IT" sz="700" dirty="0"/>
            <a:t>NO</a:t>
          </a:r>
        </a:p>
      </dgm:t>
    </dgm:pt>
    <dgm:pt modelId="{089AE963-8402-4F38-908B-1CA814F78766}" type="parTrans" cxnId="{BEDD267B-EA80-4783-A782-86B96AAC5B03}">
      <dgm:prSet/>
      <dgm:spPr/>
      <dgm:t>
        <a:bodyPr/>
        <a:lstStyle/>
        <a:p>
          <a:endParaRPr lang="it-IT"/>
        </a:p>
      </dgm:t>
    </dgm:pt>
    <dgm:pt modelId="{63A1392B-D9B4-4604-ACED-CDD4B7E19D6E}" type="sibTrans" cxnId="{BEDD267B-EA80-4783-A782-86B96AAC5B03}">
      <dgm:prSet/>
      <dgm:spPr/>
      <dgm:t>
        <a:bodyPr/>
        <a:lstStyle/>
        <a:p>
          <a:endParaRPr lang="it-IT"/>
        </a:p>
      </dgm:t>
    </dgm:pt>
    <dgm:pt modelId="{2069E263-CA68-447A-859F-7068DC9AF2B6}" type="pres">
      <dgm:prSet presAssocID="{C782CD9B-2B4B-48D2-BF13-2B0D6056B78A}" presName="Name0" presStyleCnt="0">
        <dgm:presLayoutVars>
          <dgm:dir/>
          <dgm:animLvl val="lvl"/>
          <dgm:resizeHandles val="exact"/>
        </dgm:presLayoutVars>
      </dgm:prSet>
      <dgm:spPr/>
    </dgm:pt>
    <dgm:pt modelId="{F7031506-3856-48AD-BFC1-89D9660F7FF7}" type="pres">
      <dgm:prSet presAssocID="{DFCF748E-4FA2-4C04-B1DF-85DA1021BE5D}" presName="parTxOnly" presStyleLbl="node1" presStyleIdx="0" presStyleCnt="10">
        <dgm:presLayoutVars>
          <dgm:chMax val="0"/>
          <dgm:chPref val="0"/>
          <dgm:bulletEnabled val="1"/>
        </dgm:presLayoutVars>
      </dgm:prSet>
      <dgm:spPr/>
    </dgm:pt>
    <dgm:pt modelId="{420EBE6C-A91F-49B7-AF4C-29A127D6266A}" type="pres">
      <dgm:prSet presAssocID="{A0ED7260-8442-4FBF-80B4-500E49A4F3AF}" presName="parTxOnlySpace" presStyleCnt="0"/>
      <dgm:spPr/>
    </dgm:pt>
    <dgm:pt modelId="{6C62160D-9EC9-4B84-8EFD-9C3E10FC055A}" type="pres">
      <dgm:prSet presAssocID="{B754C885-66E5-4615-BD33-B6EE917A035D}" presName="parTxOnly" presStyleLbl="node1" presStyleIdx="1" presStyleCnt="10">
        <dgm:presLayoutVars>
          <dgm:chMax val="0"/>
          <dgm:chPref val="0"/>
          <dgm:bulletEnabled val="1"/>
        </dgm:presLayoutVars>
      </dgm:prSet>
      <dgm:spPr/>
    </dgm:pt>
    <dgm:pt modelId="{6415A264-B3C7-41A6-9BA0-D0AD6AE1DACB}" type="pres">
      <dgm:prSet presAssocID="{79AAED35-18A8-4347-A2B8-6AAE8B34BA56}" presName="parTxOnlySpace" presStyleCnt="0"/>
      <dgm:spPr/>
    </dgm:pt>
    <dgm:pt modelId="{636F50A3-8EFE-4C08-B6BE-284B03274F0B}" type="pres">
      <dgm:prSet presAssocID="{72FFD339-6A5F-4ED7-B529-6155AF8C35BB}" presName="parTxOnly" presStyleLbl="node1" presStyleIdx="2" presStyleCnt="10">
        <dgm:presLayoutVars>
          <dgm:chMax val="0"/>
          <dgm:chPref val="0"/>
          <dgm:bulletEnabled val="1"/>
        </dgm:presLayoutVars>
      </dgm:prSet>
      <dgm:spPr/>
    </dgm:pt>
    <dgm:pt modelId="{B0C5D3FB-8180-4CC6-9F14-5042E96FD8E3}" type="pres">
      <dgm:prSet presAssocID="{A3B7292F-5113-4C29-982F-BC1D14C7BE90}" presName="parTxOnlySpace" presStyleCnt="0"/>
      <dgm:spPr/>
    </dgm:pt>
    <dgm:pt modelId="{6BB9B9CD-B911-4E33-8045-BE6A8D7C5B89}" type="pres">
      <dgm:prSet presAssocID="{9225496C-39D8-4F53-8BB5-1B069B40EB3E}" presName="parTxOnly" presStyleLbl="node1" presStyleIdx="3" presStyleCnt="10">
        <dgm:presLayoutVars>
          <dgm:chMax val="0"/>
          <dgm:chPref val="0"/>
          <dgm:bulletEnabled val="1"/>
        </dgm:presLayoutVars>
      </dgm:prSet>
      <dgm:spPr/>
    </dgm:pt>
    <dgm:pt modelId="{60B2C4AD-8A0D-4CB2-93A9-16C6C0E4BD5B}" type="pres">
      <dgm:prSet presAssocID="{1E3F53DD-2537-4C67-AA71-87081D444A81}" presName="parTxOnlySpace" presStyleCnt="0"/>
      <dgm:spPr/>
    </dgm:pt>
    <dgm:pt modelId="{A29D7AF6-34C9-459D-B160-0F8E7686BA2B}" type="pres">
      <dgm:prSet presAssocID="{2F442204-E894-4EB6-A3FA-953074E6D5F9}" presName="parTxOnly" presStyleLbl="node1" presStyleIdx="4" presStyleCnt="10">
        <dgm:presLayoutVars>
          <dgm:chMax val="0"/>
          <dgm:chPref val="0"/>
          <dgm:bulletEnabled val="1"/>
        </dgm:presLayoutVars>
      </dgm:prSet>
      <dgm:spPr/>
    </dgm:pt>
    <dgm:pt modelId="{7004503D-9639-442B-9C04-FB1247092C40}" type="pres">
      <dgm:prSet presAssocID="{07F51AA8-9070-4A56-AF24-8977CF9B6A80}" presName="parTxOnlySpace" presStyleCnt="0"/>
      <dgm:spPr/>
    </dgm:pt>
    <dgm:pt modelId="{A2199658-E72A-4294-AFD3-6892981EEB12}" type="pres">
      <dgm:prSet presAssocID="{7A5D9CDD-E10F-422D-808B-815C691EF2E8}" presName="parTxOnly" presStyleLbl="node1" presStyleIdx="5" presStyleCnt="10">
        <dgm:presLayoutVars>
          <dgm:chMax val="0"/>
          <dgm:chPref val="0"/>
          <dgm:bulletEnabled val="1"/>
        </dgm:presLayoutVars>
      </dgm:prSet>
      <dgm:spPr/>
    </dgm:pt>
    <dgm:pt modelId="{9B5C0F41-E4E2-4A3A-AA73-E3E4EB6ACD5E}" type="pres">
      <dgm:prSet presAssocID="{63A1392B-D9B4-4604-ACED-CDD4B7E19D6E}" presName="parTxOnlySpace" presStyleCnt="0"/>
      <dgm:spPr/>
    </dgm:pt>
    <dgm:pt modelId="{F9C55CAF-C1A3-4EFD-AD93-3CBF7E30E2FA}" type="pres">
      <dgm:prSet presAssocID="{56EC974B-4690-4A6A-B143-36A5A9DDDB75}" presName="parTxOnly" presStyleLbl="node1" presStyleIdx="6" presStyleCnt="10">
        <dgm:presLayoutVars>
          <dgm:chMax val="0"/>
          <dgm:chPref val="0"/>
          <dgm:bulletEnabled val="1"/>
        </dgm:presLayoutVars>
      </dgm:prSet>
      <dgm:spPr/>
    </dgm:pt>
    <dgm:pt modelId="{DDB26EDE-11AF-40B7-9C16-348181381393}" type="pres">
      <dgm:prSet presAssocID="{57612FAC-3D38-4A5A-9D54-8452999285F4}" presName="parTxOnlySpace" presStyleCnt="0"/>
      <dgm:spPr/>
    </dgm:pt>
    <dgm:pt modelId="{8CED6B9D-804A-4009-A04D-D699125D11F0}" type="pres">
      <dgm:prSet presAssocID="{A07A8528-D240-4AAE-BA81-005F6AD457F1}" presName="parTxOnly" presStyleLbl="node1" presStyleIdx="7" presStyleCnt="10">
        <dgm:presLayoutVars>
          <dgm:chMax val="0"/>
          <dgm:chPref val="0"/>
          <dgm:bulletEnabled val="1"/>
        </dgm:presLayoutVars>
      </dgm:prSet>
      <dgm:spPr/>
    </dgm:pt>
    <dgm:pt modelId="{C3D8151F-F75F-49EC-B6A3-4B15A8912918}" type="pres">
      <dgm:prSet presAssocID="{7D0C416E-0310-43FE-A0D6-735CD62199B6}" presName="parTxOnlySpace" presStyleCnt="0"/>
      <dgm:spPr/>
    </dgm:pt>
    <dgm:pt modelId="{0A5AB2D9-0A33-47A4-83C2-3990E2018CD9}" type="pres">
      <dgm:prSet presAssocID="{5805825E-3BC3-4961-910E-96065463977D}" presName="parTxOnly" presStyleLbl="node1" presStyleIdx="8" presStyleCnt="10">
        <dgm:presLayoutVars>
          <dgm:chMax val="0"/>
          <dgm:chPref val="0"/>
          <dgm:bulletEnabled val="1"/>
        </dgm:presLayoutVars>
      </dgm:prSet>
      <dgm:spPr/>
    </dgm:pt>
    <dgm:pt modelId="{5FE5E96A-0031-41D2-A1BE-2634D143793A}" type="pres">
      <dgm:prSet presAssocID="{B58F1702-0059-4F53-9A60-77242457BBFA}" presName="parTxOnlySpace" presStyleCnt="0"/>
      <dgm:spPr/>
    </dgm:pt>
    <dgm:pt modelId="{F2510710-7BA2-44B7-8AA7-1347717B483B}" type="pres">
      <dgm:prSet presAssocID="{2D51EAF0-C497-40E9-996D-2D0BC40F318C}" presName="parTxOnly" presStyleLbl="node1" presStyleIdx="9" presStyleCnt="10">
        <dgm:presLayoutVars>
          <dgm:chMax val="0"/>
          <dgm:chPref val="0"/>
          <dgm:bulletEnabled val="1"/>
        </dgm:presLayoutVars>
      </dgm:prSet>
      <dgm:spPr/>
    </dgm:pt>
  </dgm:ptLst>
  <dgm:cxnLst>
    <dgm:cxn modelId="{F8EA3703-CEE5-4162-AB46-CFFF8AC28B48}" srcId="{C782CD9B-2B4B-48D2-BF13-2B0D6056B78A}" destId="{B754C885-66E5-4615-BD33-B6EE917A035D}" srcOrd="1" destOrd="0" parTransId="{65812F9F-DD0E-4752-BF8B-D07282594751}" sibTransId="{79AAED35-18A8-4347-A2B8-6AAE8B34BA56}"/>
    <dgm:cxn modelId="{E0D08C09-4332-4F70-B25D-3646A02E20A4}" type="presOf" srcId="{B754C885-66E5-4615-BD33-B6EE917A035D}" destId="{6C62160D-9EC9-4B84-8EFD-9C3E10FC055A}" srcOrd="0" destOrd="0" presId="urn:microsoft.com/office/officeart/2005/8/layout/chevron1"/>
    <dgm:cxn modelId="{7BC9B318-E7A6-41F3-853C-1D1DFB2050EF}" srcId="{C782CD9B-2B4B-48D2-BF13-2B0D6056B78A}" destId="{2D51EAF0-C497-40E9-996D-2D0BC40F318C}" srcOrd="9" destOrd="0" parTransId="{43C509B8-DD3A-429A-ADC4-232D55259B3D}" sibTransId="{66A12237-9546-42D0-81C0-2C324670B743}"/>
    <dgm:cxn modelId="{DF33B937-6D50-4384-9050-64A41F7F26F7}" type="presOf" srcId="{56EC974B-4690-4A6A-B143-36A5A9DDDB75}" destId="{F9C55CAF-C1A3-4EFD-AD93-3CBF7E30E2FA}" srcOrd="0" destOrd="0" presId="urn:microsoft.com/office/officeart/2005/8/layout/chevron1"/>
    <dgm:cxn modelId="{94A2B45D-2D69-4650-AFC3-C5574217F910}" srcId="{C782CD9B-2B4B-48D2-BF13-2B0D6056B78A}" destId="{9225496C-39D8-4F53-8BB5-1B069B40EB3E}" srcOrd="3" destOrd="0" parTransId="{D3A21DFB-000A-4FCE-9E9D-8516EBA4DD45}" sibTransId="{1E3F53DD-2537-4C67-AA71-87081D444A81}"/>
    <dgm:cxn modelId="{6FD2AE64-BDEB-482D-ACF3-1D5403180A1E}" srcId="{C782CD9B-2B4B-48D2-BF13-2B0D6056B78A}" destId="{2F442204-E894-4EB6-A3FA-953074E6D5F9}" srcOrd="4" destOrd="0" parTransId="{9E6A019B-6886-407A-A3BB-1A2A8D416818}" sibTransId="{07F51AA8-9070-4A56-AF24-8977CF9B6A80}"/>
    <dgm:cxn modelId="{27B84A45-D2B5-479A-A86B-A0361712BD9A}" type="presOf" srcId="{9225496C-39D8-4F53-8BB5-1B069B40EB3E}" destId="{6BB9B9CD-B911-4E33-8045-BE6A8D7C5B89}" srcOrd="0" destOrd="0" presId="urn:microsoft.com/office/officeart/2005/8/layout/chevron1"/>
    <dgm:cxn modelId="{83D3624A-94B6-4EE6-8440-D5EF9C8CB4A7}" type="presOf" srcId="{72FFD339-6A5F-4ED7-B529-6155AF8C35BB}" destId="{636F50A3-8EFE-4C08-B6BE-284B03274F0B}" srcOrd="0" destOrd="0" presId="urn:microsoft.com/office/officeart/2005/8/layout/chevron1"/>
    <dgm:cxn modelId="{B7A88854-346C-4423-A65D-C8019C180885}" type="presOf" srcId="{C782CD9B-2B4B-48D2-BF13-2B0D6056B78A}" destId="{2069E263-CA68-447A-859F-7068DC9AF2B6}" srcOrd="0" destOrd="0" presId="urn:microsoft.com/office/officeart/2005/8/layout/chevron1"/>
    <dgm:cxn modelId="{BEDD267B-EA80-4783-A782-86B96AAC5B03}" srcId="{C782CD9B-2B4B-48D2-BF13-2B0D6056B78A}" destId="{7A5D9CDD-E10F-422D-808B-815C691EF2E8}" srcOrd="5" destOrd="0" parTransId="{089AE963-8402-4F38-908B-1CA814F78766}" sibTransId="{63A1392B-D9B4-4604-ACED-CDD4B7E19D6E}"/>
    <dgm:cxn modelId="{E45C187E-7860-4514-BA8C-79B56C2E6FD6}" type="presOf" srcId="{DFCF748E-4FA2-4C04-B1DF-85DA1021BE5D}" destId="{F7031506-3856-48AD-BFC1-89D9660F7FF7}" srcOrd="0" destOrd="0" presId="urn:microsoft.com/office/officeart/2005/8/layout/chevron1"/>
    <dgm:cxn modelId="{92751D9D-02E3-45C2-978C-737085227C42}" srcId="{C782CD9B-2B4B-48D2-BF13-2B0D6056B78A}" destId="{DFCF748E-4FA2-4C04-B1DF-85DA1021BE5D}" srcOrd="0" destOrd="0" parTransId="{7DAF1956-B700-4203-9672-92E4451DCC31}" sibTransId="{A0ED7260-8442-4FBF-80B4-500E49A4F3AF}"/>
    <dgm:cxn modelId="{FE5FBCA8-5D6F-44E5-8DFA-D24300AECCE8}" srcId="{C782CD9B-2B4B-48D2-BF13-2B0D6056B78A}" destId="{56EC974B-4690-4A6A-B143-36A5A9DDDB75}" srcOrd="6" destOrd="0" parTransId="{F24B2512-EFC3-4494-92F8-F4C2A580DD56}" sibTransId="{57612FAC-3D38-4A5A-9D54-8452999285F4}"/>
    <dgm:cxn modelId="{18BC46AE-1E85-4844-9C4B-CFAFC0E52FEE}" type="presOf" srcId="{7A5D9CDD-E10F-422D-808B-815C691EF2E8}" destId="{A2199658-E72A-4294-AFD3-6892981EEB12}" srcOrd="0" destOrd="0" presId="urn:microsoft.com/office/officeart/2005/8/layout/chevron1"/>
    <dgm:cxn modelId="{3C2A4AB0-1669-4104-B324-5F1691EA2E2C}" type="presOf" srcId="{5805825E-3BC3-4961-910E-96065463977D}" destId="{0A5AB2D9-0A33-47A4-83C2-3990E2018CD9}" srcOrd="0" destOrd="0" presId="urn:microsoft.com/office/officeart/2005/8/layout/chevron1"/>
    <dgm:cxn modelId="{482DE5C6-A666-43A6-ADD8-F440B2358BF5}" type="presOf" srcId="{2F442204-E894-4EB6-A3FA-953074E6D5F9}" destId="{A29D7AF6-34C9-459D-B160-0F8E7686BA2B}" srcOrd="0" destOrd="0" presId="urn:microsoft.com/office/officeart/2005/8/layout/chevron1"/>
    <dgm:cxn modelId="{D6C89AE1-00A8-492D-888B-1E3DDC006D86}" srcId="{C782CD9B-2B4B-48D2-BF13-2B0D6056B78A}" destId="{5805825E-3BC3-4961-910E-96065463977D}" srcOrd="8" destOrd="0" parTransId="{263FA899-3C2D-4809-A47A-DB65911293C7}" sibTransId="{B58F1702-0059-4F53-9A60-77242457BBFA}"/>
    <dgm:cxn modelId="{D0C07CEF-E2EA-4F56-973D-DFAA76DF0562}" type="presOf" srcId="{A07A8528-D240-4AAE-BA81-005F6AD457F1}" destId="{8CED6B9D-804A-4009-A04D-D699125D11F0}" srcOrd="0" destOrd="0" presId="urn:microsoft.com/office/officeart/2005/8/layout/chevron1"/>
    <dgm:cxn modelId="{C381E8F4-D0AE-4AD0-B8F1-4BDFF55901DE}" srcId="{C782CD9B-2B4B-48D2-BF13-2B0D6056B78A}" destId="{72FFD339-6A5F-4ED7-B529-6155AF8C35BB}" srcOrd="2" destOrd="0" parTransId="{ECFEA23F-DCCD-42C6-8706-10917CE3C2B0}" sibTransId="{A3B7292F-5113-4C29-982F-BC1D14C7BE90}"/>
    <dgm:cxn modelId="{C9F268FB-CB20-4E78-9CDC-F035D61B7E09}" srcId="{C782CD9B-2B4B-48D2-BF13-2B0D6056B78A}" destId="{A07A8528-D240-4AAE-BA81-005F6AD457F1}" srcOrd="7" destOrd="0" parTransId="{3C15A388-1B3D-47E8-B2CB-E67F7E1AFFF1}" sibTransId="{7D0C416E-0310-43FE-A0D6-735CD62199B6}"/>
    <dgm:cxn modelId="{F5582FFE-2024-48F4-9A5D-F90C79CEB4B1}" type="presOf" srcId="{2D51EAF0-C497-40E9-996D-2D0BC40F318C}" destId="{F2510710-7BA2-44B7-8AA7-1347717B483B}" srcOrd="0" destOrd="0" presId="urn:microsoft.com/office/officeart/2005/8/layout/chevron1"/>
    <dgm:cxn modelId="{D6E2C4DA-A340-4AA6-9B43-07E33212A2F6}" type="presParOf" srcId="{2069E263-CA68-447A-859F-7068DC9AF2B6}" destId="{F7031506-3856-48AD-BFC1-89D9660F7FF7}" srcOrd="0" destOrd="0" presId="urn:microsoft.com/office/officeart/2005/8/layout/chevron1"/>
    <dgm:cxn modelId="{54463C07-39E3-4FA4-8F1A-5988EBEE3CCB}" type="presParOf" srcId="{2069E263-CA68-447A-859F-7068DC9AF2B6}" destId="{420EBE6C-A91F-49B7-AF4C-29A127D6266A}" srcOrd="1" destOrd="0" presId="urn:microsoft.com/office/officeart/2005/8/layout/chevron1"/>
    <dgm:cxn modelId="{27FD5D51-0192-4A74-8A0E-3625E2B81DA4}" type="presParOf" srcId="{2069E263-CA68-447A-859F-7068DC9AF2B6}" destId="{6C62160D-9EC9-4B84-8EFD-9C3E10FC055A}" srcOrd="2" destOrd="0" presId="urn:microsoft.com/office/officeart/2005/8/layout/chevron1"/>
    <dgm:cxn modelId="{E3F5108F-B027-496A-B824-082ADF19589A}" type="presParOf" srcId="{2069E263-CA68-447A-859F-7068DC9AF2B6}" destId="{6415A264-B3C7-41A6-9BA0-D0AD6AE1DACB}" srcOrd="3" destOrd="0" presId="urn:microsoft.com/office/officeart/2005/8/layout/chevron1"/>
    <dgm:cxn modelId="{F1C4CCFD-1B12-4A93-8FAF-28D68C203D62}" type="presParOf" srcId="{2069E263-CA68-447A-859F-7068DC9AF2B6}" destId="{636F50A3-8EFE-4C08-B6BE-284B03274F0B}" srcOrd="4" destOrd="0" presId="urn:microsoft.com/office/officeart/2005/8/layout/chevron1"/>
    <dgm:cxn modelId="{D4D42F9F-ED71-49AF-AB32-407AD8E32CA6}" type="presParOf" srcId="{2069E263-CA68-447A-859F-7068DC9AF2B6}" destId="{B0C5D3FB-8180-4CC6-9F14-5042E96FD8E3}" srcOrd="5" destOrd="0" presId="urn:microsoft.com/office/officeart/2005/8/layout/chevron1"/>
    <dgm:cxn modelId="{87D3D7A5-C3FB-4EED-99A4-157E811B5895}" type="presParOf" srcId="{2069E263-CA68-447A-859F-7068DC9AF2B6}" destId="{6BB9B9CD-B911-4E33-8045-BE6A8D7C5B89}" srcOrd="6" destOrd="0" presId="urn:microsoft.com/office/officeart/2005/8/layout/chevron1"/>
    <dgm:cxn modelId="{3AF0352B-740F-4448-BB6B-034FED7EC184}" type="presParOf" srcId="{2069E263-CA68-447A-859F-7068DC9AF2B6}" destId="{60B2C4AD-8A0D-4CB2-93A9-16C6C0E4BD5B}" srcOrd="7" destOrd="0" presId="urn:microsoft.com/office/officeart/2005/8/layout/chevron1"/>
    <dgm:cxn modelId="{6703F1AB-CFA7-46B5-8F90-8DE0A638522B}" type="presParOf" srcId="{2069E263-CA68-447A-859F-7068DC9AF2B6}" destId="{A29D7AF6-34C9-459D-B160-0F8E7686BA2B}" srcOrd="8" destOrd="0" presId="urn:microsoft.com/office/officeart/2005/8/layout/chevron1"/>
    <dgm:cxn modelId="{B2A9B073-CF38-4A79-94A2-54CC6CA82AEE}" type="presParOf" srcId="{2069E263-CA68-447A-859F-7068DC9AF2B6}" destId="{7004503D-9639-442B-9C04-FB1247092C40}" srcOrd="9" destOrd="0" presId="urn:microsoft.com/office/officeart/2005/8/layout/chevron1"/>
    <dgm:cxn modelId="{D9646014-1660-49A8-A4CF-BD49D5D01896}" type="presParOf" srcId="{2069E263-CA68-447A-859F-7068DC9AF2B6}" destId="{A2199658-E72A-4294-AFD3-6892981EEB12}" srcOrd="10" destOrd="0" presId="urn:microsoft.com/office/officeart/2005/8/layout/chevron1"/>
    <dgm:cxn modelId="{31EFD178-B311-44BD-B14D-A3F794AA2871}" type="presParOf" srcId="{2069E263-CA68-447A-859F-7068DC9AF2B6}" destId="{9B5C0F41-E4E2-4A3A-AA73-E3E4EB6ACD5E}" srcOrd="11" destOrd="0" presId="urn:microsoft.com/office/officeart/2005/8/layout/chevron1"/>
    <dgm:cxn modelId="{10A3E582-0A47-4A96-B278-23CFE54D27BC}" type="presParOf" srcId="{2069E263-CA68-447A-859F-7068DC9AF2B6}" destId="{F9C55CAF-C1A3-4EFD-AD93-3CBF7E30E2FA}" srcOrd="12" destOrd="0" presId="urn:microsoft.com/office/officeart/2005/8/layout/chevron1"/>
    <dgm:cxn modelId="{37EFF1BD-06F6-42C4-87A2-0F0B4EE05FEB}" type="presParOf" srcId="{2069E263-CA68-447A-859F-7068DC9AF2B6}" destId="{DDB26EDE-11AF-40B7-9C16-348181381393}" srcOrd="13" destOrd="0" presId="urn:microsoft.com/office/officeart/2005/8/layout/chevron1"/>
    <dgm:cxn modelId="{E9E22AD4-6B98-48FF-8827-4CD403DC7E26}" type="presParOf" srcId="{2069E263-CA68-447A-859F-7068DC9AF2B6}" destId="{8CED6B9D-804A-4009-A04D-D699125D11F0}" srcOrd="14" destOrd="0" presId="urn:microsoft.com/office/officeart/2005/8/layout/chevron1"/>
    <dgm:cxn modelId="{033DE3E4-FCBD-4179-AF81-522C4E5F833B}" type="presParOf" srcId="{2069E263-CA68-447A-859F-7068DC9AF2B6}" destId="{C3D8151F-F75F-49EC-B6A3-4B15A8912918}" srcOrd="15" destOrd="0" presId="urn:microsoft.com/office/officeart/2005/8/layout/chevron1"/>
    <dgm:cxn modelId="{C0F8CD65-5B75-42C1-8864-D5D693C828F1}" type="presParOf" srcId="{2069E263-CA68-447A-859F-7068DC9AF2B6}" destId="{0A5AB2D9-0A33-47A4-83C2-3990E2018CD9}" srcOrd="16" destOrd="0" presId="urn:microsoft.com/office/officeart/2005/8/layout/chevron1"/>
    <dgm:cxn modelId="{FD64FCD2-FF54-470B-B831-7B0AF97CFEF0}" type="presParOf" srcId="{2069E263-CA68-447A-859F-7068DC9AF2B6}" destId="{5FE5E96A-0031-41D2-A1BE-2634D143793A}" srcOrd="17" destOrd="0" presId="urn:microsoft.com/office/officeart/2005/8/layout/chevron1"/>
    <dgm:cxn modelId="{59AB3C89-328F-4D94-86A3-0EBACBFFD3D9}" type="presParOf" srcId="{2069E263-CA68-447A-859F-7068DC9AF2B6}" destId="{F2510710-7BA2-44B7-8AA7-1347717B483B}" srcOrd="18" destOrd="0" presId="urn:microsoft.com/office/officeart/2005/8/layout/chevro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C782CD9B-2B4B-48D2-BF13-2B0D6056B78A}"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it-IT"/>
        </a:p>
      </dgm:t>
    </dgm:pt>
    <dgm:pt modelId="{DFCF748E-4FA2-4C04-B1DF-85DA1021BE5D}">
      <dgm:prSet phldrT="[Testo]"/>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Rete viaria complessiva</a:t>
          </a:r>
        </a:p>
      </dgm:t>
    </dgm:pt>
    <dgm:pt modelId="{7DAF1956-B700-4203-9672-92E4451DCC31}" type="parTrans" cxnId="{92751D9D-02E3-45C2-978C-737085227C42}">
      <dgm:prSet/>
      <dgm:spPr/>
      <dgm:t>
        <a:bodyPr/>
        <a:lstStyle/>
        <a:p>
          <a:endParaRPr lang="it-IT"/>
        </a:p>
      </dgm:t>
    </dgm:pt>
    <dgm:pt modelId="{A0ED7260-8442-4FBF-80B4-500E49A4F3AF}" type="sibTrans" cxnId="{92751D9D-02E3-45C2-978C-737085227C42}">
      <dgm:prSet/>
      <dgm:spPr/>
      <dgm:t>
        <a:bodyPr/>
        <a:lstStyle/>
        <a:p>
          <a:endParaRPr lang="it-IT"/>
        </a:p>
      </dgm:t>
    </dgm:pt>
    <dgm:pt modelId="{B754C885-66E5-4615-BD33-B6EE917A035D}">
      <dgm:prSet phldrT="[Testo]"/>
      <dgm:spPr>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dgm:spPr>
      <dgm:t>
        <a:bodyPr/>
        <a:lstStyle/>
        <a:p>
          <a:r>
            <a:rPr lang="it-IT" dirty="0"/>
            <a:t>Risorse</a:t>
          </a:r>
        </a:p>
      </dgm:t>
    </dgm:pt>
    <dgm:pt modelId="{65812F9F-DD0E-4752-BF8B-D07282594751}" type="parTrans" cxnId="{F8EA3703-CEE5-4162-AB46-CFFF8AC28B48}">
      <dgm:prSet/>
      <dgm:spPr/>
      <dgm:t>
        <a:bodyPr/>
        <a:lstStyle/>
        <a:p>
          <a:endParaRPr lang="it-IT"/>
        </a:p>
      </dgm:t>
    </dgm:pt>
    <dgm:pt modelId="{79AAED35-18A8-4347-A2B8-6AAE8B34BA56}" type="sibTrans" cxnId="{F8EA3703-CEE5-4162-AB46-CFFF8AC28B48}">
      <dgm:prSet/>
      <dgm:spPr/>
      <dgm:t>
        <a:bodyPr/>
        <a:lstStyle/>
        <a:p>
          <a:endParaRPr lang="it-IT"/>
        </a:p>
      </dgm:t>
    </dgm:pt>
    <dgm:pt modelId="{9225496C-39D8-4F53-8BB5-1B069B40EB3E}">
      <dgm:prSet phldrT="[Testo]"/>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Affidamenti</a:t>
          </a:r>
        </a:p>
      </dgm:t>
    </dgm:pt>
    <dgm:pt modelId="{D3A21DFB-000A-4FCE-9E9D-8516EBA4DD45}" type="parTrans" cxnId="{94A2B45D-2D69-4650-AFC3-C5574217F910}">
      <dgm:prSet/>
      <dgm:spPr/>
      <dgm:t>
        <a:bodyPr/>
        <a:lstStyle/>
        <a:p>
          <a:endParaRPr lang="it-IT"/>
        </a:p>
      </dgm:t>
    </dgm:pt>
    <dgm:pt modelId="{1E3F53DD-2537-4C67-AA71-87081D444A81}" type="sibTrans" cxnId="{94A2B45D-2D69-4650-AFC3-C5574217F910}">
      <dgm:prSet/>
      <dgm:spPr/>
      <dgm:t>
        <a:bodyPr/>
        <a:lstStyle/>
        <a:p>
          <a:endParaRPr lang="it-IT"/>
        </a:p>
      </dgm:t>
    </dgm:pt>
    <dgm:pt modelId="{2F442204-E894-4EB6-A3FA-953074E6D5F9}">
      <dgm:prSet phldrT="[Testo]" custT="1"/>
      <dgm:spPr>
        <a:solidFill>
          <a:schemeClr val="tx2"/>
        </a:solidFill>
      </dgm:spPr>
      <dgm:t>
        <a:bodyPr/>
        <a:lstStyle/>
        <a:p>
          <a:r>
            <a:rPr lang="it-IT" sz="700" dirty="0"/>
            <a:t>Investimenti e Produzione</a:t>
          </a:r>
        </a:p>
        <a:p>
          <a:r>
            <a:rPr lang="it-IT" sz="700" dirty="0"/>
            <a:t>MP</a:t>
          </a:r>
        </a:p>
      </dgm:t>
    </dgm:pt>
    <dgm:pt modelId="{9E6A019B-6886-407A-A3BB-1A2A8D416818}" type="parTrans" cxnId="{6FD2AE64-BDEB-482D-ACF3-1D5403180A1E}">
      <dgm:prSet/>
      <dgm:spPr/>
      <dgm:t>
        <a:bodyPr/>
        <a:lstStyle/>
        <a:p>
          <a:endParaRPr lang="it-IT"/>
        </a:p>
      </dgm:t>
    </dgm:pt>
    <dgm:pt modelId="{07F51AA8-9070-4A56-AF24-8977CF9B6A80}" type="sibTrans" cxnId="{6FD2AE64-BDEB-482D-ACF3-1D5403180A1E}">
      <dgm:prSet/>
      <dgm:spPr/>
      <dgm:t>
        <a:bodyPr/>
        <a:lstStyle/>
        <a:p>
          <a:endParaRPr lang="it-IT"/>
        </a:p>
      </dgm:t>
    </dgm:pt>
    <dgm:pt modelId="{2D51EAF0-C497-40E9-996D-2D0BC40F318C}">
      <dgm:prSet phldrT="[Testo]"/>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Pagamenti</a:t>
          </a:r>
        </a:p>
      </dgm:t>
    </dgm:pt>
    <dgm:pt modelId="{43C509B8-DD3A-429A-ADC4-232D55259B3D}" type="parTrans" cxnId="{7BC9B318-E7A6-41F3-853C-1D1DFB2050EF}">
      <dgm:prSet/>
      <dgm:spPr/>
      <dgm:t>
        <a:bodyPr/>
        <a:lstStyle/>
        <a:p>
          <a:endParaRPr lang="it-IT"/>
        </a:p>
      </dgm:t>
    </dgm:pt>
    <dgm:pt modelId="{66A12237-9546-42D0-81C0-2C324670B743}" type="sibTrans" cxnId="{7BC9B318-E7A6-41F3-853C-1D1DFB2050EF}">
      <dgm:prSet/>
      <dgm:spPr/>
      <dgm:t>
        <a:bodyPr/>
        <a:lstStyle/>
        <a:p>
          <a:endParaRPr lang="it-IT"/>
        </a:p>
      </dgm:t>
    </dgm:pt>
    <dgm:pt modelId="{72FFD339-6A5F-4ED7-B529-6155AF8C35BB}">
      <dgm:prSet/>
      <dgm:spPr>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dgm:spPr>
      <dgm:t>
        <a:bodyPr/>
        <a:lstStyle/>
        <a:p>
          <a:r>
            <a:rPr lang="it-IT" dirty="0" err="1"/>
            <a:t>soc</a:t>
          </a:r>
          <a:endParaRPr lang="it-IT" dirty="0"/>
        </a:p>
      </dgm:t>
    </dgm:pt>
    <dgm:pt modelId="{ECFEA23F-DCCD-42C6-8706-10917CE3C2B0}" type="parTrans" cxnId="{C381E8F4-D0AE-4AD0-B8F1-4BDFF55901DE}">
      <dgm:prSet/>
      <dgm:spPr/>
      <dgm:t>
        <a:bodyPr/>
        <a:lstStyle/>
        <a:p>
          <a:endParaRPr lang="it-IT"/>
        </a:p>
      </dgm:t>
    </dgm:pt>
    <dgm:pt modelId="{A3B7292F-5113-4C29-982F-BC1D14C7BE90}" type="sibTrans" cxnId="{C381E8F4-D0AE-4AD0-B8F1-4BDFF55901DE}">
      <dgm:prSet/>
      <dgm:spPr/>
      <dgm:t>
        <a:bodyPr/>
        <a:lstStyle/>
        <a:p>
          <a:endParaRPr lang="it-IT"/>
        </a:p>
      </dgm:t>
    </dgm:pt>
    <dgm:pt modelId="{A07A8528-D240-4AAE-BA81-005F6AD457F1}">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Ispezione Opere D’arte</a:t>
          </a:r>
        </a:p>
      </dgm:t>
    </dgm:pt>
    <dgm:pt modelId="{3C15A388-1B3D-47E8-B2CB-E67F7E1AFFF1}" type="parTrans" cxnId="{C9F268FB-CB20-4E78-9CDC-F035D61B7E09}">
      <dgm:prSet/>
      <dgm:spPr/>
      <dgm:t>
        <a:bodyPr/>
        <a:lstStyle/>
        <a:p>
          <a:endParaRPr lang="it-IT"/>
        </a:p>
      </dgm:t>
    </dgm:pt>
    <dgm:pt modelId="{7D0C416E-0310-43FE-A0D6-735CD62199B6}" type="sibTrans" cxnId="{C9F268FB-CB20-4E78-9CDC-F035D61B7E09}">
      <dgm:prSet/>
      <dgm:spPr/>
      <dgm:t>
        <a:bodyPr/>
        <a:lstStyle/>
        <a:p>
          <a:endParaRPr lang="it-IT"/>
        </a:p>
      </dgm:t>
    </dgm:pt>
    <dgm:pt modelId="{56EC974B-4690-4A6A-B143-36A5A9DDDB75}">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Supporto Tecnico</a:t>
          </a:r>
        </a:p>
      </dgm:t>
    </dgm:pt>
    <dgm:pt modelId="{F24B2512-EFC3-4494-92F8-F4C2A580DD56}" type="parTrans" cxnId="{FE5FBCA8-5D6F-44E5-8DFA-D24300AECCE8}">
      <dgm:prSet/>
      <dgm:spPr/>
      <dgm:t>
        <a:bodyPr/>
        <a:lstStyle/>
        <a:p>
          <a:endParaRPr lang="it-IT"/>
        </a:p>
      </dgm:t>
    </dgm:pt>
    <dgm:pt modelId="{57612FAC-3D38-4A5A-9D54-8452999285F4}" type="sibTrans" cxnId="{FE5FBCA8-5D6F-44E5-8DFA-D24300AECCE8}">
      <dgm:prSet/>
      <dgm:spPr/>
      <dgm:t>
        <a:bodyPr/>
        <a:lstStyle/>
        <a:p>
          <a:endParaRPr lang="it-IT"/>
        </a:p>
      </dgm:t>
    </dgm:pt>
    <dgm:pt modelId="{5805825E-3BC3-4961-910E-96065463977D}">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Interventi Rilevanti</a:t>
          </a:r>
        </a:p>
      </dgm:t>
    </dgm:pt>
    <dgm:pt modelId="{263FA899-3C2D-4809-A47A-DB65911293C7}" type="parTrans" cxnId="{D6C89AE1-00A8-492D-888B-1E3DDC006D86}">
      <dgm:prSet/>
      <dgm:spPr/>
      <dgm:t>
        <a:bodyPr/>
        <a:lstStyle/>
        <a:p>
          <a:endParaRPr lang="it-IT"/>
        </a:p>
      </dgm:t>
    </dgm:pt>
    <dgm:pt modelId="{B58F1702-0059-4F53-9A60-77242457BBFA}" type="sibTrans" cxnId="{D6C89AE1-00A8-492D-888B-1E3DDC006D86}">
      <dgm:prSet/>
      <dgm:spPr/>
      <dgm:t>
        <a:bodyPr/>
        <a:lstStyle/>
        <a:p>
          <a:endParaRPr lang="it-IT"/>
        </a:p>
      </dgm:t>
    </dgm:pt>
    <dgm:pt modelId="{7A5D9CDD-E10F-422D-808B-815C691EF2E8}">
      <dgm:prSet phldrT="[Testo]" custT="1"/>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sz="700" dirty="0"/>
            <a:t>Investimenti e Produzione</a:t>
          </a:r>
        </a:p>
        <a:p>
          <a:r>
            <a:rPr lang="it-IT" sz="700" dirty="0"/>
            <a:t>NO</a:t>
          </a:r>
        </a:p>
      </dgm:t>
    </dgm:pt>
    <dgm:pt modelId="{089AE963-8402-4F38-908B-1CA814F78766}" type="parTrans" cxnId="{BEDD267B-EA80-4783-A782-86B96AAC5B03}">
      <dgm:prSet/>
      <dgm:spPr/>
      <dgm:t>
        <a:bodyPr/>
        <a:lstStyle/>
        <a:p>
          <a:endParaRPr lang="it-IT"/>
        </a:p>
      </dgm:t>
    </dgm:pt>
    <dgm:pt modelId="{63A1392B-D9B4-4604-ACED-CDD4B7E19D6E}" type="sibTrans" cxnId="{BEDD267B-EA80-4783-A782-86B96AAC5B03}">
      <dgm:prSet/>
      <dgm:spPr/>
      <dgm:t>
        <a:bodyPr/>
        <a:lstStyle/>
        <a:p>
          <a:endParaRPr lang="it-IT"/>
        </a:p>
      </dgm:t>
    </dgm:pt>
    <dgm:pt modelId="{2069E263-CA68-447A-859F-7068DC9AF2B6}" type="pres">
      <dgm:prSet presAssocID="{C782CD9B-2B4B-48D2-BF13-2B0D6056B78A}" presName="Name0" presStyleCnt="0">
        <dgm:presLayoutVars>
          <dgm:dir/>
          <dgm:animLvl val="lvl"/>
          <dgm:resizeHandles val="exact"/>
        </dgm:presLayoutVars>
      </dgm:prSet>
      <dgm:spPr/>
    </dgm:pt>
    <dgm:pt modelId="{F7031506-3856-48AD-BFC1-89D9660F7FF7}" type="pres">
      <dgm:prSet presAssocID="{DFCF748E-4FA2-4C04-B1DF-85DA1021BE5D}" presName="parTxOnly" presStyleLbl="node1" presStyleIdx="0" presStyleCnt="10">
        <dgm:presLayoutVars>
          <dgm:chMax val="0"/>
          <dgm:chPref val="0"/>
          <dgm:bulletEnabled val="1"/>
        </dgm:presLayoutVars>
      </dgm:prSet>
      <dgm:spPr/>
    </dgm:pt>
    <dgm:pt modelId="{420EBE6C-A91F-49B7-AF4C-29A127D6266A}" type="pres">
      <dgm:prSet presAssocID="{A0ED7260-8442-4FBF-80B4-500E49A4F3AF}" presName="parTxOnlySpace" presStyleCnt="0"/>
      <dgm:spPr/>
    </dgm:pt>
    <dgm:pt modelId="{6C62160D-9EC9-4B84-8EFD-9C3E10FC055A}" type="pres">
      <dgm:prSet presAssocID="{B754C885-66E5-4615-BD33-B6EE917A035D}" presName="parTxOnly" presStyleLbl="node1" presStyleIdx="1" presStyleCnt="10">
        <dgm:presLayoutVars>
          <dgm:chMax val="0"/>
          <dgm:chPref val="0"/>
          <dgm:bulletEnabled val="1"/>
        </dgm:presLayoutVars>
      </dgm:prSet>
      <dgm:spPr/>
    </dgm:pt>
    <dgm:pt modelId="{6415A264-B3C7-41A6-9BA0-D0AD6AE1DACB}" type="pres">
      <dgm:prSet presAssocID="{79AAED35-18A8-4347-A2B8-6AAE8B34BA56}" presName="parTxOnlySpace" presStyleCnt="0"/>
      <dgm:spPr/>
    </dgm:pt>
    <dgm:pt modelId="{636F50A3-8EFE-4C08-B6BE-284B03274F0B}" type="pres">
      <dgm:prSet presAssocID="{72FFD339-6A5F-4ED7-B529-6155AF8C35BB}" presName="parTxOnly" presStyleLbl="node1" presStyleIdx="2" presStyleCnt="10">
        <dgm:presLayoutVars>
          <dgm:chMax val="0"/>
          <dgm:chPref val="0"/>
          <dgm:bulletEnabled val="1"/>
        </dgm:presLayoutVars>
      </dgm:prSet>
      <dgm:spPr/>
    </dgm:pt>
    <dgm:pt modelId="{B0C5D3FB-8180-4CC6-9F14-5042E96FD8E3}" type="pres">
      <dgm:prSet presAssocID="{A3B7292F-5113-4C29-982F-BC1D14C7BE90}" presName="parTxOnlySpace" presStyleCnt="0"/>
      <dgm:spPr/>
    </dgm:pt>
    <dgm:pt modelId="{6BB9B9CD-B911-4E33-8045-BE6A8D7C5B89}" type="pres">
      <dgm:prSet presAssocID="{9225496C-39D8-4F53-8BB5-1B069B40EB3E}" presName="parTxOnly" presStyleLbl="node1" presStyleIdx="3" presStyleCnt="10">
        <dgm:presLayoutVars>
          <dgm:chMax val="0"/>
          <dgm:chPref val="0"/>
          <dgm:bulletEnabled val="1"/>
        </dgm:presLayoutVars>
      </dgm:prSet>
      <dgm:spPr/>
    </dgm:pt>
    <dgm:pt modelId="{60B2C4AD-8A0D-4CB2-93A9-16C6C0E4BD5B}" type="pres">
      <dgm:prSet presAssocID="{1E3F53DD-2537-4C67-AA71-87081D444A81}" presName="parTxOnlySpace" presStyleCnt="0"/>
      <dgm:spPr/>
    </dgm:pt>
    <dgm:pt modelId="{A29D7AF6-34C9-459D-B160-0F8E7686BA2B}" type="pres">
      <dgm:prSet presAssocID="{2F442204-E894-4EB6-A3FA-953074E6D5F9}" presName="parTxOnly" presStyleLbl="node1" presStyleIdx="4" presStyleCnt="10">
        <dgm:presLayoutVars>
          <dgm:chMax val="0"/>
          <dgm:chPref val="0"/>
          <dgm:bulletEnabled val="1"/>
        </dgm:presLayoutVars>
      </dgm:prSet>
      <dgm:spPr/>
    </dgm:pt>
    <dgm:pt modelId="{7004503D-9639-442B-9C04-FB1247092C40}" type="pres">
      <dgm:prSet presAssocID="{07F51AA8-9070-4A56-AF24-8977CF9B6A80}" presName="parTxOnlySpace" presStyleCnt="0"/>
      <dgm:spPr/>
    </dgm:pt>
    <dgm:pt modelId="{A2199658-E72A-4294-AFD3-6892981EEB12}" type="pres">
      <dgm:prSet presAssocID="{7A5D9CDD-E10F-422D-808B-815C691EF2E8}" presName="parTxOnly" presStyleLbl="node1" presStyleIdx="5" presStyleCnt="10">
        <dgm:presLayoutVars>
          <dgm:chMax val="0"/>
          <dgm:chPref val="0"/>
          <dgm:bulletEnabled val="1"/>
        </dgm:presLayoutVars>
      </dgm:prSet>
      <dgm:spPr/>
    </dgm:pt>
    <dgm:pt modelId="{9B5C0F41-E4E2-4A3A-AA73-E3E4EB6ACD5E}" type="pres">
      <dgm:prSet presAssocID="{63A1392B-D9B4-4604-ACED-CDD4B7E19D6E}" presName="parTxOnlySpace" presStyleCnt="0"/>
      <dgm:spPr/>
    </dgm:pt>
    <dgm:pt modelId="{F9C55CAF-C1A3-4EFD-AD93-3CBF7E30E2FA}" type="pres">
      <dgm:prSet presAssocID="{56EC974B-4690-4A6A-B143-36A5A9DDDB75}" presName="parTxOnly" presStyleLbl="node1" presStyleIdx="6" presStyleCnt="10">
        <dgm:presLayoutVars>
          <dgm:chMax val="0"/>
          <dgm:chPref val="0"/>
          <dgm:bulletEnabled val="1"/>
        </dgm:presLayoutVars>
      </dgm:prSet>
      <dgm:spPr/>
    </dgm:pt>
    <dgm:pt modelId="{DDB26EDE-11AF-40B7-9C16-348181381393}" type="pres">
      <dgm:prSet presAssocID="{57612FAC-3D38-4A5A-9D54-8452999285F4}" presName="parTxOnlySpace" presStyleCnt="0"/>
      <dgm:spPr/>
    </dgm:pt>
    <dgm:pt modelId="{8CED6B9D-804A-4009-A04D-D699125D11F0}" type="pres">
      <dgm:prSet presAssocID="{A07A8528-D240-4AAE-BA81-005F6AD457F1}" presName="parTxOnly" presStyleLbl="node1" presStyleIdx="7" presStyleCnt="10">
        <dgm:presLayoutVars>
          <dgm:chMax val="0"/>
          <dgm:chPref val="0"/>
          <dgm:bulletEnabled val="1"/>
        </dgm:presLayoutVars>
      </dgm:prSet>
      <dgm:spPr/>
    </dgm:pt>
    <dgm:pt modelId="{C3D8151F-F75F-49EC-B6A3-4B15A8912918}" type="pres">
      <dgm:prSet presAssocID="{7D0C416E-0310-43FE-A0D6-735CD62199B6}" presName="parTxOnlySpace" presStyleCnt="0"/>
      <dgm:spPr/>
    </dgm:pt>
    <dgm:pt modelId="{0A5AB2D9-0A33-47A4-83C2-3990E2018CD9}" type="pres">
      <dgm:prSet presAssocID="{5805825E-3BC3-4961-910E-96065463977D}" presName="parTxOnly" presStyleLbl="node1" presStyleIdx="8" presStyleCnt="10">
        <dgm:presLayoutVars>
          <dgm:chMax val="0"/>
          <dgm:chPref val="0"/>
          <dgm:bulletEnabled val="1"/>
        </dgm:presLayoutVars>
      </dgm:prSet>
      <dgm:spPr/>
    </dgm:pt>
    <dgm:pt modelId="{5FE5E96A-0031-41D2-A1BE-2634D143793A}" type="pres">
      <dgm:prSet presAssocID="{B58F1702-0059-4F53-9A60-77242457BBFA}" presName="parTxOnlySpace" presStyleCnt="0"/>
      <dgm:spPr/>
    </dgm:pt>
    <dgm:pt modelId="{F2510710-7BA2-44B7-8AA7-1347717B483B}" type="pres">
      <dgm:prSet presAssocID="{2D51EAF0-C497-40E9-996D-2D0BC40F318C}" presName="parTxOnly" presStyleLbl="node1" presStyleIdx="9" presStyleCnt="10">
        <dgm:presLayoutVars>
          <dgm:chMax val="0"/>
          <dgm:chPref val="0"/>
          <dgm:bulletEnabled val="1"/>
        </dgm:presLayoutVars>
      </dgm:prSet>
      <dgm:spPr/>
    </dgm:pt>
  </dgm:ptLst>
  <dgm:cxnLst>
    <dgm:cxn modelId="{F8EA3703-CEE5-4162-AB46-CFFF8AC28B48}" srcId="{C782CD9B-2B4B-48D2-BF13-2B0D6056B78A}" destId="{B754C885-66E5-4615-BD33-B6EE917A035D}" srcOrd="1" destOrd="0" parTransId="{65812F9F-DD0E-4752-BF8B-D07282594751}" sibTransId="{79AAED35-18A8-4347-A2B8-6AAE8B34BA56}"/>
    <dgm:cxn modelId="{C3CA4F11-1B39-48AE-AC8D-B340935761CC}" type="presOf" srcId="{72FFD339-6A5F-4ED7-B529-6155AF8C35BB}" destId="{636F50A3-8EFE-4C08-B6BE-284B03274F0B}" srcOrd="0" destOrd="0" presId="urn:microsoft.com/office/officeart/2005/8/layout/chevron1"/>
    <dgm:cxn modelId="{E8F1DF14-B459-446A-A00A-99451FEFFD24}" type="presOf" srcId="{A07A8528-D240-4AAE-BA81-005F6AD457F1}" destId="{8CED6B9D-804A-4009-A04D-D699125D11F0}" srcOrd="0" destOrd="0" presId="urn:microsoft.com/office/officeart/2005/8/layout/chevron1"/>
    <dgm:cxn modelId="{7BC9B318-E7A6-41F3-853C-1D1DFB2050EF}" srcId="{C782CD9B-2B4B-48D2-BF13-2B0D6056B78A}" destId="{2D51EAF0-C497-40E9-996D-2D0BC40F318C}" srcOrd="9" destOrd="0" parTransId="{43C509B8-DD3A-429A-ADC4-232D55259B3D}" sibTransId="{66A12237-9546-42D0-81C0-2C324670B743}"/>
    <dgm:cxn modelId="{66AFF43C-EBAF-4AAC-9AB0-2B5BB41E69D3}" type="presOf" srcId="{5805825E-3BC3-4961-910E-96065463977D}" destId="{0A5AB2D9-0A33-47A4-83C2-3990E2018CD9}" srcOrd="0" destOrd="0" presId="urn:microsoft.com/office/officeart/2005/8/layout/chevron1"/>
    <dgm:cxn modelId="{94A2B45D-2D69-4650-AFC3-C5574217F910}" srcId="{C782CD9B-2B4B-48D2-BF13-2B0D6056B78A}" destId="{9225496C-39D8-4F53-8BB5-1B069B40EB3E}" srcOrd="3" destOrd="0" parTransId="{D3A21DFB-000A-4FCE-9E9D-8516EBA4DD45}" sibTransId="{1E3F53DD-2537-4C67-AA71-87081D444A81}"/>
    <dgm:cxn modelId="{1F2D7A60-C4C2-4469-95BA-BCD3FF78E5C0}" type="presOf" srcId="{B754C885-66E5-4615-BD33-B6EE917A035D}" destId="{6C62160D-9EC9-4B84-8EFD-9C3E10FC055A}" srcOrd="0" destOrd="0" presId="urn:microsoft.com/office/officeart/2005/8/layout/chevron1"/>
    <dgm:cxn modelId="{6FD2AE64-BDEB-482D-ACF3-1D5403180A1E}" srcId="{C782CD9B-2B4B-48D2-BF13-2B0D6056B78A}" destId="{2F442204-E894-4EB6-A3FA-953074E6D5F9}" srcOrd="4" destOrd="0" parTransId="{9E6A019B-6886-407A-A3BB-1A2A8D416818}" sibTransId="{07F51AA8-9070-4A56-AF24-8977CF9B6A80}"/>
    <dgm:cxn modelId="{042A144D-3300-435B-846D-C3E27DB39F39}" type="presOf" srcId="{C782CD9B-2B4B-48D2-BF13-2B0D6056B78A}" destId="{2069E263-CA68-447A-859F-7068DC9AF2B6}" srcOrd="0" destOrd="0" presId="urn:microsoft.com/office/officeart/2005/8/layout/chevron1"/>
    <dgm:cxn modelId="{345DFE51-BFA6-400D-A0FE-9373968219C2}" type="presOf" srcId="{9225496C-39D8-4F53-8BB5-1B069B40EB3E}" destId="{6BB9B9CD-B911-4E33-8045-BE6A8D7C5B89}" srcOrd="0" destOrd="0" presId="urn:microsoft.com/office/officeart/2005/8/layout/chevron1"/>
    <dgm:cxn modelId="{BEDD267B-EA80-4783-A782-86B96AAC5B03}" srcId="{C782CD9B-2B4B-48D2-BF13-2B0D6056B78A}" destId="{7A5D9CDD-E10F-422D-808B-815C691EF2E8}" srcOrd="5" destOrd="0" parTransId="{089AE963-8402-4F38-908B-1CA814F78766}" sibTransId="{63A1392B-D9B4-4604-ACED-CDD4B7E19D6E}"/>
    <dgm:cxn modelId="{94365D87-6531-4801-9DC0-FFDA29C8015D}" type="presOf" srcId="{2F442204-E894-4EB6-A3FA-953074E6D5F9}" destId="{A29D7AF6-34C9-459D-B160-0F8E7686BA2B}" srcOrd="0" destOrd="0" presId="urn:microsoft.com/office/officeart/2005/8/layout/chevron1"/>
    <dgm:cxn modelId="{E3FF3F99-57D4-49B5-A2EF-9FF16D7C3235}" type="presOf" srcId="{7A5D9CDD-E10F-422D-808B-815C691EF2E8}" destId="{A2199658-E72A-4294-AFD3-6892981EEB12}" srcOrd="0" destOrd="0" presId="urn:microsoft.com/office/officeart/2005/8/layout/chevron1"/>
    <dgm:cxn modelId="{92751D9D-02E3-45C2-978C-737085227C42}" srcId="{C782CD9B-2B4B-48D2-BF13-2B0D6056B78A}" destId="{DFCF748E-4FA2-4C04-B1DF-85DA1021BE5D}" srcOrd="0" destOrd="0" parTransId="{7DAF1956-B700-4203-9672-92E4451DCC31}" sibTransId="{A0ED7260-8442-4FBF-80B4-500E49A4F3AF}"/>
    <dgm:cxn modelId="{9E3B2EA5-1CD7-4644-9CF3-669FA5FCA5B3}" type="presOf" srcId="{DFCF748E-4FA2-4C04-B1DF-85DA1021BE5D}" destId="{F7031506-3856-48AD-BFC1-89D9660F7FF7}" srcOrd="0" destOrd="0" presId="urn:microsoft.com/office/officeart/2005/8/layout/chevron1"/>
    <dgm:cxn modelId="{FE5FBCA8-5D6F-44E5-8DFA-D24300AECCE8}" srcId="{C782CD9B-2B4B-48D2-BF13-2B0D6056B78A}" destId="{56EC974B-4690-4A6A-B143-36A5A9DDDB75}" srcOrd="6" destOrd="0" parTransId="{F24B2512-EFC3-4494-92F8-F4C2A580DD56}" sibTransId="{57612FAC-3D38-4A5A-9D54-8452999285F4}"/>
    <dgm:cxn modelId="{5C5E45CD-2461-4DF0-82AF-541B5B8321BC}" type="presOf" srcId="{56EC974B-4690-4A6A-B143-36A5A9DDDB75}" destId="{F9C55CAF-C1A3-4EFD-AD93-3CBF7E30E2FA}" srcOrd="0" destOrd="0" presId="urn:microsoft.com/office/officeart/2005/8/layout/chevron1"/>
    <dgm:cxn modelId="{D6C89AE1-00A8-492D-888B-1E3DDC006D86}" srcId="{C782CD9B-2B4B-48D2-BF13-2B0D6056B78A}" destId="{5805825E-3BC3-4961-910E-96065463977D}" srcOrd="8" destOrd="0" parTransId="{263FA899-3C2D-4809-A47A-DB65911293C7}" sibTransId="{B58F1702-0059-4F53-9A60-77242457BBFA}"/>
    <dgm:cxn modelId="{AA8C75E7-0821-4C4F-BF0C-9C2F6D66F69D}" type="presOf" srcId="{2D51EAF0-C497-40E9-996D-2D0BC40F318C}" destId="{F2510710-7BA2-44B7-8AA7-1347717B483B}" srcOrd="0" destOrd="0" presId="urn:microsoft.com/office/officeart/2005/8/layout/chevron1"/>
    <dgm:cxn modelId="{C381E8F4-D0AE-4AD0-B8F1-4BDFF55901DE}" srcId="{C782CD9B-2B4B-48D2-BF13-2B0D6056B78A}" destId="{72FFD339-6A5F-4ED7-B529-6155AF8C35BB}" srcOrd="2" destOrd="0" parTransId="{ECFEA23F-DCCD-42C6-8706-10917CE3C2B0}" sibTransId="{A3B7292F-5113-4C29-982F-BC1D14C7BE90}"/>
    <dgm:cxn modelId="{C9F268FB-CB20-4E78-9CDC-F035D61B7E09}" srcId="{C782CD9B-2B4B-48D2-BF13-2B0D6056B78A}" destId="{A07A8528-D240-4AAE-BA81-005F6AD457F1}" srcOrd="7" destOrd="0" parTransId="{3C15A388-1B3D-47E8-B2CB-E67F7E1AFFF1}" sibTransId="{7D0C416E-0310-43FE-A0D6-735CD62199B6}"/>
    <dgm:cxn modelId="{9D9D6712-70A8-409B-A87D-33C43B91BA8C}" type="presParOf" srcId="{2069E263-CA68-447A-859F-7068DC9AF2B6}" destId="{F7031506-3856-48AD-BFC1-89D9660F7FF7}" srcOrd="0" destOrd="0" presId="urn:microsoft.com/office/officeart/2005/8/layout/chevron1"/>
    <dgm:cxn modelId="{8CC70907-23E4-45E8-9AA1-CB385A9A4400}" type="presParOf" srcId="{2069E263-CA68-447A-859F-7068DC9AF2B6}" destId="{420EBE6C-A91F-49B7-AF4C-29A127D6266A}" srcOrd="1" destOrd="0" presId="urn:microsoft.com/office/officeart/2005/8/layout/chevron1"/>
    <dgm:cxn modelId="{0B9A64C1-5FC4-426B-8C7E-059303717D48}" type="presParOf" srcId="{2069E263-CA68-447A-859F-7068DC9AF2B6}" destId="{6C62160D-9EC9-4B84-8EFD-9C3E10FC055A}" srcOrd="2" destOrd="0" presId="urn:microsoft.com/office/officeart/2005/8/layout/chevron1"/>
    <dgm:cxn modelId="{B78423DB-99E7-49D4-B0BA-755E51D22A3F}" type="presParOf" srcId="{2069E263-CA68-447A-859F-7068DC9AF2B6}" destId="{6415A264-B3C7-41A6-9BA0-D0AD6AE1DACB}" srcOrd="3" destOrd="0" presId="urn:microsoft.com/office/officeart/2005/8/layout/chevron1"/>
    <dgm:cxn modelId="{5E358408-14A7-46BC-9B43-4209888462EF}" type="presParOf" srcId="{2069E263-CA68-447A-859F-7068DC9AF2B6}" destId="{636F50A3-8EFE-4C08-B6BE-284B03274F0B}" srcOrd="4" destOrd="0" presId="urn:microsoft.com/office/officeart/2005/8/layout/chevron1"/>
    <dgm:cxn modelId="{58ECF3E4-50BD-4826-B19B-934215D70A49}" type="presParOf" srcId="{2069E263-CA68-447A-859F-7068DC9AF2B6}" destId="{B0C5D3FB-8180-4CC6-9F14-5042E96FD8E3}" srcOrd="5" destOrd="0" presId="urn:microsoft.com/office/officeart/2005/8/layout/chevron1"/>
    <dgm:cxn modelId="{8DA568D6-D8CD-492E-8CC1-7EBCCC70C4C9}" type="presParOf" srcId="{2069E263-CA68-447A-859F-7068DC9AF2B6}" destId="{6BB9B9CD-B911-4E33-8045-BE6A8D7C5B89}" srcOrd="6" destOrd="0" presId="urn:microsoft.com/office/officeart/2005/8/layout/chevron1"/>
    <dgm:cxn modelId="{BB6B3521-C9CF-4E0C-A94A-76947C4EBDF3}" type="presParOf" srcId="{2069E263-CA68-447A-859F-7068DC9AF2B6}" destId="{60B2C4AD-8A0D-4CB2-93A9-16C6C0E4BD5B}" srcOrd="7" destOrd="0" presId="urn:microsoft.com/office/officeart/2005/8/layout/chevron1"/>
    <dgm:cxn modelId="{A532CEBF-30D5-42DE-A5CC-3AF51F90CFCB}" type="presParOf" srcId="{2069E263-CA68-447A-859F-7068DC9AF2B6}" destId="{A29D7AF6-34C9-459D-B160-0F8E7686BA2B}" srcOrd="8" destOrd="0" presId="urn:microsoft.com/office/officeart/2005/8/layout/chevron1"/>
    <dgm:cxn modelId="{FE87B53A-2484-4348-8123-AADB2AC4F0A8}" type="presParOf" srcId="{2069E263-CA68-447A-859F-7068DC9AF2B6}" destId="{7004503D-9639-442B-9C04-FB1247092C40}" srcOrd="9" destOrd="0" presId="urn:microsoft.com/office/officeart/2005/8/layout/chevron1"/>
    <dgm:cxn modelId="{E57F7537-9A62-4FEC-AF38-F124D25C545D}" type="presParOf" srcId="{2069E263-CA68-447A-859F-7068DC9AF2B6}" destId="{A2199658-E72A-4294-AFD3-6892981EEB12}" srcOrd="10" destOrd="0" presId="urn:microsoft.com/office/officeart/2005/8/layout/chevron1"/>
    <dgm:cxn modelId="{749893C3-8974-4359-AFDD-8A75B5980365}" type="presParOf" srcId="{2069E263-CA68-447A-859F-7068DC9AF2B6}" destId="{9B5C0F41-E4E2-4A3A-AA73-E3E4EB6ACD5E}" srcOrd="11" destOrd="0" presId="urn:microsoft.com/office/officeart/2005/8/layout/chevron1"/>
    <dgm:cxn modelId="{92DF22E4-EA46-4E89-9780-548FB21300D8}" type="presParOf" srcId="{2069E263-CA68-447A-859F-7068DC9AF2B6}" destId="{F9C55CAF-C1A3-4EFD-AD93-3CBF7E30E2FA}" srcOrd="12" destOrd="0" presId="urn:microsoft.com/office/officeart/2005/8/layout/chevron1"/>
    <dgm:cxn modelId="{3956CF39-2C41-4D4B-BA08-BE4E4B600F81}" type="presParOf" srcId="{2069E263-CA68-447A-859F-7068DC9AF2B6}" destId="{DDB26EDE-11AF-40B7-9C16-348181381393}" srcOrd="13" destOrd="0" presId="urn:microsoft.com/office/officeart/2005/8/layout/chevron1"/>
    <dgm:cxn modelId="{6EE99B0B-A9B2-4943-8B10-B192A2E0449E}" type="presParOf" srcId="{2069E263-CA68-447A-859F-7068DC9AF2B6}" destId="{8CED6B9D-804A-4009-A04D-D699125D11F0}" srcOrd="14" destOrd="0" presId="urn:microsoft.com/office/officeart/2005/8/layout/chevron1"/>
    <dgm:cxn modelId="{2CC61A9C-00E6-4C13-91A5-F09B4F9B8932}" type="presParOf" srcId="{2069E263-CA68-447A-859F-7068DC9AF2B6}" destId="{C3D8151F-F75F-49EC-B6A3-4B15A8912918}" srcOrd="15" destOrd="0" presId="urn:microsoft.com/office/officeart/2005/8/layout/chevron1"/>
    <dgm:cxn modelId="{ED2790E6-B228-4480-BD98-C08B34B399D4}" type="presParOf" srcId="{2069E263-CA68-447A-859F-7068DC9AF2B6}" destId="{0A5AB2D9-0A33-47A4-83C2-3990E2018CD9}" srcOrd="16" destOrd="0" presId="urn:microsoft.com/office/officeart/2005/8/layout/chevron1"/>
    <dgm:cxn modelId="{7F3DD7C7-EA4E-4106-BF36-C62403CB7D10}" type="presParOf" srcId="{2069E263-CA68-447A-859F-7068DC9AF2B6}" destId="{5FE5E96A-0031-41D2-A1BE-2634D143793A}" srcOrd="17" destOrd="0" presId="urn:microsoft.com/office/officeart/2005/8/layout/chevron1"/>
    <dgm:cxn modelId="{24E90C66-25E1-46AE-8F02-994C9AEA1AE3}" type="presParOf" srcId="{2069E263-CA68-447A-859F-7068DC9AF2B6}" destId="{F2510710-7BA2-44B7-8AA7-1347717B483B}" srcOrd="18"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C782CD9B-2B4B-48D2-BF13-2B0D6056B78A}"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it-IT"/>
        </a:p>
      </dgm:t>
    </dgm:pt>
    <dgm:pt modelId="{DFCF748E-4FA2-4C04-B1DF-85DA1021BE5D}">
      <dgm:prSet phldrT="[Testo]"/>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Rete viaria complessiva</a:t>
          </a:r>
        </a:p>
      </dgm:t>
    </dgm:pt>
    <dgm:pt modelId="{7DAF1956-B700-4203-9672-92E4451DCC31}" type="parTrans" cxnId="{92751D9D-02E3-45C2-978C-737085227C42}">
      <dgm:prSet/>
      <dgm:spPr/>
      <dgm:t>
        <a:bodyPr/>
        <a:lstStyle/>
        <a:p>
          <a:endParaRPr lang="it-IT"/>
        </a:p>
      </dgm:t>
    </dgm:pt>
    <dgm:pt modelId="{A0ED7260-8442-4FBF-80B4-500E49A4F3AF}" type="sibTrans" cxnId="{92751D9D-02E3-45C2-978C-737085227C42}">
      <dgm:prSet/>
      <dgm:spPr/>
      <dgm:t>
        <a:bodyPr/>
        <a:lstStyle/>
        <a:p>
          <a:endParaRPr lang="it-IT"/>
        </a:p>
      </dgm:t>
    </dgm:pt>
    <dgm:pt modelId="{B754C885-66E5-4615-BD33-B6EE917A035D}">
      <dgm:prSet phldrT="[Testo]"/>
      <dgm:spPr>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dgm:spPr>
      <dgm:t>
        <a:bodyPr/>
        <a:lstStyle/>
        <a:p>
          <a:r>
            <a:rPr lang="it-IT" dirty="0"/>
            <a:t>Risorse</a:t>
          </a:r>
        </a:p>
      </dgm:t>
    </dgm:pt>
    <dgm:pt modelId="{65812F9F-DD0E-4752-BF8B-D07282594751}" type="parTrans" cxnId="{F8EA3703-CEE5-4162-AB46-CFFF8AC28B48}">
      <dgm:prSet/>
      <dgm:spPr/>
      <dgm:t>
        <a:bodyPr/>
        <a:lstStyle/>
        <a:p>
          <a:endParaRPr lang="it-IT"/>
        </a:p>
      </dgm:t>
    </dgm:pt>
    <dgm:pt modelId="{79AAED35-18A8-4347-A2B8-6AAE8B34BA56}" type="sibTrans" cxnId="{F8EA3703-CEE5-4162-AB46-CFFF8AC28B48}">
      <dgm:prSet/>
      <dgm:spPr/>
      <dgm:t>
        <a:bodyPr/>
        <a:lstStyle/>
        <a:p>
          <a:endParaRPr lang="it-IT"/>
        </a:p>
      </dgm:t>
    </dgm:pt>
    <dgm:pt modelId="{9225496C-39D8-4F53-8BB5-1B069B40EB3E}">
      <dgm:prSet phldrT="[Testo]"/>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Affidamenti</a:t>
          </a:r>
        </a:p>
      </dgm:t>
    </dgm:pt>
    <dgm:pt modelId="{D3A21DFB-000A-4FCE-9E9D-8516EBA4DD45}" type="parTrans" cxnId="{94A2B45D-2D69-4650-AFC3-C5574217F910}">
      <dgm:prSet/>
      <dgm:spPr/>
      <dgm:t>
        <a:bodyPr/>
        <a:lstStyle/>
        <a:p>
          <a:endParaRPr lang="it-IT"/>
        </a:p>
      </dgm:t>
    </dgm:pt>
    <dgm:pt modelId="{1E3F53DD-2537-4C67-AA71-87081D444A81}" type="sibTrans" cxnId="{94A2B45D-2D69-4650-AFC3-C5574217F910}">
      <dgm:prSet/>
      <dgm:spPr/>
      <dgm:t>
        <a:bodyPr/>
        <a:lstStyle/>
        <a:p>
          <a:endParaRPr lang="it-IT"/>
        </a:p>
      </dgm:t>
    </dgm:pt>
    <dgm:pt modelId="{2F442204-E894-4EB6-A3FA-953074E6D5F9}">
      <dgm:prSet phldrT="[Testo]" custT="1"/>
      <dgm:spPr>
        <a:solidFill>
          <a:schemeClr val="tx2"/>
        </a:solidFill>
      </dgm:spPr>
      <dgm:t>
        <a:bodyPr/>
        <a:lstStyle/>
        <a:p>
          <a:r>
            <a:rPr lang="it-IT" sz="700" dirty="0"/>
            <a:t>Investimenti e Produzione</a:t>
          </a:r>
        </a:p>
        <a:p>
          <a:r>
            <a:rPr lang="it-IT" sz="700" dirty="0"/>
            <a:t>MP</a:t>
          </a:r>
        </a:p>
      </dgm:t>
    </dgm:pt>
    <dgm:pt modelId="{9E6A019B-6886-407A-A3BB-1A2A8D416818}" type="parTrans" cxnId="{6FD2AE64-BDEB-482D-ACF3-1D5403180A1E}">
      <dgm:prSet/>
      <dgm:spPr/>
      <dgm:t>
        <a:bodyPr/>
        <a:lstStyle/>
        <a:p>
          <a:endParaRPr lang="it-IT"/>
        </a:p>
      </dgm:t>
    </dgm:pt>
    <dgm:pt modelId="{07F51AA8-9070-4A56-AF24-8977CF9B6A80}" type="sibTrans" cxnId="{6FD2AE64-BDEB-482D-ACF3-1D5403180A1E}">
      <dgm:prSet/>
      <dgm:spPr/>
      <dgm:t>
        <a:bodyPr/>
        <a:lstStyle/>
        <a:p>
          <a:endParaRPr lang="it-IT"/>
        </a:p>
      </dgm:t>
    </dgm:pt>
    <dgm:pt modelId="{2D51EAF0-C497-40E9-996D-2D0BC40F318C}">
      <dgm:prSet phldrT="[Testo]"/>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Pagamenti</a:t>
          </a:r>
        </a:p>
      </dgm:t>
    </dgm:pt>
    <dgm:pt modelId="{43C509B8-DD3A-429A-ADC4-232D55259B3D}" type="parTrans" cxnId="{7BC9B318-E7A6-41F3-853C-1D1DFB2050EF}">
      <dgm:prSet/>
      <dgm:spPr/>
      <dgm:t>
        <a:bodyPr/>
        <a:lstStyle/>
        <a:p>
          <a:endParaRPr lang="it-IT"/>
        </a:p>
      </dgm:t>
    </dgm:pt>
    <dgm:pt modelId="{66A12237-9546-42D0-81C0-2C324670B743}" type="sibTrans" cxnId="{7BC9B318-E7A6-41F3-853C-1D1DFB2050EF}">
      <dgm:prSet/>
      <dgm:spPr/>
      <dgm:t>
        <a:bodyPr/>
        <a:lstStyle/>
        <a:p>
          <a:endParaRPr lang="it-IT"/>
        </a:p>
      </dgm:t>
    </dgm:pt>
    <dgm:pt modelId="{72FFD339-6A5F-4ED7-B529-6155AF8C35BB}">
      <dgm:prSet/>
      <dgm:spPr>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dgm:spPr>
      <dgm:t>
        <a:bodyPr/>
        <a:lstStyle/>
        <a:p>
          <a:r>
            <a:rPr lang="it-IT" dirty="0" err="1"/>
            <a:t>soc</a:t>
          </a:r>
          <a:endParaRPr lang="it-IT" dirty="0"/>
        </a:p>
      </dgm:t>
    </dgm:pt>
    <dgm:pt modelId="{ECFEA23F-DCCD-42C6-8706-10917CE3C2B0}" type="parTrans" cxnId="{C381E8F4-D0AE-4AD0-B8F1-4BDFF55901DE}">
      <dgm:prSet/>
      <dgm:spPr/>
      <dgm:t>
        <a:bodyPr/>
        <a:lstStyle/>
        <a:p>
          <a:endParaRPr lang="it-IT"/>
        </a:p>
      </dgm:t>
    </dgm:pt>
    <dgm:pt modelId="{A3B7292F-5113-4C29-982F-BC1D14C7BE90}" type="sibTrans" cxnId="{C381E8F4-D0AE-4AD0-B8F1-4BDFF55901DE}">
      <dgm:prSet/>
      <dgm:spPr/>
      <dgm:t>
        <a:bodyPr/>
        <a:lstStyle/>
        <a:p>
          <a:endParaRPr lang="it-IT"/>
        </a:p>
      </dgm:t>
    </dgm:pt>
    <dgm:pt modelId="{A07A8528-D240-4AAE-BA81-005F6AD457F1}">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Ispezione Opere D’arte</a:t>
          </a:r>
        </a:p>
      </dgm:t>
    </dgm:pt>
    <dgm:pt modelId="{3C15A388-1B3D-47E8-B2CB-E67F7E1AFFF1}" type="parTrans" cxnId="{C9F268FB-CB20-4E78-9CDC-F035D61B7E09}">
      <dgm:prSet/>
      <dgm:spPr/>
      <dgm:t>
        <a:bodyPr/>
        <a:lstStyle/>
        <a:p>
          <a:endParaRPr lang="it-IT"/>
        </a:p>
      </dgm:t>
    </dgm:pt>
    <dgm:pt modelId="{7D0C416E-0310-43FE-A0D6-735CD62199B6}" type="sibTrans" cxnId="{C9F268FB-CB20-4E78-9CDC-F035D61B7E09}">
      <dgm:prSet/>
      <dgm:spPr/>
      <dgm:t>
        <a:bodyPr/>
        <a:lstStyle/>
        <a:p>
          <a:endParaRPr lang="it-IT"/>
        </a:p>
      </dgm:t>
    </dgm:pt>
    <dgm:pt modelId="{56EC974B-4690-4A6A-B143-36A5A9DDDB75}">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Supporto Tecnico</a:t>
          </a:r>
        </a:p>
      </dgm:t>
    </dgm:pt>
    <dgm:pt modelId="{F24B2512-EFC3-4494-92F8-F4C2A580DD56}" type="parTrans" cxnId="{FE5FBCA8-5D6F-44E5-8DFA-D24300AECCE8}">
      <dgm:prSet/>
      <dgm:spPr/>
      <dgm:t>
        <a:bodyPr/>
        <a:lstStyle/>
        <a:p>
          <a:endParaRPr lang="it-IT"/>
        </a:p>
      </dgm:t>
    </dgm:pt>
    <dgm:pt modelId="{57612FAC-3D38-4A5A-9D54-8452999285F4}" type="sibTrans" cxnId="{FE5FBCA8-5D6F-44E5-8DFA-D24300AECCE8}">
      <dgm:prSet/>
      <dgm:spPr/>
      <dgm:t>
        <a:bodyPr/>
        <a:lstStyle/>
        <a:p>
          <a:endParaRPr lang="it-IT"/>
        </a:p>
      </dgm:t>
    </dgm:pt>
    <dgm:pt modelId="{5805825E-3BC3-4961-910E-96065463977D}">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Interventi Rilevanti</a:t>
          </a:r>
        </a:p>
      </dgm:t>
    </dgm:pt>
    <dgm:pt modelId="{263FA899-3C2D-4809-A47A-DB65911293C7}" type="parTrans" cxnId="{D6C89AE1-00A8-492D-888B-1E3DDC006D86}">
      <dgm:prSet/>
      <dgm:spPr/>
      <dgm:t>
        <a:bodyPr/>
        <a:lstStyle/>
        <a:p>
          <a:endParaRPr lang="it-IT"/>
        </a:p>
      </dgm:t>
    </dgm:pt>
    <dgm:pt modelId="{B58F1702-0059-4F53-9A60-77242457BBFA}" type="sibTrans" cxnId="{D6C89AE1-00A8-492D-888B-1E3DDC006D86}">
      <dgm:prSet/>
      <dgm:spPr/>
      <dgm:t>
        <a:bodyPr/>
        <a:lstStyle/>
        <a:p>
          <a:endParaRPr lang="it-IT"/>
        </a:p>
      </dgm:t>
    </dgm:pt>
    <dgm:pt modelId="{7A5D9CDD-E10F-422D-808B-815C691EF2E8}">
      <dgm:prSet phldrT="[Testo]" custT="1"/>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sz="700" dirty="0"/>
            <a:t>Investimenti e Produzione</a:t>
          </a:r>
        </a:p>
        <a:p>
          <a:r>
            <a:rPr lang="it-IT" sz="700" dirty="0"/>
            <a:t>NO</a:t>
          </a:r>
        </a:p>
      </dgm:t>
    </dgm:pt>
    <dgm:pt modelId="{089AE963-8402-4F38-908B-1CA814F78766}" type="parTrans" cxnId="{BEDD267B-EA80-4783-A782-86B96AAC5B03}">
      <dgm:prSet/>
      <dgm:spPr/>
      <dgm:t>
        <a:bodyPr/>
        <a:lstStyle/>
        <a:p>
          <a:endParaRPr lang="it-IT"/>
        </a:p>
      </dgm:t>
    </dgm:pt>
    <dgm:pt modelId="{63A1392B-D9B4-4604-ACED-CDD4B7E19D6E}" type="sibTrans" cxnId="{BEDD267B-EA80-4783-A782-86B96AAC5B03}">
      <dgm:prSet/>
      <dgm:spPr/>
      <dgm:t>
        <a:bodyPr/>
        <a:lstStyle/>
        <a:p>
          <a:endParaRPr lang="it-IT"/>
        </a:p>
      </dgm:t>
    </dgm:pt>
    <dgm:pt modelId="{2069E263-CA68-447A-859F-7068DC9AF2B6}" type="pres">
      <dgm:prSet presAssocID="{C782CD9B-2B4B-48D2-BF13-2B0D6056B78A}" presName="Name0" presStyleCnt="0">
        <dgm:presLayoutVars>
          <dgm:dir/>
          <dgm:animLvl val="lvl"/>
          <dgm:resizeHandles val="exact"/>
        </dgm:presLayoutVars>
      </dgm:prSet>
      <dgm:spPr/>
    </dgm:pt>
    <dgm:pt modelId="{F7031506-3856-48AD-BFC1-89D9660F7FF7}" type="pres">
      <dgm:prSet presAssocID="{DFCF748E-4FA2-4C04-B1DF-85DA1021BE5D}" presName="parTxOnly" presStyleLbl="node1" presStyleIdx="0" presStyleCnt="10">
        <dgm:presLayoutVars>
          <dgm:chMax val="0"/>
          <dgm:chPref val="0"/>
          <dgm:bulletEnabled val="1"/>
        </dgm:presLayoutVars>
      </dgm:prSet>
      <dgm:spPr/>
    </dgm:pt>
    <dgm:pt modelId="{420EBE6C-A91F-49B7-AF4C-29A127D6266A}" type="pres">
      <dgm:prSet presAssocID="{A0ED7260-8442-4FBF-80B4-500E49A4F3AF}" presName="parTxOnlySpace" presStyleCnt="0"/>
      <dgm:spPr/>
    </dgm:pt>
    <dgm:pt modelId="{6C62160D-9EC9-4B84-8EFD-9C3E10FC055A}" type="pres">
      <dgm:prSet presAssocID="{B754C885-66E5-4615-BD33-B6EE917A035D}" presName="parTxOnly" presStyleLbl="node1" presStyleIdx="1" presStyleCnt="10">
        <dgm:presLayoutVars>
          <dgm:chMax val="0"/>
          <dgm:chPref val="0"/>
          <dgm:bulletEnabled val="1"/>
        </dgm:presLayoutVars>
      </dgm:prSet>
      <dgm:spPr/>
    </dgm:pt>
    <dgm:pt modelId="{6415A264-B3C7-41A6-9BA0-D0AD6AE1DACB}" type="pres">
      <dgm:prSet presAssocID="{79AAED35-18A8-4347-A2B8-6AAE8B34BA56}" presName="parTxOnlySpace" presStyleCnt="0"/>
      <dgm:spPr/>
    </dgm:pt>
    <dgm:pt modelId="{636F50A3-8EFE-4C08-B6BE-284B03274F0B}" type="pres">
      <dgm:prSet presAssocID="{72FFD339-6A5F-4ED7-B529-6155AF8C35BB}" presName="parTxOnly" presStyleLbl="node1" presStyleIdx="2" presStyleCnt="10">
        <dgm:presLayoutVars>
          <dgm:chMax val="0"/>
          <dgm:chPref val="0"/>
          <dgm:bulletEnabled val="1"/>
        </dgm:presLayoutVars>
      </dgm:prSet>
      <dgm:spPr/>
    </dgm:pt>
    <dgm:pt modelId="{B0C5D3FB-8180-4CC6-9F14-5042E96FD8E3}" type="pres">
      <dgm:prSet presAssocID="{A3B7292F-5113-4C29-982F-BC1D14C7BE90}" presName="parTxOnlySpace" presStyleCnt="0"/>
      <dgm:spPr/>
    </dgm:pt>
    <dgm:pt modelId="{6BB9B9CD-B911-4E33-8045-BE6A8D7C5B89}" type="pres">
      <dgm:prSet presAssocID="{9225496C-39D8-4F53-8BB5-1B069B40EB3E}" presName="parTxOnly" presStyleLbl="node1" presStyleIdx="3" presStyleCnt="10">
        <dgm:presLayoutVars>
          <dgm:chMax val="0"/>
          <dgm:chPref val="0"/>
          <dgm:bulletEnabled val="1"/>
        </dgm:presLayoutVars>
      </dgm:prSet>
      <dgm:spPr/>
    </dgm:pt>
    <dgm:pt modelId="{60B2C4AD-8A0D-4CB2-93A9-16C6C0E4BD5B}" type="pres">
      <dgm:prSet presAssocID="{1E3F53DD-2537-4C67-AA71-87081D444A81}" presName="parTxOnlySpace" presStyleCnt="0"/>
      <dgm:spPr/>
    </dgm:pt>
    <dgm:pt modelId="{A29D7AF6-34C9-459D-B160-0F8E7686BA2B}" type="pres">
      <dgm:prSet presAssocID="{2F442204-E894-4EB6-A3FA-953074E6D5F9}" presName="parTxOnly" presStyleLbl="node1" presStyleIdx="4" presStyleCnt="10">
        <dgm:presLayoutVars>
          <dgm:chMax val="0"/>
          <dgm:chPref val="0"/>
          <dgm:bulletEnabled val="1"/>
        </dgm:presLayoutVars>
      </dgm:prSet>
      <dgm:spPr/>
    </dgm:pt>
    <dgm:pt modelId="{7004503D-9639-442B-9C04-FB1247092C40}" type="pres">
      <dgm:prSet presAssocID="{07F51AA8-9070-4A56-AF24-8977CF9B6A80}" presName="parTxOnlySpace" presStyleCnt="0"/>
      <dgm:spPr/>
    </dgm:pt>
    <dgm:pt modelId="{A2199658-E72A-4294-AFD3-6892981EEB12}" type="pres">
      <dgm:prSet presAssocID="{7A5D9CDD-E10F-422D-808B-815C691EF2E8}" presName="parTxOnly" presStyleLbl="node1" presStyleIdx="5" presStyleCnt="10">
        <dgm:presLayoutVars>
          <dgm:chMax val="0"/>
          <dgm:chPref val="0"/>
          <dgm:bulletEnabled val="1"/>
        </dgm:presLayoutVars>
      </dgm:prSet>
      <dgm:spPr/>
    </dgm:pt>
    <dgm:pt modelId="{9B5C0F41-E4E2-4A3A-AA73-E3E4EB6ACD5E}" type="pres">
      <dgm:prSet presAssocID="{63A1392B-D9B4-4604-ACED-CDD4B7E19D6E}" presName="parTxOnlySpace" presStyleCnt="0"/>
      <dgm:spPr/>
    </dgm:pt>
    <dgm:pt modelId="{F9C55CAF-C1A3-4EFD-AD93-3CBF7E30E2FA}" type="pres">
      <dgm:prSet presAssocID="{56EC974B-4690-4A6A-B143-36A5A9DDDB75}" presName="parTxOnly" presStyleLbl="node1" presStyleIdx="6" presStyleCnt="10">
        <dgm:presLayoutVars>
          <dgm:chMax val="0"/>
          <dgm:chPref val="0"/>
          <dgm:bulletEnabled val="1"/>
        </dgm:presLayoutVars>
      </dgm:prSet>
      <dgm:spPr/>
    </dgm:pt>
    <dgm:pt modelId="{DDB26EDE-11AF-40B7-9C16-348181381393}" type="pres">
      <dgm:prSet presAssocID="{57612FAC-3D38-4A5A-9D54-8452999285F4}" presName="parTxOnlySpace" presStyleCnt="0"/>
      <dgm:spPr/>
    </dgm:pt>
    <dgm:pt modelId="{8CED6B9D-804A-4009-A04D-D699125D11F0}" type="pres">
      <dgm:prSet presAssocID="{A07A8528-D240-4AAE-BA81-005F6AD457F1}" presName="parTxOnly" presStyleLbl="node1" presStyleIdx="7" presStyleCnt="10">
        <dgm:presLayoutVars>
          <dgm:chMax val="0"/>
          <dgm:chPref val="0"/>
          <dgm:bulletEnabled val="1"/>
        </dgm:presLayoutVars>
      </dgm:prSet>
      <dgm:spPr/>
    </dgm:pt>
    <dgm:pt modelId="{C3D8151F-F75F-49EC-B6A3-4B15A8912918}" type="pres">
      <dgm:prSet presAssocID="{7D0C416E-0310-43FE-A0D6-735CD62199B6}" presName="parTxOnlySpace" presStyleCnt="0"/>
      <dgm:spPr/>
    </dgm:pt>
    <dgm:pt modelId="{0A5AB2D9-0A33-47A4-83C2-3990E2018CD9}" type="pres">
      <dgm:prSet presAssocID="{5805825E-3BC3-4961-910E-96065463977D}" presName="parTxOnly" presStyleLbl="node1" presStyleIdx="8" presStyleCnt="10">
        <dgm:presLayoutVars>
          <dgm:chMax val="0"/>
          <dgm:chPref val="0"/>
          <dgm:bulletEnabled val="1"/>
        </dgm:presLayoutVars>
      </dgm:prSet>
      <dgm:spPr/>
    </dgm:pt>
    <dgm:pt modelId="{5FE5E96A-0031-41D2-A1BE-2634D143793A}" type="pres">
      <dgm:prSet presAssocID="{B58F1702-0059-4F53-9A60-77242457BBFA}" presName="parTxOnlySpace" presStyleCnt="0"/>
      <dgm:spPr/>
    </dgm:pt>
    <dgm:pt modelId="{F2510710-7BA2-44B7-8AA7-1347717B483B}" type="pres">
      <dgm:prSet presAssocID="{2D51EAF0-C497-40E9-996D-2D0BC40F318C}" presName="parTxOnly" presStyleLbl="node1" presStyleIdx="9" presStyleCnt="10">
        <dgm:presLayoutVars>
          <dgm:chMax val="0"/>
          <dgm:chPref val="0"/>
          <dgm:bulletEnabled val="1"/>
        </dgm:presLayoutVars>
      </dgm:prSet>
      <dgm:spPr/>
    </dgm:pt>
  </dgm:ptLst>
  <dgm:cxnLst>
    <dgm:cxn modelId="{F8EA3703-CEE5-4162-AB46-CFFF8AC28B48}" srcId="{C782CD9B-2B4B-48D2-BF13-2B0D6056B78A}" destId="{B754C885-66E5-4615-BD33-B6EE917A035D}" srcOrd="1" destOrd="0" parTransId="{65812F9F-DD0E-4752-BF8B-D07282594751}" sibTransId="{79AAED35-18A8-4347-A2B8-6AAE8B34BA56}"/>
    <dgm:cxn modelId="{B35D0E13-7896-4A7B-82E4-F65FAE5CF5C0}" type="presOf" srcId="{5805825E-3BC3-4961-910E-96065463977D}" destId="{0A5AB2D9-0A33-47A4-83C2-3990E2018CD9}" srcOrd="0" destOrd="0" presId="urn:microsoft.com/office/officeart/2005/8/layout/chevron1"/>
    <dgm:cxn modelId="{8A345E14-C520-4441-84AE-C7581C542EAE}" type="presOf" srcId="{9225496C-39D8-4F53-8BB5-1B069B40EB3E}" destId="{6BB9B9CD-B911-4E33-8045-BE6A8D7C5B89}" srcOrd="0" destOrd="0" presId="urn:microsoft.com/office/officeart/2005/8/layout/chevron1"/>
    <dgm:cxn modelId="{7BC9B318-E7A6-41F3-853C-1D1DFB2050EF}" srcId="{C782CD9B-2B4B-48D2-BF13-2B0D6056B78A}" destId="{2D51EAF0-C497-40E9-996D-2D0BC40F318C}" srcOrd="9" destOrd="0" parTransId="{43C509B8-DD3A-429A-ADC4-232D55259B3D}" sibTransId="{66A12237-9546-42D0-81C0-2C324670B743}"/>
    <dgm:cxn modelId="{94A2B45D-2D69-4650-AFC3-C5574217F910}" srcId="{C782CD9B-2B4B-48D2-BF13-2B0D6056B78A}" destId="{9225496C-39D8-4F53-8BB5-1B069B40EB3E}" srcOrd="3" destOrd="0" parTransId="{D3A21DFB-000A-4FCE-9E9D-8516EBA4DD45}" sibTransId="{1E3F53DD-2537-4C67-AA71-87081D444A81}"/>
    <dgm:cxn modelId="{6FD2AE64-BDEB-482D-ACF3-1D5403180A1E}" srcId="{C782CD9B-2B4B-48D2-BF13-2B0D6056B78A}" destId="{2F442204-E894-4EB6-A3FA-953074E6D5F9}" srcOrd="4" destOrd="0" parTransId="{9E6A019B-6886-407A-A3BB-1A2A8D416818}" sibTransId="{07F51AA8-9070-4A56-AF24-8977CF9B6A80}"/>
    <dgm:cxn modelId="{4D00F846-DB54-47DE-B7FF-3D59ACF4A3D1}" type="presOf" srcId="{B754C885-66E5-4615-BD33-B6EE917A035D}" destId="{6C62160D-9EC9-4B84-8EFD-9C3E10FC055A}" srcOrd="0" destOrd="0" presId="urn:microsoft.com/office/officeart/2005/8/layout/chevron1"/>
    <dgm:cxn modelId="{FCB28C6D-45C9-4671-932A-14BADCF09A81}" type="presOf" srcId="{A07A8528-D240-4AAE-BA81-005F6AD457F1}" destId="{8CED6B9D-804A-4009-A04D-D699125D11F0}" srcOrd="0" destOrd="0" presId="urn:microsoft.com/office/officeart/2005/8/layout/chevron1"/>
    <dgm:cxn modelId="{BEDD267B-EA80-4783-A782-86B96AAC5B03}" srcId="{C782CD9B-2B4B-48D2-BF13-2B0D6056B78A}" destId="{7A5D9CDD-E10F-422D-808B-815C691EF2E8}" srcOrd="5" destOrd="0" parTransId="{089AE963-8402-4F38-908B-1CA814F78766}" sibTransId="{63A1392B-D9B4-4604-ACED-CDD4B7E19D6E}"/>
    <dgm:cxn modelId="{C39F657D-AC45-4434-823F-10E538786456}" type="presOf" srcId="{56EC974B-4690-4A6A-B143-36A5A9DDDB75}" destId="{F9C55CAF-C1A3-4EFD-AD93-3CBF7E30E2FA}" srcOrd="0" destOrd="0" presId="urn:microsoft.com/office/officeart/2005/8/layout/chevron1"/>
    <dgm:cxn modelId="{E8162983-8E4A-47F9-B6AA-5AB965F44F5E}" type="presOf" srcId="{7A5D9CDD-E10F-422D-808B-815C691EF2E8}" destId="{A2199658-E72A-4294-AFD3-6892981EEB12}" srcOrd="0" destOrd="0" presId="urn:microsoft.com/office/officeart/2005/8/layout/chevron1"/>
    <dgm:cxn modelId="{CB45C49A-E7E5-4E0D-B90B-DC0F9495EEDE}" type="presOf" srcId="{DFCF748E-4FA2-4C04-B1DF-85DA1021BE5D}" destId="{F7031506-3856-48AD-BFC1-89D9660F7FF7}" srcOrd="0" destOrd="0" presId="urn:microsoft.com/office/officeart/2005/8/layout/chevron1"/>
    <dgm:cxn modelId="{92751D9D-02E3-45C2-978C-737085227C42}" srcId="{C782CD9B-2B4B-48D2-BF13-2B0D6056B78A}" destId="{DFCF748E-4FA2-4C04-B1DF-85DA1021BE5D}" srcOrd="0" destOrd="0" parTransId="{7DAF1956-B700-4203-9672-92E4451DCC31}" sibTransId="{A0ED7260-8442-4FBF-80B4-500E49A4F3AF}"/>
    <dgm:cxn modelId="{FE5FBCA8-5D6F-44E5-8DFA-D24300AECCE8}" srcId="{C782CD9B-2B4B-48D2-BF13-2B0D6056B78A}" destId="{56EC974B-4690-4A6A-B143-36A5A9DDDB75}" srcOrd="6" destOrd="0" parTransId="{F24B2512-EFC3-4494-92F8-F4C2A580DD56}" sibTransId="{57612FAC-3D38-4A5A-9D54-8452999285F4}"/>
    <dgm:cxn modelId="{CC3E79AC-E988-41A5-B47B-6E96A4C56E88}" type="presOf" srcId="{72FFD339-6A5F-4ED7-B529-6155AF8C35BB}" destId="{636F50A3-8EFE-4C08-B6BE-284B03274F0B}" srcOrd="0" destOrd="0" presId="urn:microsoft.com/office/officeart/2005/8/layout/chevron1"/>
    <dgm:cxn modelId="{A5E570BD-4D95-4925-B5D2-6F4856A643CC}" type="presOf" srcId="{2F442204-E894-4EB6-A3FA-953074E6D5F9}" destId="{A29D7AF6-34C9-459D-B160-0F8E7686BA2B}" srcOrd="0" destOrd="0" presId="urn:microsoft.com/office/officeart/2005/8/layout/chevron1"/>
    <dgm:cxn modelId="{955179CE-94C0-4747-8446-84B787814ACA}" type="presOf" srcId="{C782CD9B-2B4B-48D2-BF13-2B0D6056B78A}" destId="{2069E263-CA68-447A-859F-7068DC9AF2B6}" srcOrd="0" destOrd="0" presId="urn:microsoft.com/office/officeart/2005/8/layout/chevron1"/>
    <dgm:cxn modelId="{E21EDBDD-41DB-423B-B0DD-30A95FB503FF}" type="presOf" srcId="{2D51EAF0-C497-40E9-996D-2D0BC40F318C}" destId="{F2510710-7BA2-44B7-8AA7-1347717B483B}" srcOrd="0" destOrd="0" presId="urn:microsoft.com/office/officeart/2005/8/layout/chevron1"/>
    <dgm:cxn modelId="{D6C89AE1-00A8-492D-888B-1E3DDC006D86}" srcId="{C782CD9B-2B4B-48D2-BF13-2B0D6056B78A}" destId="{5805825E-3BC3-4961-910E-96065463977D}" srcOrd="8" destOrd="0" parTransId="{263FA899-3C2D-4809-A47A-DB65911293C7}" sibTransId="{B58F1702-0059-4F53-9A60-77242457BBFA}"/>
    <dgm:cxn modelId="{C381E8F4-D0AE-4AD0-B8F1-4BDFF55901DE}" srcId="{C782CD9B-2B4B-48D2-BF13-2B0D6056B78A}" destId="{72FFD339-6A5F-4ED7-B529-6155AF8C35BB}" srcOrd="2" destOrd="0" parTransId="{ECFEA23F-DCCD-42C6-8706-10917CE3C2B0}" sibTransId="{A3B7292F-5113-4C29-982F-BC1D14C7BE90}"/>
    <dgm:cxn modelId="{C9F268FB-CB20-4E78-9CDC-F035D61B7E09}" srcId="{C782CD9B-2B4B-48D2-BF13-2B0D6056B78A}" destId="{A07A8528-D240-4AAE-BA81-005F6AD457F1}" srcOrd="7" destOrd="0" parTransId="{3C15A388-1B3D-47E8-B2CB-E67F7E1AFFF1}" sibTransId="{7D0C416E-0310-43FE-A0D6-735CD62199B6}"/>
    <dgm:cxn modelId="{EDA7A3AB-2E41-49BF-8B0F-13FB70452130}" type="presParOf" srcId="{2069E263-CA68-447A-859F-7068DC9AF2B6}" destId="{F7031506-3856-48AD-BFC1-89D9660F7FF7}" srcOrd="0" destOrd="0" presId="urn:microsoft.com/office/officeart/2005/8/layout/chevron1"/>
    <dgm:cxn modelId="{B676B25B-9678-49F1-85C9-1EA0A7F3EDB3}" type="presParOf" srcId="{2069E263-CA68-447A-859F-7068DC9AF2B6}" destId="{420EBE6C-A91F-49B7-AF4C-29A127D6266A}" srcOrd="1" destOrd="0" presId="urn:microsoft.com/office/officeart/2005/8/layout/chevron1"/>
    <dgm:cxn modelId="{FE9CE116-2E5E-41B4-87D3-26D77384BC14}" type="presParOf" srcId="{2069E263-CA68-447A-859F-7068DC9AF2B6}" destId="{6C62160D-9EC9-4B84-8EFD-9C3E10FC055A}" srcOrd="2" destOrd="0" presId="urn:microsoft.com/office/officeart/2005/8/layout/chevron1"/>
    <dgm:cxn modelId="{83E28E10-579B-4F4C-BAF5-46CBEB6FDA33}" type="presParOf" srcId="{2069E263-CA68-447A-859F-7068DC9AF2B6}" destId="{6415A264-B3C7-41A6-9BA0-D0AD6AE1DACB}" srcOrd="3" destOrd="0" presId="urn:microsoft.com/office/officeart/2005/8/layout/chevron1"/>
    <dgm:cxn modelId="{3FBAE8BF-DAE2-4DC5-8FE7-A0E369BC057A}" type="presParOf" srcId="{2069E263-CA68-447A-859F-7068DC9AF2B6}" destId="{636F50A3-8EFE-4C08-B6BE-284B03274F0B}" srcOrd="4" destOrd="0" presId="urn:microsoft.com/office/officeart/2005/8/layout/chevron1"/>
    <dgm:cxn modelId="{A71C326F-94C1-4513-A335-28C6E3539DDE}" type="presParOf" srcId="{2069E263-CA68-447A-859F-7068DC9AF2B6}" destId="{B0C5D3FB-8180-4CC6-9F14-5042E96FD8E3}" srcOrd="5" destOrd="0" presId="urn:microsoft.com/office/officeart/2005/8/layout/chevron1"/>
    <dgm:cxn modelId="{836ABEAF-4287-4BC9-A232-F08ACE538AAF}" type="presParOf" srcId="{2069E263-CA68-447A-859F-7068DC9AF2B6}" destId="{6BB9B9CD-B911-4E33-8045-BE6A8D7C5B89}" srcOrd="6" destOrd="0" presId="urn:microsoft.com/office/officeart/2005/8/layout/chevron1"/>
    <dgm:cxn modelId="{4CAB1929-F06C-4C4F-B192-C0919C0DA173}" type="presParOf" srcId="{2069E263-CA68-447A-859F-7068DC9AF2B6}" destId="{60B2C4AD-8A0D-4CB2-93A9-16C6C0E4BD5B}" srcOrd="7" destOrd="0" presId="urn:microsoft.com/office/officeart/2005/8/layout/chevron1"/>
    <dgm:cxn modelId="{5D55F208-4F22-4D3D-BB5E-7F16CADEEF30}" type="presParOf" srcId="{2069E263-CA68-447A-859F-7068DC9AF2B6}" destId="{A29D7AF6-34C9-459D-B160-0F8E7686BA2B}" srcOrd="8" destOrd="0" presId="urn:microsoft.com/office/officeart/2005/8/layout/chevron1"/>
    <dgm:cxn modelId="{CBD8B216-6FE6-4BA0-9001-7923619594F9}" type="presParOf" srcId="{2069E263-CA68-447A-859F-7068DC9AF2B6}" destId="{7004503D-9639-442B-9C04-FB1247092C40}" srcOrd="9" destOrd="0" presId="urn:microsoft.com/office/officeart/2005/8/layout/chevron1"/>
    <dgm:cxn modelId="{1BE552E1-F023-44DB-A65B-4A267AEFAC7B}" type="presParOf" srcId="{2069E263-CA68-447A-859F-7068DC9AF2B6}" destId="{A2199658-E72A-4294-AFD3-6892981EEB12}" srcOrd="10" destOrd="0" presId="urn:microsoft.com/office/officeart/2005/8/layout/chevron1"/>
    <dgm:cxn modelId="{52999023-F996-4D5F-86F2-05D9573C9B1E}" type="presParOf" srcId="{2069E263-CA68-447A-859F-7068DC9AF2B6}" destId="{9B5C0F41-E4E2-4A3A-AA73-E3E4EB6ACD5E}" srcOrd="11" destOrd="0" presId="urn:microsoft.com/office/officeart/2005/8/layout/chevron1"/>
    <dgm:cxn modelId="{CFAC6AFF-05FE-42B1-BDDA-1736C676FA8D}" type="presParOf" srcId="{2069E263-CA68-447A-859F-7068DC9AF2B6}" destId="{F9C55CAF-C1A3-4EFD-AD93-3CBF7E30E2FA}" srcOrd="12" destOrd="0" presId="urn:microsoft.com/office/officeart/2005/8/layout/chevron1"/>
    <dgm:cxn modelId="{DF2673F3-EB97-4B84-A894-F1C2C828CAB7}" type="presParOf" srcId="{2069E263-CA68-447A-859F-7068DC9AF2B6}" destId="{DDB26EDE-11AF-40B7-9C16-348181381393}" srcOrd="13" destOrd="0" presId="urn:microsoft.com/office/officeart/2005/8/layout/chevron1"/>
    <dgm:cxn modelId="{D6F6AE2C-96C6-4139-81A7-DB27A5AB88FA}" type="presParOf" srcId="{2069E263-CA68-447A-859F-7068DC9AF2B6}" destId="{8CED6B9D-804A-4009-A04D-D699125D11F0}" srcOrd="14" destOrd="0" presId="urn:microsoft.com/office/officeart/2005/8/layout/chevron1"/>
    <dgm:cxn modelId="{48810539-C856-4971-AA25-BA2C213CD8B1}" type="presParOf" srcId="{2069E263-CA68-447A-859F-7068DC9AF2B6}" destId="{C3D8151F-F75F-49EC-B6A3-4B15A8912918}" srcOrd="15" destOrd="0" presId="urn:microsoft.com/office/officeart/2005/8/layout/chevron1"/>
    <dgm:cxn modelId="{F612FD2C-2800-4236-8E44-27B70B260FBE}" type="presParOf" srcId="{2069E263-CA68-447A-859F-7068DC9AF2B6}" destId="{0A5AB2D9-0A33-47A4-83C2-3990E2018CD9}" srcOrd="16" destOrd="0" presId="urn:microsoft.com/office/officeart/2005/8/layout/chevron1"/>
    <dgm:cxn modelId="{89E8137A-26A8-4BAF-AE22-22E6EDB696C5}" type="presParOf" srcId="{2069E263-CA68-447A-859F-7068DC9AF2B6}" destId="{5FE5E96A-0031-41D2-A1BE-2634D143793A}" srcOrd="17" destOrd="0" presId="urn:microsoft.com/office/officeart/2005/8/layout/chevron1"/>
    <dgm:cxn modelId="{B2407617-1AF4-47E4-B538-F76F8CE6F498}" type="presParOf" srcId="{2069E263-CA68-447A-859F-7068DC9AF2B6}" destId="{F2510710-7BA2-44B7-8AA7-1347717B483B}" srcOrd="18"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C782CD9B-2B4B-48D2-BF13-2B0D6056B78A}"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it-IT"/>
        </a:p>
      </dgm:t>
    </dgm:pt>
    <dgm:pt modelId="{DFCF748E-4FA2-4C04-B1DF-85DA1021BE5D}">
      <dgm:prSet phldrT="[Testo]"/>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Rete viaria complessiva</a:t>
          </a:r>
        </a:p>
      </dgm:t>
    </dgm:pt>
    <dgm:pt modelId="{7DAF1956-B700-4203-9672-92E4451DCC31}" type="parTrans" cxnId="{92751D9D-02E3-45C2-978C-737085227C42}">
      <dgm:prSet/>
      <dgm:spPr/>
      <dgm:t>
        <a:bodyPr/>
        <a:lstStyle/>
        <a:p>
          <a:endParaRPr lang="it-IT"/>
        </a:p>
      </dgm:t>
    </dgm:pt>
    <dgm:pt modelId="{A0ED7260-8442-4FBF-80B4-500E49A4F3AF}" type="sibTrans" cxnId="{92751D9D-02E3-45C2-978C-737085227C42}">
      <dgm:prSet/>
      <dgm:spPr/>
      <dgm:t>
        <a:bodyPr/>
        <a:lstStyle/>
        <a:p>
          <a:endParaRPr lang="it-IT"/>
        </a:p>
      </dgm:t>
    </dgm:pt>
    <dgm:pt modelId="{B754C885-66E5-4615-BD33-B6EE917A035D}">
      <dgm:prSet phldrT="[Testo]"/>
      <dgm:spPr>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dgm:spPr>
      <dgm:t>
        <a:bodyPr/>
        <a:lstStyle/>
        <a:p>
          <a:r>
            <a:rPr lang="it-IT" dirty="0"/>
            <a:t>Risorse</a:t>
          </a:r>
        </a:p>
      </dgm:t>
    </dgm:pt>
    <dgm:pt modelId="{65812F9F-DD0E-4752-BF8B-D07282594751}" type="parTrans" cxnId="{F8EA3703-CEE5-4162-AB46-CFFF8AC28B48}">
      <dgm:prSet/>
      <dgm:spPr/>
      <dgm:t>
        <a:bodyPr/>
        <a:lstStyle/>
        <a:p>
          <a:endParaRPr lang="it-IT"/>
        </a:p>
      </dgm:t>
    </dgm:pt>
    <dgm:pt modelId="{79AAED35-18A8-4347-A2B8-6AAE8B34BA56}" type="sibTrans" cxnId="{F8EA3703-CEE5-4162-AB46-CFFF8AC28B48}">
      <dgm:prSet/>
      <dgm:spPr/>
      <dgm:t>
        <a:bodyPr/>
        <a:lstStyle/>
        <a:p>
          <a:endParaRPr lang="it-IT"/>
        </a:p>
      </dgm:t>
    </dgm:pt>
    <dgm:pt modelId="{9225496C-39D8-4F53-8BB5-1B069B40EB3E}">
      <dgm:prSet phldrT="[Testo]"/>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Affidamenti</a:t>
          </a:r>
        </a:p>
      </dgm:t>
    </dgm:pt>
    <dgm:pt modelId="{D3A21DFB-000A-4FCE-9E9D-8516EBA4DD45}" type="parTrans" cxnId="{94A2B45D-2D69-4650-AFC3-C5574217F910}">
      <dgm:prSet/>
      <dgm:spPr/>
      <dgm:t>
        <a:bodyPr/>
        <a:lstStyle/>
        <a:p>
          <a:endParaRPr lang="it-IT"/>
        </a:p>
      </dgm:t>
    </dgm:pt>
    <dgm:pt modelId="{1E3F53DD-2537-4C67-AA71-87081D444A81}" type="sibTrans" cxnId="{94A2B45D-2D69-4650-AFC3-C5574217F910}">
      <dgm:prSet/>
      <dgm:spPr/>
      <dgm:t>
        <a:bodyPr/>
        <a:lstStyle/>
        <a:p>
          <a:endParaRPr lang="it-IT"/>
        </a:p>
      </dgm:t>
    </dgm:pt>
    <dgm:pt modelId="{2F442204-E894-4EB6-A3FA-953074E6D5F9}">
      <dgm:prSet phldrT="[Testo]" custT="1"/>
      <dgm:spPr>
        <a:solidFill>
          <a:schemeClr val="tx2"/>
        </a:solidFill>
      </dgm:spPr>
      <dgm:t>
        <a:bodyPr/>
        <a:lstStyle/>
        <a:p>
          <a:r>
            <a:rPr lang="it-IT" sz="700" dirty="0"/>
            <a:t>Investimenti e Produzione</a:t>
          </a:r>
        </a:p>
        <a:p>
          <a:r>
            <a:rPr lang="it-IT" sz="700" dirty="0"/>
            <a:t>MP</a:t>
          </a:r>
        </a:p>
      </dgm:t>
    </dgm:pt>
    <dgm:pt modelId="{9E6A019B-6886-407A-A3BB-1A2A8D416818}" type="parTrans" cxnId="{6FD2AE64-BDEB-482D-ACF3-1D5403180A1E}">
      <dgm:prSet/>
      <dgm:spPr/>
      <dgm:t>
        <a:bodyPr/>
        <a:lstStyle/>
        <a:p>
          <a:endParaRPr lang="it-IT"/>
        </a:p>
      </dgm:t>
    </dgm:pt>
    <dgm:pt modelId="{07F51AA8-9070-4A56-AF24-8977CF9B6A80}" type="sibTrans" cxnId="{6FD2AE64-BDEB-482D-ACF3-1D5403180A1E}">
      <dgm:prSet/>
      <dgm:spPr/>
      <dgm:t>
        <a:bodyPr/>
        <a:lstStyle/>
        <a:p>
          <a:endParaRPr lang="it-IT"/>
        </a:p>
      </dgm:t>
    </dgm:pt>
    <dgm:pt modelId="{2D51EAF0-C497-40E9-996D-2D0BC40F318C}">
      <dgm:prSet phldrT="[Testo]"/>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Pagamenti</a:t>
          </a:r>
        </a:p>
      </dgm:t>
    </dgm:pt>
    <dgm:pt modelId="{43C509B8-DD3A-429A-ADC4-232D55259B3D}" type="parTrans" cxnId="{7BC9B318-E7A6-41F3-853C-1D1DFB2050EF}">
      <dgm:prSet/>
      <dgm:spPr/>
      <dgm:t>
        <a:bodyPr/>
        <a:lstStyle/>
        <a:p>
          <a:endParaRPr lang="it-IT"/>
        </a:p>
      </dgm:t>
    </dgm:pt>
    <dgm:pt modelId="{66A12237-9546-42D0-81C0-2C324670B743}" type="sibTrans" cxnId="{7BC9B318-E7A6-41F3-853C-1D1DFB2050EF}">
      <dgm:prSet/>
      <dgm:spPr/>
      <dgm:t>
        <a:bodyPr/>
        <a:lstStyle/>
        <a:p>
          <a:endParaRPr lang="it-IT"/>
        </a:p>
      </dgm:t>
    </dgm:pt>
    <dgm:pt modelId="{72FFD339-6A5F-4ED7-B529-6155AF8C35BB}">
      <dgm:prSet/>
      <dgm:spPr>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dgm:spPr>
      <dgm:t>
        <a:bodyPr/>
        <a:lstStyle/>
        <a:p>
          <a:r>
            <a:rPr lang="it-IT" dirty="0" err="1"/>
            <a:t>soc</a:t>
          </a:r>
          <a:endParaRPr lang="it-IT" dirty="0"/>
        </a:p>
      </dgm:t>
    </dgm:pt>
    <dgm:pt modelId="{ECFEA23F-DCCD-42C6-8706-10917CE3C2B0}" type="parTrans" cxnId="{C381E8F4-D0AE-4AD0-B8F1-4BDFF55901DE}">
      <dgm:prSet/>
      <dgm:spPr/>
      <dgm:t>
        <a:bodyPr/>
        <a:lstStyle/>
        <a:p>
          <a:endParaRPr lang="it-IT"/>
        </a:p>
      </dgm:t>
    </dgm:pt>
    <dgm:pt modelId="{A3B7292F-5113-4C29-982F-BC1D14C7BE90}" type="sibTrans" cxnId="{C381E8F4-D0AE-4AD0-B8F1-4BDFF55901DE}">
      <dgm:prSet/>
      <dgm:spPr/>
      <dgm:t>
        <a:bodyPr/>
        <a:lstStyle/>
        <a:p>
          <a:endParaRPr lang="it-IT"/>
        </a:p>
      </dgm:t>
    </dgm:pt>
    <dgm:pt modelId="{A07A8528-D240-4AAE-BA81-005F6AD457F1}">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Ispezione Opere D’arte</a:t>
          </a:r>
        </a:p>
      </dgm:t>
    </dgm:pt>
    <dgm:pt modelId="{3C15A388-1B3D-47E8-B2CB-E67F7E1AFFF1}" type="parTrans" cxnId="{C9F268FB-CB20-4E78-9CDC-F035D61B7E09}">
      <dgm:prSet/>
      <dgm:spPr/>
      <dgm:t>
        <a:bodyPr/>
        <a:lstStyle/>
        <a:p>
          <a:endParaRPr lang="it-IT"/>
        </a:p>
      </dgm:t>
    </dgm:pt>
    <dgm:pt modelId="{7D0C416E-0310-43FE-A0D6-735CD62199B6}" type="sibTrans" cxnId="{C9F268FB-CB20-4E78-9CDC-F035D61B7E09}">
      <dgm:prSet/>
      <dgm:spPr/>
      <dgm:t>
        <a:bodyPr/>
        <a:lstStyle/>
        <a:p>
          <a:endParaRPr lang="it-IT"/>
        </a:p>
      </dgm:t>
    </dgm:pt>
    <dgm:pt modelId="{56EC974B-4690-4A6A-B143-36A5A9DDDB75}">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Supporto Tecnico</a:t>
          </a:r>
        </a:p>
      </dgm:t>
    </dgm:pt>
    <dgm:pt modelId="{F24B2512-EFC3-4494-92F8-F4C2A580DD56}" type="parTrans" cxnId="{FE5FBCA8-5D6F-44E5-8DFA-D24300AECCE8}">
      <dgm:prSet/>
      <dgm:spPr/>
      <dgm:t>
        <a:bodyPr/>
        <a:lstStyle/>
        <a:p>
          <a:endParaRPr lang="it-IT"/>
        </a:p>
      </dgm:t>
    </dgm:pt>
    <dgm:pt modelId="{57612FAC-3D38-4A5A-9D54-8452999285F4}" type="sibTrans" cxnId="{FE5FBCA8-5D6F-44E5-8DFA-D24300AECCE8}">
      <dgm:prSet/>
      <dgm:spPr/>
      <dgm:t>
        <a:bodyPr/>
        <a:lstStyle/>
        <a:p>
          <a:endParaRPr lang="it-IT"/>
        </a:p>
      </dgm:t>
    </dgm:pt>
    <dgm:pt modelId="{5805825E-3BC3-4961-910E-96065463977D}">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Interventi Rilevanti</a:t>
          </a:r>
        </a:p>
      </dgm:t>
    </dgm:pt>
    <dgm:pt modelId="{263FA899-3C2D-4809-A47A-DB65911293C7}" type="parTrans" cxnId="{D6C89AE1-00A8-492D-888B-1E3DDC006D86}">
      <dgm:prSet/>
      <dgm:spPr/>
      <dgm:t>
        <a:bodyPr/>
        <a:lstStyle/>
        <a:p>
          <a:endParaRPr lang="it-IT"/>
        </a:p>
      </dgm:t>
    </dgm:pt>
    <dgm:pt modelId="{B58F1702-0059-4F53-9A60-77242457BBFA}" type="sibTrans" cxnId="{D6C89AE1-00A8-492D-888B-1E3DDC006D86}">
      <dgm:prSet/>
      <dgm:spPr/>
      <dgm:t>
        <a:bodyPr/>
        <a:lstStyle/>
        <a:p>
          <a:endParaRPr lang="it-IT"/>
        </a:p>
      </dgm:t>
    </dgm:pt>
    <dgm:pt modelId="{7A5D9CDD-E10F-422D-808B-815C691EF2E8}">
      <dgm:prSet phldrT="[Testo]" custT="1"/>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sz="700" dirty="0"/>
            <a:t>Investimenti e Produzione</a:t>
          </a:r>
        </a:p>
        <a:p>
          <a:r>
            <a:rPr lang="it-IT" sz="700" dirty="0"/>
            <a:t>NO</a:t>
          </a:r>
        </a:p>
      </dgm:t>
    </dgm:pt>
    <dgm:pt modelId="{089AE963-8402-4F38-908B-1CA814F78766}" type="parTrans" cxnId="{BEDD267B-EA80-4783-A782-86B96AAC5B03}">
      <dgm:prSet/>
      <dgm:spPr/>
      <dgm:t>
        <a:bodyPr/>
        <a:lstStyle/>
        <a:p>
          <a:endParaRPr lang="it-IT"/>
        </a:p>
      </dgm:t>
    </dgm:pt>
    <dgm:pt modelId="{63A1392B-D9B4-4604-ACED-CDD4B7E19D6E}" type="sibTrans" cxnId="{BEDD267B-EA80-4783-A782-86B96AAC5B03}">
      <dgm:prSet/>
      <dgm:spPr/>
      <dgm:t>
        <a:bodyPr/>
        <a:lstStyle/>
        <a:p>
          <a:endParaRPr lang="it-IT"/>
        </a:p>
      </dgm:t>
    </dgm:pt>
    <dgm:pt modelId="{2069E263-CA68-447A-859F-7068DC9AF2B6}" type="pres">
      <dgm:prSet presAssocID="{C782CD9B-2B4B-48D2-BF13-2B0D6056B78A}" presName="Name0" presStyleCnt="0">
        <dgm:presLayoutVars>
          <dgm:dir/>
          <dgm:animLvl val="lvl"/>
          <dgm:resizeHandles val="exact"/>
        </dgm:presLayoutVars>
      </dgm:prSet>
      <dgm:spPr/>
    </dgm:pt>
    <dgm:pt modelId="{F7031506-3856-48AD-BFC1-89D9660F7FF7}" type="pres">
      <dgm:prSet presAssocID="{DFCF748E-4FA2-4C04-B1DF-85DA1021BE5D}" presName="parTxOnly" presStyleLbl="node1" presStyleIdx="0" presStyleCnt="10">
        <dgm:presLayoutVars>
          <dgm:chMax val="0"/>
          <dgm:chPref val="0"/>
          <dgm:bulletEnabled val="1"/>
        </dgm:presLayoutVars>
      </dgm:prSet>
      <dgm:spPr/>
    </dgm:pt>
    <dgm:pt modelId="{420EBE6C-A91F-49B7-AF4C-29A127D6266A}" type="pres">
      <dgm:prSet presAssocID="{A0ED7260-8442-4FBF-80B4-500E49A4F3AF}" presName="parTxOnlySpace" presStyleCnt="0"/>
      <dgm:spPr/>
    </dgm:pt>
    <dgm:pt modelId="{6C62160D-9EC9-4B84-8EFD-9C3E10FC055A}" type="pres">
      <dgm:prSet presAssocID="{B754C885-66E5-4615-BD33-B6EE917A035D}" presName="parTxOnly" presStyleLbl="node1" presStyleIdx="1" presStyleCnt="10">
        <dgm:presLayoutVars>
          <dgm:chMax val="0"/>
          <dgm:chPref val="0"/>
          <dgm:bulletEnabled val="1"/>
        </dgm:presLayoutVars>
      </dgm:prSet>
      <dgm:spPr/>
    </dgm:pt>
    <dgm:pt modelId="{6415A264-B3C7-41A6-9BA0-D0AD6AE1DACB}" type="pres">
      <dgm:prSet presAssocID="{79AAED35-18A8-4347-A2B8-6AAE8B34BA56}" presName="parTxOnlySpace" presStyleCnt="0"/>
      <dgm:spPr/>
    </dgm:pt>
    <dgm:pt modelId="{636F50A3-8EFE-4C08-B6BE-284B03274F0B}" type="pres">
      <dgm:prSet presAssocID="{72FFD339-6A5F-4ED7-B529-6155AF8C35BB}" presName="parTxOnly" presStyleLbl="node1" presStyleIdx="2" presStyleCnt="10">
        <dgm:presLayoutVars>
          <dgm:chMax val="0"/>
          <dgm:chPref val="0"/>
          <dgm:bulletEnabled val="1"/>
        </dgm:presLayoutVars>
      </dgm:prSet>
      <dgm:spPr/>
    </dgm:pt>
    <dgm:pt modelId="{B0C5D3FB-8180-4CC6-9F14-5042E96FD8E3}" type="pres">
      <dgm:prSet presAssocID="{A3B7292F-5113-4C29-982F-BC1D14C7BE90}" presName="parTxOnlySpace" presStyleCnt="0"/>
      <dgm:spPr/>
    </dgm:pt>
    <dgm:pt modelId="{6BB9B9CD-B911-4E33-8045-BE6A8D7C5B89}" type="pres">
      <dgm:prSet presAssocID="{9225496C-39D8-4F53-8BB5-1B069B40EB3E}" presName="parTxOnly" presStyleLbl="node1" presStyleIdx="3" presStyleCnt="10">
        <dgm:presLayoutVars>
          <dgm:chMax val="0"/>
          <dgm:chPref val="0"/>
          <dgm:bulletEnabled val="1"/>
        </dgm:presLayoutVars>
      </dgm:prSet>
      <dgm:spPr/>
    </dgm:pt>
    <dgm:pt modelId="{60B2C4AD-8A0D-4CB2-93A9-16C6C0E4BD5B}" type="pres">
      <dgm:prSet presAssocID="{1E3F53DD-2537-4C67-AA71-87081D444A81}" presName="parTxOnlySpace" presStyleCnt="0"/>
      <dgm:spPr/>
    </dgm:pt>
    <dgm:pt modelId="{A29D7AF6-34C9-459D-B160-0F8E7686BA2B}" type="pres">
      <dgm:prSet presAssocID="{2F442204-E894-4EB6-A3FA-953074E6D5F9}" presName="parTxOnly" presStyleLbl="node1" presStyleIdx="4" presStyleCnt="10">
        <dgm:presLayoutVars>
          <dgm:chMax val="0"/>
          <dgm:chPref val="0"/>
          <dgm:bulletEnabled val="1"/>
        </dgm:presLayoutVars>
      </dgm:prSet>
      <dgm:spPr/>
    </dgm:pt>
    <dgm:pt modelId="{7004503D-9639-442B-9C04-FB1247092C40}" type="pres">
      <dgm:prSet presAssocID="{07F51AA8-9070-4A56-AF24-8977CF9B6A80}" presName="parTxOnlySpace" presStyleCnt="0"/>
      <dgm:spPr/>
    </dgm:pt>
    <dgm:pt modelId="{A2199658-E72A-4294-AFD3-6892981EEB12}" type="pres">
      <dgm:prSet presAssocID="{7A5D9CDD-E10F-422D-808B-815C691EF2E8}" presName="parTxOnly" presStyleLbl="node1" presStyleIdx="5" presStyleCnt="10">
        <dgm:presLayoutVars>
          <dgm:chMax val="0"/>
          <dgm:chPref val="0"/>
          <dgm:bulletEnabled val="1"/>
        </dgm:presLayoutVars>
      </dgm:prSet>
      <dgm:spPr/>
    </dgm:pt>
    <dgm:pt modelId="{9B5C0F41-E4E2-4A3A-AA73-E3E4EB6ACD5E}" type="pres">
      <dgm:prSet presAssocID="{63A1392B-D9B4-4604-ACED-CDD4B7E19D6E}" presName="parTxOnlySpace" presStyleCnt="0"/>
      <dgm:spPr/>
    </dgm:pt>
    <dgm:pt modelId="{F9C55CAF-C1A3-4EFD-AD93-3CBF7E30E2FA}" type="pres">
      <dgm:prSet presAssocID="{56EC974B-4690-4A6A-B143-36A5A9DDDB75}" presName="parTxOnly" presStyleLbl="node1" presStyleIdx="6" presStyleCnt="10">
        <dgm:presLayoutVars>
          <dgm:chMax val="0"/>
          <dgm:chPref val="0"/>
          <dgm:bulletEnabled val="1"/>
        </dgm:presLayoutVars>
      </dgm:prSet>
      <dgm:spPr/>
    </dgm:pt>
    <dgm:pt modelId="{DDB26EDE-11AF-40B7-9C16-348181381393}" type="pres">
      <dgm:prSet presAssocID="{57612FAC-3D38-4A5A-9D54-8452999285F4}" presName="parTxOnlySpace" presStyleCnt="0"/>
      <dgm:spPr/>
    </dgm:pt>
    <dgm:pt modelId="{8CED6B9D-804A-4009-A04D-D699125D11F0}" type="pres">
      <dgm:prSet presAssocID="{A07A8528-D240-4AAE-BA81-005F6AD457F1}" presName="parTxOnly" presStyleLbl="node1" presStyleIdx="7" presStyleCnt="10">
        <dgm:presLayoutVars>
          <dgm:chMax val="0"/>
          <dgm:chPref val="0"/>
          <dgm:bulletEnabled val="1"/>
        </dgm:presLayoutVars>
      </dgm:prSet>
      <dgm:spPr/>
    </dgm:pt>
    <dgm:pt modelId="{C3D8151F-F75F-49EC-B6A3-4B15A8912918}" type="pres">
      <dgm:prSet presAssocID="{7D0C416E-0310-43FE-A0D6-735CD62199B6}" presName="parTxOnlySpace" presStyleCnt="0"/>
      <dgm:spPr/>
    </dgm:pt>
    <dgm:pt modelId="{0A5AB2D9-0A33-47A4-83C2-3990E2018CD9}" type="pres">
      <dgm:prSet presAssocID="{5805825E-3BC3-4961-910E-96065463977D}" presName="parTxOnly" presStyleLbl="node1" presStyleIdx="8" presStyleCnt="10">
        <dgm:presLayoutVars>
          <dgm:chMax val="0"/>
          <dgm:chPref val="0"/>
          <dgm:bulletEnabled val="1"/>
        </dgm:presLayoutVars>
      </dgm:prSet>
      <dgm:spPr/>
    </dgm:pt>
    <dgm:pt modelId="{5FE5E96A-0031-41D2-A1BE-2634D143793A}" type="pres">
      <dgm:prSet presAssocID="{B58F1702-0059-4F53-9A60-77242457BBFA}" presName="parTxOnlySpace" presStyleCnt="0"/>
      <dgm:spPr/>
    </dgm:pt>
    <dgm:pt modelId="{F2510710-7BA2-44B7-8AA7-1347717B483B}" type="pres">
      <dgm:prSet presAssocID="{2D51EAF0-C497-40E9-996D-2D0BC40F318C}" presName="parTxOnly" presStyleLbl="node1" presStyleIdx="9" presStyleCnt="10">
        <dgm:presLayoutVars>
          <dgm:chMax val="0"/>
          <dgm:chPref val="0"/>
          <dgm:bulletEnabled val="1"/>
        </dgm:presLayoutVars>
      </dgm:prSet>
      <dgm:spPr/>
    </dgm:pt>
  </dgm:ptLst>
  <dgm:cxnLst>
    <dgm:cxn modelId="{F8EA3703-CEE5-4162-AB46-CFFF8AC28B48}" srcId="{C782CD9B-2B4B-48D2-BF13-2B0D6056B78A}" destId="{B754C885-66E5-4615-BD33-B6EE917A035D}" srcOrd="1" destOrd="0" parTransId="{65812F9F-DD0E-4752-BF8B-D07282594751}" sibTransId="{79AAED35-18A8-4347-A2B8-6AAE8B34BA56}"/>
    <dgm:cxn modelId="{8A23FB03-2569-4283-8AA5-E131008F9012}" type="presOf" srcId="{5805825E-3BC3-4961-910E-96065463977D}" destId="{0A5AB2D9-0A33-47A4-83C2-3990E2018CD9}" srcOrd="0" destOrd="0" presId="urn:microsoft.com/office/officeart/2005/8/layout/chevron1"/>
    <dgm:cxn modelId="{87F9A90D-114A-408E-8107-72CEAA5F8237}" type="presOf" srcId="{56EC974B-4690-4A6A-B143-36A5A9DDDB75}" destId="{F9C55CAF-C1A3-4EFD-AD93-3CBF7E30E2FA}" srcOrd="0" destOrd="0" presId="urn:microsoft.com/office/officeart/2005/8/layout/chevron1"/>
    <dgm:cxn modelId="{7BC9B318-E7A6-41F3-853C-1D1DFB2050EF}" srcId="{C782CD9B-2B4B-48D2-BF13-2B0D6056B78A}" destId="{2D51EAF0-C497-40E9-996D-2D0BC40F318C}" srcOrd="9" destOrd="0" parTransId="{43C509B8-DD3A-429A-ADC4-232D55259B3D}" sibTransId="{66A12237-9546-42D0-81C0-2C324670B743}"/>
    <dgm:cxn modelId="{9A5FF520-FF4F-4E10-82B4-E47F86958B81}" type="presOf" srcId="{2F442204-E894-4EB6-A3FA-953074E6D5F9}" destId="{A29D7AF6-34C9-459D-B160-0F8E7686BA2B}" srcOrd="0" destOrd="0" presId="urn:microsoft.com/office/officeart/2005/8/layout/chevron1"/>
    <dgm:cxn modelId="{42392430-394E-4016-B7AA-37541C37BAA1}" type="presOf" srcId="{A07A8528-D240-4AAE-BA81-005F6AD457F1}" destId="{8CED6B9D-804A-4009-A04D-D699125D11F0}" srcOrd="0" destOrd="0" presId="urn:microsoft.com/office/officeart/2005/8/layout/chevron1"/>
    <dgm:cxn modelId="{94A2B45D-2D69-4650-AFC3-C5574217F910}" srcId="{C782CD9B-2B4B-48D2-BF13-2B0D6056B78A}" destId="{9225496C-39D8-4F53-8BB5-1B069B40EB3E}" srcOrd="3" destOrd="0" parTransId="{D3A21DFB-000A-4FCE-9E9D-8516EBA4DD45}" sibTransId="{1E3F53DD-2537-4C67-AA71-87081D444A81}"/>
    <dgm:cxn modelId="{2018415F-A3F6-4120-919B-1A33924395F7}" type="presOf" srcId="{7A5D9CDD-E10F-422D-808B-815C691EF2E8}" destId="{A2199658-E72A-4294-AFD3-6892981EEB12}" srcOrd="0" destOrd="0" presId="urn:microsoft.com/office/officeart/2005/8/layout/chevron1"/>
    <dgm:cxn modelId="{4CB30864-778E-40F7-9F48-37007F8F3C83}" type="presOf" srcId="{C782CD9B-2B4B-48D2-BF13-2B0D6056B78A}" destId="{2069E263-CA68-447A-859F-7068DC9AF2B6}" srcOrd="0" destOrd="0" presId="urn:microsoft.com/office/officeart/2005/8/layout/chevron1"/>
    <dgm:cxn modelId="{6FD2AE64-BDEB-482D-ACF3-1D5403180A1E}" srcId="{C782CD9B-2B4B-48D2-BF13-2B0D6056B78A}" destId="{2F442204-E894-4EB6-A3FA-953074E6D5F9}" srcOrd="4" destOrd="0" parTransId="{9E6A019B-6886-407A-A3BB-1A2A8D416818}" sibTransId="{07F51AA8-9070-4A56-AF24-8977CF9B6A80}"/>
    <dgm:cxn modelId="{BEDD267B-EA80-4783-A782-86B96AAC5B03}" srcId="{C782CD9B-2B4B-48D2-BF13-2B0D6056B78A}" destId="{7A5D9CDD-E10F-422D-808B-815C691EF2E8}" srcOrd="5" destOrd="0" parTransId="{089AE963-8402-4F38-908B-1CA814F78766}" sibTransId="{63A1392B-D9B4-4604-ACED-CDD4B7E19D6E}"/>
    <dgm:cxn modelId="{92751D9D-02E3-45C2-978C-737085227C42}" srcId="{C782CD9B-2B4B-48D2-BF13-2B0D6056B78A}" destId="{DFCF748E-4FA2-4C04-B1DF-85DA1021BE5D}" srcOrd="0" destOrd="0" parTransId="{7DAF1956-B700-4203-9672-92E4451DCC31}" sibTransId="{A0ED7260-8442-4FBF-80B4-500E49A4F3AF}"/>
    <dgm:cxn modelId="{1F9DDCA7-CF72-4839-B85F-18A268EFAF2F}" type="presOf" srcId="{9225496C-39D8-4F53-8BB5-1B069B40EB3E}" destId="{6BB9B9CD-B911-4E33-8045-BE6A8D7C5B89}" srcOrd="0" destOrd="0" presId="urn:microsoft.com/office/officeart/2005/8/layout/chevron1"/>
    <dgm:cxn modelId="{FE5FBCA8-5D6F-44E5-8DFA-D24300AECCE8}" srcId="{C782CD9B-2B4B-48D2-BF13-2B0D6056B78A}" destId="{56EC974B-4690-4A6A-B143-36A5A9DDDB75}" srcOrd="6" destOrd="0" parTransId="{F24B2512-EFC3-4494-92F8-F4C2A580DD56}" sibTransId="{57612FAC-3D38-4A5A-9D54-8452999285F4}"/>
    <dgm:cxn modelId="{7961B9B2-3BAB-4FA6-BD8E-07F26FCAE479}" type="presOf" srcId="{72FFD339-6A5F-4ED7-B529-6155AF8C35BB}" destId="{636F50A3-8EFE-4C08-B6BE-284B03274F0B}" srcOrd="0" destOrd="0" presId="urn:microsoft.com/office/officeart/2005/8/layout/chevron1"/>
    <dgm:cxn modelId="{5DF7BEBF-362F-498E-ADC7-9A7407182BDA}" type="presOf" srcId="{B754C885-66E5-4615-BD33-B6EE917A035D}" destId="{6C62160D-9EC9-4B84-8EFD-9C3E10FC055A}" srcOrd="0" destOrd="0" presId="urn:microsoft.com/office/officeart/2005/8/layout/chevron1"/>
    <dgm:cxn modelId="{C6F739DF-F6B4-4BBA-835E-42450679E9AF}" type="presOf" srcId="{DFCF748E-4FA2-4C04-B1DF-85DA1021BE5D}" destId="{F7031506-3856-48AD-BFC1-89D9660F7FF7}" srcOrd="0" destOrd="0" presId="urn:microsoft.com/office/officeart/2005/8/layout/chevron1"/>
    <dgm:cxn modelId="{9407EAE0-0DFB-4D73-B978-C6457E73A8E0}" type="presOf" srcId="{2D51EAF0-C497-40E9-996D-2D0BC40F318C}" destId="{F2510710-7BA2-44B7-8AA7-1347717B483B}" srcOrd="0" destOrd="0" presId="urn:microsoft.com/office/officeart/2005/8/layout/chevron1"/>
    <dgm:cxn modelId="{D6C89AE1-00A8-492D-888B-1E3DDC006D86}" srcId="{C782CD9B-2B4B-48D2-BF13-2B0D6056B78A}" destId="{5805825E-3BC3-4961-910E-96065463977D}" srcOrd="8" destOrd="0" parTransId="{263FA899-3C2D-4809-A47A-DB65911293C7}" sibTransId="{B58F1702-0059-4F53-9A60-77242457BBFA}"/>
    <dgm:cxn modelId="{C381E8F4-D0AE-4AD0-B8F1-4BDFF55901DE}" srcId="{C782CD9B-2B4B-48D2-BF13-2B0D6056B78A}" destId="{72FFD339-6A5F-4ED7-B529-6155AF8C35BB}" srcOrd="2" destOrd="0" parTransId="{ECFEA23F-DCCD-42C6-8706-10917CE3C2B0}" sibTransId="{A3B7292F-5113-4C29-982F-BC1D14C7BE90}"/>
    <dgm:cxn modelId="{C9F268FB-CB20-4E78-9CDC-F035D61B7E09}" srcId="{C782CD9B-2B4B-48D2-BF13-2B0D6056B78A}" destId="{A07A8528-D240-4AAE-BA81-005F6AD457F1}" srcOrd="7" destOrd="0" parTransId="{3C15A388-1B3D-47E8-B2CB-E67F7E1AFFF1}" sibTransId="{7D0C416E-0310-43FE-A0D6-735CD62199B6}"/>
    <dgm:cxn modelId="{6A2E068A-708D-42FA-9AF4-30A7A3E305A0}" type="presParOf" srcId="{2069E263-CA68-447A-859F-7068DC9AF2B6}" destId="{F7031506-3856-48AD-BFC1-89D9660F7FF7}" srcOrd="0" destOrd="0" presId="urn:microsoft.com/office/officeart/2005/8/layout/chevron1"/>
    <dgm:cxn modelId="{1221514A-56C3-41A3-89D9-98F5E48D4790}" type="presParOf" srcId="{2069E263-CA68-447A-859F-7068DC9AF2B6}" destId="{420EBE6C-A91F-49B7-AF4C-29A127D6266A}" srcOrd="1" destOrd="0" presId="urn:microsoft.com/office/officeart/2005/8/layout/chevron1"/>
    <dgm:cxn modelId="{04714914-C46D-463D-AB1B-68D684AE421B}" type="presParOf" srcId="{2069E263-CA68-447A-859F-7068DC9AF2B6}" destId="{6C62160D-9EC9-4B84-8EFD-9C3E10FC055A}" srcOrd="2" destOrd="0" presId="urn:microsoft.com/office/officeart/2005/8/layout/chevron1"/>
    <dgm:cxn modelId="{DC830624-AC09-46F8-8BED-D30D1ED629A7}" type="presParOf" srcId="{2069E263-CA68-447A-859F-7068DC9AF2B6}" destId="{6415A264-B3C7-41A6-9BA0-D0AD6AE1DACB}" srcOrd="3" destOrd="0" presId="urn:microsoft.com/office/officeart/2005/8/layout/chevron1"/>
    <dgm:cxn modelId="{B0A2D67C-F5FE-42C2-BC2B-5AE0E76152EB}" type="presParOf" srcId="{2069E263-CA68-447A-859F-7068DC9AF2B6}" destId="{636F50A3-8EFE-4C08-B6BE-284B03274F0B}" srcOrd="4" destOrd="0" presId="urn:microsoft.com/office/officeart/2005/8/layout/chevron1"/>
    <dgm:cxn modelId="{40C55F95-5E9F-449B-873F-80E8F2B34A4C}" type="presParOf" srcId="{2069E263-CA68-447A-859F-7068DC9AF2B6}" destId="{B0C5D3FB-8180-4CC6-9F14-5042E96FD8E3}" srcOrd="5" destOrd="0" presId="urn:microsoft.com/office/officeart/2005/8/layout/chevron1"/>
    <dgm:cxn modelId="{4DA74BF3-FAA6-445E-8DDC-481B1CE23825}" type="presParOf" srcId="{2069E263-CA68-447A-859F-7068DC9AF2B6}" destId="{6BB9B9CD-B911-4E33-8045-BE6A8D7C5B89}" srcOrd="6" destOrd="0" presId="urn:microsoft.com/office/officeart/2005/8/layout/chevron1"/>
    <dgm:cxn modelId="{7250C968-2E67-4C56-90AA-7AC735AF8162}" type="presParOf" srcId="{2069E263-CA68-447A-859F-7068DC9AF2B6}" destId="{60B2C4AD-8A0D-4CB2-93A9-16C6C0E4BD5B}" srcOrd="7" destOrd="0" presId="urn:microsoft.com/office/officeart/2005/8/layout/chevron1"/>
    <dgm:cxn modelId="{7AC77259-6CA2-441A-A429-AF534CC35BD2}" type="presParOf" srcId="{2069E263-CA68-447A-859F-7068DC9AF2B6}" destId="{A29D7AF6-34C9-459D-B160-0F8E7686BA2B}" srcOrd="8" destOrd="0" presId="urn:microsoft.com/office/officeart/2005/8/layout/chevron1"/>
    <dgm:cxn modelId="{FB8D3F8F-BFD3-41EF-9CA3-2E1396EAF247}" type="presParOf" srcId="{2069E263-CA68-447A-859F-7068DC9AF2B6}" destId="{7004503D-9639-442B-9C04-FB1247092C40}" srcOrd="9" destOrd="0" presId="urn:microsoft.com/office/officeart/2005/8/layout/chevron1"/>
    <dgm:cxn modelId="{D82EBA25-EA6B-4955-9046-9EE18EEA3FE9}" type="presParOf" srcId="{2069E263-CA68-447A-859F-7068DC9AF2B6}" destId="{A2199658-E72A-4294-AFD3-6892981EEB12}" srcOrd="10" destOrd="0" presId="urn:microsoft.com/office/officeart/2005/8/layout/chevron1"/>
    <dgm:cxn modelId="{FE7253CE-F17F-4E0A-AB21-BBAB2007093D}" type="presParOf" srcId="{2069E263-CA68-447A-859F-7068DC9AF2B6}" destId="{9B5C0F41-E4E2-4A3A-AA73-E3E4EB6ACD5E}" srcOrd="11" destOrd="0" presId="urn:microsoft.com/office/officeart/2005/8/layout/chevron1"/>
    <dgm:cxn modelId="{5A39E76C-807E-43D6-BB65-0755092CEC3A}" type="presParOf" srcId="{2069E263-CA68-447A-859F-7068DC9AF2B6}" destId="{F9C55CAF-C1A3-4EFD-AD93-3CBF7E30E2FA}" srcOrd="12" destOrd="0" presId="urn:microsoft.com/office/officeart/2005/8/layout/chevron1"/>
    <dgm:cxn modelId="{1D381CD2-929F-4A86-A09C-C3AE78754C69}" type="presParOf" srcId="{2069E263-CA68-447A-859F-7068DC9AF2B6}" destId="{DDB26EDE-11AF-40B7-9C16-348181381393}" srcOrd="13" destOrd="0" presId="urn:microsoft.com/office/officeart/2005/8/layout/chevron1"/>
    <dgm:cxn modelId="{4C6B1037-D421-498B-B0B7-BE3CAD52D794}" type="presParOf" srcId="{2069E263-CA68-447A-859F-7068DC9AF2B6}" destId="{8CED6B9D-804A-4009-A04D-D699125D11F0}" srcOrd="14" destOrd="0" presId="urn:microsoft.com/office/officeart/2005/8/layout/chevron1"/>
    <dgm:cxn modelId="{1CE3DE84-D06A-4899-83D7-62CAE15885E2}" type="presParOf" srcId="{2069E263-CA68-447A-859F-7068DC9AF2B6}" destId="{C3D8151F-F75F-49EC-B6A3-4B15A8912918}" srcOrd="15" destOrd="0" presId="urn:microsoft.com/office/officeart/2005/8/layout/chevron1"/>
    <dgm:cxn modelId="{DB161B24-B951-450F-9123-DF9946412C1C}" type="presParOf" srcId="{2069E263-CA68-447A-859F-7068DC9AF2B6}" destId="{0A5AB2D9-0A33-47A4-83C2-3990E2018CD9}" srcOrd="16" destOrd="0" presId="urn:microsoft.com/office/officeart/2005/8/layout/chevron1"/>
    <dgm:cxn modelId="{442EB34F-8423-461B-B55A-1D1570C688B1}" type="presParOf" srcId="{2069E263-CA68-447A-859F-7068DC9AF2B6}" destId="{5FE5E96A-0031-41D2-A1BE-2634D143793A}" srcOrd="17" destOrd="0" presId="urn:microsoft.com/office/officeart/2005/8/layout/chevron1"/>
    <dgm:cxn modelId="{B6A3FE7F-CFF8-44AF-892A-F4FCD204D884}" type="presParOf" srcId="{2069E263-CA68-447A-859F-7068DC9AF2B6}" destId="{F2510710-7BA2-44B7-8AA7-1347717B483B}" srcOrd="18"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C782CD9B-2B4B-48D2-BF13-2B0D6056B78A}"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it-IT"/>
        </a:p>
      </dgm:t>
    </dgm:pt>
    <dgm:pt modelId="{DFCF748E-4FA2-4C04-B1DF-85DA1021BE5D}">
      <dgm:prSet phldrT="[Testo]"/>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Rete viaria complessiva</a:t>
          </a:r>
        </a:p>
      </dgm:t>
    </dgm:pt>
    <dgm:pt modelId="{7DAF1956-B700-4203-9672-92E4451DCC31}" type="parTrans" cxnId="{92751D9D-02E3-45C2-978C-737085227C42}">
      <dgm:prSet/>
      <dgm:spPr/>
      <dgm:t>
        <a:bodyPr/>
        <a:lstStyle/>
        <a:p>
          <a:endParaRPr lang="it-IT"/>
        </a:p>
      </dgm:t>
    </dgm:pt>
    <dgm:pt modelId="{A0ED7260-8442-4FBF-80B4-500E49A4F3AF}" type="sibTrans" cxnId="{92751D9D-02E3-45C2-978C-737085227C42}">
      <dgm:prSet/>
      <dgm:spPr/>
      <dgm:t>
        <a:bodyPr/>
        <a:lstStyle/>
        <a:p>
          <a:endParaRPr lang="it-IT"/>
        </a:p>
      </dgm:t>
    </dgm:pt>
    <dgm:pt modelId="{B754C885-66E5-4615-BD33-B6EE917A035D}">
      <dgm:prSet phldrT="[Testo]"/>
      <dgm:spPr>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dgm:spPr>
      <dgm:t>
        <a:bodyPr/>
        <a:lstStyle/>
        <a:p>
          <a:r>
            <a:rPr lang="it-IT" dirty="0"/>
            <a:t>Risorse</a:t>
          </a:r>
        </a:p>
      </dgm:t>
    </dgm:pt>
    <dgm:pt modelId="{65812F9F-DD0E-4752-BF8B-D07282594751}" type="parTrans" cxnId="{F8EA3703-CEE5-4162-AB46-CFFF8AC28B48}">
      <dgm:prSet/>
      <dgm:spPr/>
      <dgm:t>
        <a:bodyPr/>
        <a:lstStyle/>
        <a:p>
          <a:endParaRPr lang="it-IT"/>
        </a:p>
      </dgm:t>
    </dgm:pt>
    <dgm:pt modelId="{79AAED35-18A8-4347-A2B8-6AAE8B34BA56}" type="sibTrans" cxnId="{F8EA3703-CEE5-4162-AB46-CFFF8AC28B48}">
      <dgm:prSet/>
      <dgm:spPr/>
      <dgm:t>
        <a:bodyPr/>
        <a:lstStyle/>
        <a:p>
          <a:endParaRPr lang="it-IT"/>
        </a:p>
      </dgm:t>
    </dgm:pt>
    <dgm:pt modelId="{9225496C-39D8-4F53-8BB5-1B069B40EB3E}">
      <dgm:prSet phldrT="[Testo]"/>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Affidamenti</a:t>
          </a:r>
        </a:p>
      </dgm:t>
    </dgm:pt>
    <dgm:pt modelId="{D3A21DFB-000A-4FCE-9E9D-8516EBA4DD45}" type="parTrans" cxnId="{94A2B45D-2D69-4650-AFC3-C5574217F910}">
      <dgm:prSet/>
      <dgm:spPr/>
      <dgm:t>
        <a:bodyPr/>
        <a:lstStyle/>
        <a:p>
          <a:endParaRPr lang="it-IT"/>
        </a:p>
      </dgm:t>
    </dgm:pt>
    <dgm:pt modelId="{1E3F53DD-2537-4C67-AA71-87081D444A81}" type="sibTrans" cxnId="{94A2B45D-2D69-4650-AFC3-C5574217F910}">
      <dgm:prSet/>
      <dgm:spPr/>
      <dgm:t>
        <a:bodyPr/>
        <a:lstStyle/>
        <a:p>
          <a:endParaRPr lang="it-IT"/>
        </a:p>
      </dgm:t>
    </dgm:pt>
    <dgm:pt modelId="{2F442204-E894-4EB6-A3FA-953074E6D5F9}">
      <dgm:prSet phldrT="[Testo]" custT="1"/>
      <dgm:spPr>
        <a:solidFill>
          <a:schemeClr val="tx2"/>
        </a:solidFill>
      </dgm:spPr>
      <dgm:t>
        <a:bodyPr/>
        <a:lstStyle/>
        <a:p>
          <a:r>
            <a:rPr lang="it-IT" sz="700" dirty="0"/>
            <a:t>Investimenti e Produzione</a:t>
          </a:r>
        </a:p>
        <a:p>
          <a:r>
            <a:rPr lang="it-IT" sz="700" dirty="0"/>
            <a:t>MP</a:t>
          </a:r>
        </a:p>
      </dgm:t>
    </dgm:pt>
    <dgm:pt modelId="{9E6A019B-6886-407A-A3BB-1A2A8D416818}" type="parTrans" cxnId="{6FD2AE64-BDEB-482D-ACF3-1D5403180A1E}">
      <dgm:prSet/>
      <dgm:spPr/>
      <dgm:t>
        <a:bodyPr/>
        <a:lstStyle/>
        <a:p>
          <a:endParaRPr lang="it-IT"/>
        </a:p>
      </dgm:t>
    </dgm:pt>
    <dgm:pt modelId="{07F51AA8-9070-4A56-AF24-8977CF9B6A80}" type="sibTrans" cxnId="{6FD2AE64-BDEB-482D-ACF3-1D5403180A1E}">
      <dgm:prSet/>
      <dgm:spPr/>
      <dgm:t>
        <a:bodyPr/>
        <a:lstStyle/>
        <a:p>
          <a:endParaRPr lang="it-IT"/>
        </a:p>
      </dgm:t>
    </dgm:pt>
    <dgm:pt modelId="{2D51EAF0-C497-40E9-996D-2D0BC40F318C}">
      <dgm:prSet phldrT="[Testo]"/>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Pagamenti</a:t>
          </a:r>
        </a:p>
      </dgm:t>
    </dgm:pt>
    <dgm:pt modelId="{43C509B8-DD3A-429A-ADC4-232D55259B3D}" type="parTrans" cxnId="{7BC9B318-E7A6-41F3-853C-1D1DFB2050EF}">
      <dgm:prSet/>
      <dgm:spPr/>
      <dgm:t>
        <a:bodyPr/>
        <a:lstStyle/>
        <a:p>
          <a:endParaRPr lang="it-IT"/>
        </a:p>
      </dgm:t>
    </dgm:pt>
    <dgm:pt modelId="{66A12237-9546-42D0-81C0-2C324670B743}" type="sibTrans" cxnId="{7BC9B318-E7A6-41F3-853C-1D1DFB2050EF}">
      <dgm:prSet/>
      <dgm:spPr/>
      <dgm:t>
        <a:bodyPr/>
        <a:lstStyle/>
        <a:p>
          <a:endParaRPr lang="it-IT"/>
        </a:p>
      </dgm:t>
    </dgm:pt>
    <dgm:pt modelId="{72FFD339-6A5F-4ED7-B529-6155AF8C35BB}">
      <dgm:prSet/>
      <dgm:spPr>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dgm:spPr>
      <dgm:t>
        <a:bodyPr/>
        <a:lstStyle/>
        <a:p>
          <a:r>
            <a:rPr lang="it-IT" dirty="0" err="1"/>
            <a:t>soc</a:t>
          </a:r>
          <a:endParaRPr lang="it-IT" dirty="0"/>
        </a:p>
      </dgm:t>
    </dgm:pt>
    <dgm:pt modelId="{ECFEA23F-DCCD-42C6-8706-10917CE3C2B0}" type="parTrans" cxnId="{C381E8F4-D0AE-4AD0-B8F1-4BDFF55901DE}">
      <dgm:prSet/>
      <dgm:spPr/>
      <dgm:t>
        <a:bodyPr/>
        <a:lstStyle/>
        <a:p>
          <a:endParaRPr lang="it-IT"/>
        </a:p>
      </dgm:t>
    </dgm:pt>
    <dgm:pt modelId="{A3B7292F-5113-4C29-982F-BC1D14C7BE90}" type="sibTrans" cxnId="{C381E8F4-D0AE-4AD0-B8F1-4BDFF55901DE}">
      <dgm:prSet/>
      <dgm:spPr/>
      <dgm:t>
        <a:bodyPr/>
        <a:lstStyle/>
        <a:p>
          <a:endParaRPr lang="it-IT"/>
        </a:p>
      </dgm:t>
    </dgm:pt>
    <dgm:pt modelId="{A07A8528-D240-4AAE-BA81-005F6AD457F1}">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Ispezione Opere D’arte</a:t>
          </a:r>
        </a:p>
      </dgm:t>
    </dgm:pt>
    <dgm:pt modelId="{3C15A388-1B3D-47E8-B2CB-E67F7E1AFFF1}" type="parTrans" cxnId="{C9F268FB-CB20-4E78-9CDC-F035D61B7E09}">
      <dgm:prSet/>
      <dgm:spPr/>
      <dgm:t>
        <a:bodyPr/>
        <a:lstStyle/>
        <a:p>
          <a:endParaRPr lang="it-IT"/>
        </a:p>
      </dgm:t>
    </dgm:pt>
    <dgm:pt modelId="{7D0C416E-0310-43FE-A0D6-735CD62199B6}" type="sibTrans" cxnId="{C9F268FB-CB20-4E78-9CDC-F035D61B7E09}">
      <dgm:prSet/>
      <dgm:spPr/>
      <dgm:t>
        <a:bodyPr/>
        <a:lstStyle/>
        <a:p>
          <a:endParaRPr lang="it-IT"/>
        </a:p>
      </dgm:t>
    </dgm:pt>
    <dgm:pt modelId="{56EC974B-4690-4A6A-B143-36A5A9DDDB75}">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Supporto Tecnico</a:t>
          </a:r>
        </a:p>
      </dgm:t>
    </dgm:pt>
    <dgm:pt modelId="{F24B2512-EFC3-4494-92F8-F4C2A580DD56}" type="parTrans" cxnId="{FE5FBCA8-5D6F-44E5-8DFA-D24300AECCE8}">
      <dgm:prSet/>
      <dgm:spPr/>
      <dgm:t>
        <a:bodyPr/>
        <a:lstStyle/>
        <a:p>
          <a:endParaRPr lang="it-IT"/>
        </a:p>
      </dgm:t>
    </dgm:pt>
    <dgm:pt modelId="{57612FAC-3D38-4A5A-9D54-8452999285F4}" type="sibTrans" cxnId="{FE5FBCA8-5D6F-44E5-8DFA-D24300AECCE8}">
      <dgm:prSet/>
      <dgm:spPr/>
      <dgm:t>
        <a:bodyPr/>
        <a:lstStyle/>
        <a:p>
          <a:endParaRPr lang="it-IT"/>
        </a:p>
      </dgm:t>
    </dgm:pt>
    <dgm:pt modelId="{5805825E-3BC3-4961-910E-96065463977D}">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Interventi Rilevanti</a:t>
          </a:r>
        </a:p>
      </dgm:t>
    </dgm:pt>
    <dgm:pt modelId="{263FA899-3C2D-4809-A47A-DB65911293C7}" type="parTrans" cxnId="{D6C89AE1-00A8-492D-888B-1E3DDC006D86}">
      <dgm:prSet/>
      <dgm:spPr/>
      <dgm:t>
        <a:bodyPr/>
        <a:lstStyle/>
        <a:p>
          <a:endParaRPr lang="it-IT"/>
        </a:p>
      </dgm:t>
    </dgm:pt>
    <dgm:pt modelId="{B58F1702-0059-4F53-9A60-77242457BBFA}" type="sibTrans" cxnId="{D6C89AE1-00A8-492D-888B-1E3DDC006D86}">
      <dgm:prSet/>
      <dgm:spPr/>
      <dgm:t>
        <a:bodyPr/>
        <a:lstStyle/>
        <a:p>
          <a:endParaRPr lang="it-IT"/>
        </a:p>
      </dgm:t>
    </dgm:pt>
    <dgm:pt modelId="{7A5D9CDD-E10F-422D-808B-815C691EF2E8}">
      <dgm:prSet phldrT="[Testo]" custT="1"/>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sz="700" dirty="0"/>
            <a:t>Investimenti e Produzione</a:t>
          </a:r>
        </a:p>
        <a:p>
          <a:r>
            <a:rPr lang="it-IT" sz="700" dirty="0"/>
            <a:t>NO</a:t>
          </a:r>
        </a:p>
      </dgm:t>
    </dgm:pt>
    <dgm:pt modelId="{089AE963-8402-4F38-908B-1CA814F78766}" type="parTrans" cxnId="{BEDD267B-EA80-4783-A782-86B96AAC5B03}">
      <dgm:prSet/>
      <dgm:spPr/>
      <dgm:t>
        <a:bodyPr/>
        <a:lstStyle/>
        <a:p>
          <a:endParaRPr lang="it-IT"/>
        </a:p>
      </dgm:t>
    </dgm:pt>
    <dgm:pt modelId="{63A1392B-D9B4-4604-ACED-CDD4B7E19D6E}" type="sibTrans" cxnId="{BEDD267B-EA80-4783-A782-86B96AAC5B03}">
      <dgm:prSet/>
      <dgm:spPr/>
      <dgm:t>
        <a:bodyPr/>
        <a:lstStyle/>
        <a:p>
          <a:endParaRPr lang="it-IT"/>
        </a:p>
      </dgm:t>
    </dgm:pt>
    <dgm:pt modelId="{2069E263-CA68-447A-859F-7068DC9AF2B6}" type="pres">
      <dgm:prSet presAssocID="{C782CD9B-2B4B-48D2-BF13-2B0D6056B78A}" presName="Name0" presStyleCnt="0">
        <dgm:presLayoutVars>
          <dgm:dir/>
          <dgm:animLvl val="lvl"/>
          <dgm:resizeHandles val="exact"/>
        </dgm:presLayoutVars>
      </dgm:prSet>
      <dgm:spPr/>
    </dgm:pt>
    <dgm:pt modelId="{F7031506-3856-48AD-BFC1-89D9660F7FF7}" type="pres">
      <dgm:prSet presAssocID="{DFCF748E-4FA2-4C04-B1DF-85DA1021BE5D}" presName="parTxOnly" presStyleLbl="node1" presStyleIdx="0" presStyleCnt="10">
        <dgm:presLayoutVars>
          <dgm:chMax val="0"/>
          <dgm:chPref val="0"/>
          <dgm:bulletEnabled val="1"/>
        </dgm:presLayoutVars>
      </dgm:prSet>
      <dgm:spPr/>
    </dgm:pt>
    <dgm:pt modelId="{420EBE6C-A91F-49B7-AF4C-29A127D6266A}" type="pres">
      <dgm:prSet presAssocID="{A0ED7260-8442-4FBF-80B4-500E49A4F3AF}" presName="parTxOnlySpace" presStyleCnt="0"/>
      <dgm:spPr/>
    </dgm:pt>
    <dgm:pt modelId="{6C62160D-9EC9-4B84-8EFD-9C3E10FC055A}" type="pres">
      <dgm:prSet presAssocID="{B754C885-66E5-4615-BD33-B6EE917A035D}" presName="parTxOnly" presStyleLbl="node1" presStyleIdx="1" presStyleCnt="10">
        <dgm:presLayoutVars>
          <dgm:chMax val="0"/>
          <dgm:chPref val="0"/>
          <dgm:bulletEnabled val="1"/>
        </dgm:presLayoutVars>
      </dgm:prSet>
      <dgm:spPr/>
    </dgm:pt>
    <dgm:pt modelId="{6415A264-B3C7-41A6-9BA0-D0AD6AE1DACB}" type="pres">
      <dgm:prSet presAssocID="{79AAED35-18A8-4347-A2B8-6AAE8B34BA56}" presName="parTxOnlySpace" presStyleCnt="0"/>
      <dgm:spPr/>
    </dgm:pt>
    <dgm:pt modelId="{636F50A3-8EFE-4C08-B6BE-284B03274F0B}" type="pres">
      <dgm:prSet presAssocID="{72FFD339-6A5F-4ED7-B529-6155AF8C35BB}" presName="parTxOnly" presStyleLbl="node1" presStyleIdx="2" presStyleCnt="10">
        <dgm:presLayoutVars>
          <dgm:chMax val="0"/>
          <dgm:chPref val="0"/>
          <dgm:bulletEnabled val="1"/>
        </dgm:presLayoutVars>
      </dgm:prSet>
      <dgm:spPr/>
    </dgm:pt>
    <dgm:pt modelId="{B0C5D3FB-8180-4CC6-9F14-5042E96FD8E3}" type="pres">
      <dgm:prSet presAssocID="{A3B7292F-5113-4C29-982F-BC1D14C7BE90}" presName="parTxOnlySpace" presStyleCnt="0"/>
      <dgm:spPr/>
    </dgm:pt>
    <dgm:pt modelId="{6BB9B9CD-B911-4E33-8045-BE6A8D7C5B89}" type="pres">
      <dgm:prSet presAssocID="{9225496C-39D8-4F53-8BB5-1B069B40EB3E}" presName="parTxOnly" presStyleLbl="node1" presStyleIdx="3" presStyleCnt="10">
        <dgm:presLayoutVars>
          <dgm:chMax val="0"/>
          <dgm:chPref val="0"/>
          <dgm:bulletEnabled val="1"/>
        </dgm:presLayoutVars>
      </dgm:prSet>
      <dgm:spPr/>
    </dgm:pt>
    <dgm:pt modelId="{60B2C4AD-8A0D-4CB2-93A9-16C6C0E4BD5B}" type="pres">
      <dgm:prSet presAssocID="{1E3F53DD-2537-4C67-AA71-87081D444A81}" presName="parTxOnlySpace" presStyleCnt="0"/>
      <dgm:spPr/>
    </dgm:pt>
    <dgm:pt modelId="{A29D7AF6-34C9-459D-B160-0F8E7686BA2B}" type="pres">
      <dgm:prSet presAssocID="{2F442204-E894-4EB6-A3FA-953074E6D5F9}" presName="parTxOnly" presStyleLbl="node1" presStyleIdx="4" presStyleCnt="10">
        <dgm:presLayoutVars>
          <dgm:chMax val="0"/>
          <dgm:chPref val="0"/>
          <dgm:bulletEnabled val="1"/>
        </dgm:presLayoutVars>
      </dgm:prSet>
      <dgm:spPr/>
    </dgm:pt>
    <dgm:pt modelId="{7004503D-9639-442B-9C04-FB1247092C40}" type="pres">
      <dgm:prSet presAssocID="{07F51AA8-9070-4A56-AF24-8977CF9B6A80}" presName="parTxOnlySpace" presStyleCnt="0"/>
      <dgm:spPr/>
    </dgm:pt>
    <dgm:pt modelId="{A2199658-E72A-4294-AFD3-6892981EEB12}" type="pres">
      <dgm:prSet presAssocID="{7A5D9CDD-E10F-422D-808B-815C691EF2E8}" presName="parTxOnly" presStyleLbl="node1" presStyleIdx="5" presStyleCnt="10">
        <dgm:presLayoutVars>
          <dgm:chMax val="0"/>
          <dgm:chPref val="0"/>
          <dgm:bulletEnabled val="1"/>
        </dgm:presLayoutVars>
      </dgm:prSet>
      <dgm:spPr/>
    </dgm:pt>
    <dgm:pt modelId="{9B5C0F41-E4E2-4A3A-AA73-E3E4EB6ACD5E}" type="pres">
      <dgm:prSet presAssocID="{63A1392B-D9B4-4604-ACED-CDD4B7E19D6E}" presName="parTxOnlySpace" presStyleCnt="0"/>
      <dgm:spPr/>
    </dgm:pt>
    <dgm:pt modelId="{F9C55CAF-C1A3-4EFD-AD93-3CBF7E30E2FA}" type="pres">
      <dgm:prSet presAssocID="{56EC974B-4690-4A6A-B143-36A5A9DDDB75}" presName="parTxOnly" presStyleLbl="node1" presStyleIdx="6" presStyleCnt="10">
        <dgm:presLayoutVars>
          <dgm:chMax val="0"/>
          <dgm:chPref val="0"/>
          <dgm:bulletEnabled val="1"/>
        </dgm:presLayoutVars>
      </dgm:prSet>
      <dgm:spPr/>
    </dgm:pt>
    <dgm:pt modelId="{DDB26EDE-11AF-40B7-9C16-348181381393}" type="pres">
      <dgm:prSet presAssocID="{57612FAC-3D38-4A5A-9D54-8452999285F4}" presName="parTxOnlySpace" presStyleCnt="0"/>
      <dgm:spPr/>
    </dgm:pt>
    <dgm:pt modelId="{8CED6B9D-804A-4009-A04D-D699125D11F0}" type="pres">
      <dgm:prSet presAssocID="{A07A8528-D240-4AAE-BA81-005F6AD457F1}" presName="parTxOnly" presStyleLbl="node1" presStyleIdx="7" presStyleCnt="10">
        <dgm:presLayoutVars>
          <dgm:chMax val="0"/>
          <dgm:chPref val="0"/>
          <dgm:bulletEnabled val="1"/>
        </dgm:presLayoutVars>
      </dgm:prSet>
      <dgm:spPr/>
    </dgm:pt>
    <dgm:pt modelId="{C3D8151F-F75F-49EC-B6A3-4B15A8912918}" type="pres">
      <dgm:prSet presAssocID="{7D0C416E-0310-43FE-A0D6-735CD62199B6}" presName="parTxOnlySpace" presStyleCnt="0"/>
      <dgm:spPr/>
    </dgm:pt>
    <dgm:pt modelId="{0A5AB2D9-0A33-47A4-83C2-3990E2018CD9}" type="pres">
      <dgm:prSet presAssocID="{5805825E-3BC3-4961-910E-96065463977D}" presName="parTxOnly" presStyleLbl="node1" presStyleIdx="8" presStyleCnt="10">
        <dgm:presLayoutVars>
          <dgm:chMax val="0"/>
          <dgm:chPref val="0"/>
          <dgm:bulletEnabled val="1"/>
        </dgm:presLayoutVars>
      </dgm:prSet>
      <dgm:spPr/>
    </dgm:pt>
    <dgm:pt modelId="{5FE5E96A-0031-41D2-A1BE-2634D143793A}" type="pres">
      <dgm:prSet presAssocID="{B58F1702-0059-4F53-9A60-77242457BBFA}" presName="parTxOnlySpace" presStyleCnt="0"/>
      <dgm:spPr/>
    </dgm:pt>
    <dgm:pt modelId="{F2510710-7BA2-44B7-8AA7-1347717B483B}" type="pres">
      <dgm:prSet presAssocID="{2D51EAF0-C497-40E9-996D-2D0BC40F318C}" presName="parTxOnly" presStyleLbl="node1" presStyleIdx="9" presStyleCnt="10">
        <dgm:presLayoutVars>
          <dgm:chMax val="0"/>
          <dgm:chPref val="0"/>
          <dgm:bulletEnabled val="1"/>
        </dgm:presLayoutVars>
      </dgm:prSet>
      <dgm:spPr/>
    </dgm:pt>
  </dgm:ptLst>
  <dgm:cxnLst>
    <dgm:cxn modelId="{F8EA3703-CEE5-4162-AB46-CFFF8AC28B48}" srcId="{C782CD9B-2B4B-48D2-BF13-2B0D6056B78A}" destId="{B754C885-66E5-4615-BD33-B6EE917A035D}" srcOrd="1" destOrd="0" parTransId="{65812F9F-DD0E-4752-BF8B-D07282594751}" sibTransId="{79AAED35-18A8-4347-A2B8-6AAE8B34BA56}"/>
    <dgm:cxn modelId="{88145905-003B-4FF3-AA4F-16FEC8BCF381}" type="presOf" srcId="{5805825E-3BC3-4961-910E-96065463977D}" destId="{0A5AB2D9-0A33-47A4-83C2-3990E2018CD9}" srcOrd="0" destOrd="0" presId="urn:microsoft.com/office/officeart/2005/8/layout/chevron1"/>
    <dgm:cxn modelId="{B0139213-0399-422A-AF08-2E3E0B3D4DA5}" type="presOf" srcId="{56EC974B-4690-4A6A-B143-36A5A9DDDB75}" destId="{F9C55CAF-C1A3-4EFD-AD93-3CBF7E30E2FA}" srcOrd="0" destOrd="0" presId="urn:microsoft.com/office/officeart/2005/8/layout/chevron1"/>
    <dgm:cxn modelId="{7BC9B318-E7A6-41F3-853C-1D1DFB2050EF}" srcId="{C782CD9B-2B4B-48D2-BF13-2B0D6056B78A}" destId="{2D51EAF0-C497-40E9-996D-2D0BC40F318C}" srcOrd="9" destOrd="0" parTransId="{43C509B8-DD3A-429A-ADC4-232D55259B3D}" sibTransId="{66A12237-9546-42D0-81C0-2C324670B743}"/>
    <dgm:cxn modelId="{1B4D572C-0D77-47BD-B6A8-48C47D354471}" type="presOf" srcId="{7A5D9CDD-E10F-422D-808B-815C691EF2E8}" destId="{A2199658-E72A-4294-AFD3-6892981EEB12}" srcOrd="0" destOrd="0" presId="urn:microsoft.com/office/officeart/2005/8/layout/chevron1"/>
    <dgm:cxn modelId="{94A2B45D-2D69-4650-AFC3-C5574217F910}" srcId="{C782CD9B-2B4B-48D2-BF13-2B0D6056B78A}" destId="{9225496C-39D8-4F53-8BB5-1B069B40EB3E}" srcOrd="3" destOrd="0" parTransId="{D3A21DFB-000A-4FCE-9E9D-8516EBA4DD45}" sibTransId="{1E3F53DD-2537-4C67-AA71-87081D444A81}"/>
    <dgm:cxn modelId="{6FD2AE64-BDEB-482D-ACF3-1D5403180A1E}" srcId="{C782CD9B-2B4B-48D2-BF13-2B0D6056B78A}" destId="{2F442204-E894-4EB6-A3FA-953074E6D5F9}" srcOrd="4" destOrd="0" parTransId="{9E6A019B-6886-407A-A3BB-1A2A8D416818}" sibTransId="{07F51AA8-9070-4A56-AF24-8977CF9B6A80}"/>
    <dgm:cxn modelId="{9C788968-9119-4D1D-BAD0-1EFEF6791138}" type="presOf" srcId="{DFCF748E-4FA2-4C04-B1DF-85DA1021BE5D}" destId="{F7031506-3856-48AD-BFC1-89D9660F7FF7}" srcOrd="0" destOrd="0" presId="urn:microsoft.com/office/officeart/2005/8/layout/chevron1"/>
    <dgm:cxn modelId="{DC27D64D-22F9-416A-AD7D-B74A2588367B}" type="presOf" srcId="{C782CD9B-2B4B-48D2-BF13-2B0D6056B78A}" destId="{2069E263-CA68-447A-859F-7068DC9AF2B6}" srcOrd="0" destOrd="0" presId="urn:microsoft.com/office/officeart/2005/8/layout/chevron1"/>
    <dgm:cxn modelId="{BEDD267B-EA80-4783-A782-86B96AAC5B03}" srcId="{C782CD9B-2B4B-48D2-BF13-2B0D6056B78A}" destId="{7A5D9CDD-E10F-422D-808B-815C691EF2E8}" srcOrd="5" destOrd="0" parTransId="{089AE963-8402-4F38-908B-1CA814F78766}" sibTransId="{63A1392B-D9B4-4604-ACED-CDD4B7E19D6E}"/>
    <dgm:cxn modelId="{B829F597-7003-4FB3-B46E-A4A0FC9FEB86}" type="presOf" srcId="{2F442204-E894-4EB6-A3FA-953074E6D5F9}" destId="{A29D7AF6-34C9-459D-B160-0F8E7686BA2B}" srcOrd="0" destOrd="0" presId="urn:microsoft.com/office/officeart/2005/8/layout/chevron1"/>
    <dgm:cxn modelId="{C992789A-F8ED-4F85-BB7C-3A133F57AA91}" type="presOf" srcId="{2D51EAF0-C497-40E9-996D-2D0BC40F318C}" destId="{F2510710-7BA2-44B7-8AA7-1347717B483B}" srcOrd="0" destOrd="0" presId="urn:microsoft.com/office/officeart/2005/8/layout/chevron1"/>
    <dgm:cxn modelId="{92751D9D-02E3-45C2-978C-737085227C42}" srcId="{C782CD9B-2B4B-48D2-BF13-2B0D6056B78A}" destId="{DFCF748E-4FA2-4C04-B1DF-85DA1021BE5D}" srcOrd="0" destOrd="0" parTransId="{7DAF1956-B700-4203-9672-92E4451DCC31}" sibTransId="{A0ED7260-8442-4FBF-80B4-500E49A4F3AF}"/>
    <dgm:cxn modelId="{C05AB9A8-5233-4375-BDD5-9EBA1512628B}" type="presOf" srcId="{72FFD339-6A5F-4ED7-B529-6155AF8C35BB}" destId="{636F50A3-8EFE-4C08-B6BE-284B03274F0B}" srcOrd="0" destOrd="0" presId="urn:microsoft.com/office/officeart/2005/8/layout/chevron1"/>
    <dgm:cxn modelId="{FE5FBCA8-5D6F-44E5-8DFA-D24300AECCE8}" srcId="{C782CD9B-2B4B-48D2-BF13-2B0D6056B78A}" destId="{56EC974B-4690-4A6A-B143-36A5A9DDDB75}" srcOrd="6" destOrd="0" parTransId="{F24B2512-EFC3-4494-92F8-F4C2A580DD56}" sibTransId="{57612FAC-3D38-4A5A-9D54-8452999285F4}"/>
    <dgm:cxn modelId="{C7D6B7BA-1B20-42A1-A9F6-CB71ABF83901}" type="presOf" srcId="{B754C885-66E5-4615-BD33-B6EE917A035D}" destId="{6C62160D-9EC9-4B84-8EFD-9C3E10FC055A}" srcOrd="0" destOrd="0" presId="urn:microsoft.com/office/officeart/2005/8/layout/chevron1"/>
    <dgm:cxn modelId="{3E40EFD8-6735-4756-90D9-6A521EE04E8B}" type="presOf" srcId="{9225496C-39D8-4F53-8BB5-1B069B40EB3E}" destId="{6BB9B9CD-B911-4E33-8045-BE6A8D7C5B89}" srcOrd="0" destOrd="0" presId="urn:microsoft.com/office/officeart/2005/8/layout/chevron1"/>
    <dgm:cxn modelId="{D6C89AE1-00A8-492D-888B-1E3DDC006D86}" srcId="{C782CD9B-2B4B-48D2-BF13-2B0D6056B78A}" destId="{5805825E-3BC3-4961-910E-96065463977D}" srcOrd="8" destOrd="0" parTransId="{263FA899-3C2D-4809-A47A-DB65911293C7}" sibTransId="{B58F1702-0059-4F53-9A60-77242457BBFA}"/>
    <dgm:cxn modelId="{C381E8F4-D0AE-4AD0-B8F1-4BDFF55901DE}" srcId="{C782CD9B-2B4B-48D2-BF13-2B0D6056B78A}" destId="{72FFD339-6A5F-4ED7-B529-6155AF8C35BB}" srcOrd="2" destOrd="0" parTransId="{ECFEA23F-DCCD-42C6-8706-10917CE3C2B0}" sibTransId="{A3B7292F-5113-4C29-982F-BC1D14C7BE90}"/>
    <dgm:cxn modelId="{C9F268FB-CB20-4E78-9CDC-F035D61B7E09}" srcId="{C782CD9B-2B4B-48D2-BF13-2B0D6056B78A}" destId="{A07A8528-D240-4AAE-BA81-005F6AD457F1}" srcOrd="7" destOrd="0" parTransId="{3C15A388-1B3D-47E8-B2CB-E67F7E1AFFF1}" sibTransId="{7D0C416E-0310-43FE-A0D6-735CD62199B6}"/>
    <dgm:cxn modelId="{099543FD-638F-4BB0-82F6-F4A908093E62}" type="presOf" srcId="{A07A8528-D240-4AAE-BA81-005F6AD457F1}" destId="{8CED6B9D-804A-4009-A04D-D699125D11F0}" srcOrd="0" destOrd="0" presId="urn:microsoft.com/office/officeart/2005/8/layout/chevron1"/>
    <dgm:cxn modelId="{49EF7562-A780-4609-AC81-FA351D9007C0}" type="presParOf" srcId="{2069E263-CA68-447A-859F-7068DC9AF2B6}" destId="{F7031506-3856-48AD-BFC1-89D9660F7FF7}" srcOrd="0" destOrd="0" presId="urn:microsoft.com/office/officeart/2005/8/layout/chevron1"/>
    <dgm:cxn modelId="{1A49E651-684B-4BF8-9105-26B6EBC2D6C1}" type="presParOf" srcId="{2069E263-CA68-447A-859F-7068DC9AF2B6}" destId="{420EBE6C-A91F-49B7-AF4C-29A127D6266A}" srcOrd="1" destOrd="0" presId="urn:microsoft.com/office/officeart/2005/8/layout/chevron1"/>
    <dgm:cxn modelId="{0E527E85-5C8E-4CF6-863D-F592FA8F5294}" type="presParOf" srcId="{2069E263-CA68-447A-859F-7068DC9AF2B6}" destId="{6C62160D-9EC9-4B84-8EFD-9C3E10FC055A}" srcOrd="2" destOrd="0" presId="urn:microsoft.com/office/officeart/2005/8/layout/chevron1"/>
    <dgm:cxn modelId="{AE4F5182-CC66-4031-AC58-6F2219027E96}" type="presParOf" srcId="{2069E263-CA68-447A-859F-7068DC9AF2B6}" destId="{6415A264-B3C7-41A6-9BA0-D0AD6AE1DACB}" srcOrd="3" destOrd="0" presId="urn:microsoft.com/office/officeart/2005/8/layout/chevron1"/>
    <dgm:cxn modelId="{94B8F1CE-DCFC-4C0C-AF80-7E9E2B3EA495}" type="presParOf" srcId="{2069E263-CA68-447A-859F-7068DC9AF2B6}" destId="{636F50A3-8EFE-4C08-B6BE-284B03274F0B}" srcOrd="4" destOrd="0" presId="urn:microsoft.com/office/officeart/2005/8/layout/chevron1"/>
    <dgm:cxn modelId="{C4C24B01-92EA-4529-A995-4A97CC268F68}" type="presParOf" srcId="{2069E263-CA68-447A-859F-7068DC9AF2B6}" destId="{B0C5D3FB-8180-4CC6-9F14-5042E96FD8E3}" srcOrd="5" destOrd="0" presId="urn:microsoft.com/office/officeart/2005/8/layout/chevron1"/>
    <dgm:cxn modelId="{EB3E0FBC-5297-4FCC-99E9-0A134F9F846C}" type="presParOf" srcId="{2069E263-CA68-447A-859F-7068DC9AF2B6}" destId="{6BB9B9CD-B911-4E33-8045-BE6A8D7C5B89}" srcOrd="6" destOrd="0" presId="urn:microsoft.com/office/officeart/2005/8/layout/chevron1"/>
    <dgm:cxn modelId="{87AB431E-7A97-4752-9150-050CFA32C964}" type="presParOf" srcId="{2069E263-CA68-447A-859F-7068DC9AF2B6}" destId="{60B2C4AD-8A0D-4CB2-93A9-16C6C0E4BD5B}" srcOrd="7" destOrd="0" presId="urn:microsoft.com/office/officeart/2005/8/layout/chevron1"/>
    <dgm:cxn modelId="{4354919A-ABD7-464A-BAF1-D5FE8D7B734B}" type="presParOf" srcId="{2069E263-CA68-447A-859F-7068DC9AF2B6}" destId="{A29D7AF6-34C9-459D-B160-0F8E7686BA2B}" srcOrd="8" destOrd="0" presId="urn:microsoft.com/office/officeart/2005/8/layout/chevron1"/>
    <dgm:cxn modelId="{F8B66F1A-E3C6-4AFC-A7FE-90D6DBFEA276}" type="presParOf" srcId="{2069E263-CA68-447A-859F-7068DC9AF2B6}" destId="{7004503D-9639-442B-9C04-FB1247092C40}" srcOrd="9" destOrd="0" presId="urn:microsoft.com/office/officeart/2005/8/layout/chevron1"/>
    <dgm:cxn modelId="{FFE8F92C-3996-480D-8C14-321FDB4B2456}" type="presParOf" srcId="{2069E263-CA68-447A-859F-7068DC9AF2B6}" destId="{A2199658-E72A-4294-AFD3-6892981EEB12}" srcOrd="10" destOrd="0" presId="urn:microsoft.com/office/officeart/2005/8/layout/chevron1"/>
    <dgm:cxn modelId="{6C7DAECB-CC8E-4D0A-94A3-D3B6868281EB}" type="presParOf" srcId="{2069E263-CA68-447A-859F-7068DC9AF2B6}" destId="{9B5C0F41-E4E2-4A3A-AA73-E3E4EB6ACD5E}" srcOrd="11" destOrd="0" presId="urn:microsoft.com/office/officeart/2005/8/layout/chevron1"/>
    <dgm:cxn modelId="{904A7473-33D8-4BCA-A5E0-4106E5E56BD3}" type="presParOf" srcId="{2069E263-CA68-447A-859F-7068DC9AF2B6}" destId="{F9C55CAF-C1A3-4EFD-AD93-3CBF7E30E2FA}" srcOrd="12" destOrd="0" presId="urn:microsoft.com/office/officeart/2005/8/layout/chevron1"/>
    <dgm:cxn modelId="{A51AF660-775A-4B17-B1C4-E45CFE444D60}" type="presParOf" srcId="{2069E263-CA68-447A-859F-7068DC9AF2B6}" destId="{DDB26EDE-11AF-40B7-9C16-348181381393}" srcOrd="13" destOrd="0" presId="urn:microsoft.com/office/officeart/2005/8/layout/chevron1"/>
    <dgm:cxn modelId="{4F6779A1-870E-4EB6-9E07-79496C6D1374}" type="presParOf" srcId="{2069E263-CA68-447A-859F-7068DC9AF2B6}" destId="{8CED6B9D-804A-4009-A04D-D699125D11F0}" srcOrd="14" destOrd="0" presId="urn:microsoft.com/office/officeart/2005/8/layout/chevron1"/>
    <dgm:cxn modelId="{D13FA95A-22D3-45D7-91B8-1DA01393500C}" type="presParOf" srcId="{2069E263-CA68-447A-859F-7068DC9AF2B6}" destId="{C3D8151F-F75F-49EC-B6A3-4B15A8912918}" srcOrd="15" destOrd="0" presId="urn:microsoft.com/office/officeart/2005/8/layout/chevron1"/>
    <dgm:cxn modelId="{4E54D3A3-A198-424C-85E1-315EE15A0995}" type="presParOf" srcId="{2069E263-CA68-447A-859F-7068DC9AF2B6}" destId="{0A5AB2D9-0A33-47A4-83C2-3990E2018CD9}" srcOrd="16" destOrd="0" presId="urn:microsoft.com/office/officeart/2005/8/layout/chevron1"/>
    <dgm:cxn modelId="{5FC86D10-8EAC-4291-BF8E-FF42E90DC32B}" type="presParOf" srcId="{2069E263-CA68-447A-859F-7068DC9AF2B6}" destId="{5FE5E96A-0031-41D2-A1BE-2634D143793A}" srcOrd="17" destOrd="0" presId="urn:microsoft.com/office/officeart/2005/8/layout/chevron1"/>
    <dgm:cxn modelId="{D380E5B2-1BA7-49AA-A237-5CE0B7E2CCEF}" type="presParOf" srcId="{2069E263-CA68-447A-859F-7068DC9AF2B6}" destId="{F2510710-7BA2-44B7-8AA7-1347717B483B}" srcOrd="18"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C782CD9B-2B4B-48D2-BF13-2B0D6056B78A}"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it-IT"/>
        </a:p>
      </dgm:t>
    </dgm:pt>
    <dgm:pt modelId="{DFCF748E-4FA2-4C04-B1DF-85DA1021BE5D}">
      <dgm:prSet phldrT="[Testo]"/>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Rete viaria complessiva</a:t>
          </a:r>
        </a:p>
      </dgm:t>
    </dgm:pt>
    <dgm:pt modelId="{7DAF1956-B700-4203-9672-92E4451DCC31}" type="parTrans" cxnId="{92751D9D-02E3-45C2-978C-737085227C42}">
      <dgm:prSet/>
      <dgm:spPr/>
      <dgm:t>
        <a:bodyPr/>
        <a:lstStyle/>
        <a:p>
          <a:endParaRPr lang="it-IT"/>
        </a:p>
      </dgm:t>
    </dgm:pt>
    <dgm:pt modelId="{A0ED7260-8442-4FBF-80B4-500E49A4F3AF}" type="sibTrans" cxnId="{92751D9D-02E3-45C2-978C-737085227C42}">
      <dgm:prSet/>
      <dgm:spPr/>
      <dgm:t>
        <a:bodyPr/>
        <a:lstStyle/>
        <a:p>
          <a:endParaRPr lang="it-IT"/>
        </a:p>
      </dgm:t>
    </dgm:pt>
    <dgm:pt modelId="{B754C885-66E5-4615-BD33-B6EE917A035D}">
      <dgm:prSet phldrT="[Testo]"/>
      <dgm:spPr>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dgm:spPr>
      <dgm:t>
        <a:bodyPr/>
        <a:lstStyle/>
        <a:p>
          <a:r>
            <a:rPr lang="it-IT" dirty="0"/>
            <a:t>Risorse</a:t>
          </a:r>
        </a:p>
      </dgm:t>
    </dgm:pt>
    <dgm:pt modelId="{65812F9F-DD0E-4752-BF8B-D07282594751}" type="parTrans" cxnId="{F8EA3703-CEE5-4162-AB46-CFFF8AC28B48}">
      <dgm:prSet/>
      <dgm:spPr/>
      <dgm:t>
        <a:bodyPr/>
        <a:lstStyle/>
        <a:p>
          <a:endParaRPr lang="it-IT"/>
        </a:p>
      </dgm:t>
    </dgm:pt>
    <dgm:pt modelId="{79AAED35-18A8-4347-A2B8-6AAE8B34BA56}" type="sibTrans" cxnId="{F8EA3703-CEE5-4162-AB46-CFFF8AC28B48}">
      <dgm:prSet/>
      <dgm:spPr/>
      <dgm:t>
        <a:bodyPr/>
        <a:lstStyle/>
        <a:p>
          <a:endParaRPr lang="it-IT"/>
        </a:p>
      </dgm:t>
    </dgm:pt>
    <dgm:pt modelId="{9225496C-39D8-4F53-8BB5-1B069B40EB3E}">
      <dgm:prSet phldrT="[Testo]"/>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Affidamenti</a:t>
          </a:r>
        </a:p>
      </dgm:t>
    </dgm:pt>
    <dgm:pt modelId="{D3A21DFB-000A-4FCE-9E9D-8516EBA4DD45}" type="parTrans" cxnId="{94A2B45D-2D69-4650-AFC3-C5574217F910}">
      <dgm:prSet/>
      <dgm:spPr/>
      <dgm:t>
        <a:bodyPr/>
        <a:lstStyle/>
        <a:p>
          <a:endParaRPr lang="it-IT"/>
        </a:p>
      </dgm:t>
    </dgm:pt>
    <dgm:pt modelId="{1E3F53DD-2537-4C67-AA71-87081D444A81}" type="sibTrans" cxnId="{94A2B45D-2D69-4650-AFC3-C5574217F910}">
      <dgm:prSet/>
      <dgm:spPr/>
      <dgm:t>
        <a:bodyPr/>
        <a:lstStyle/>
        <a:p>
          <a:endParaRPr lang="it-IT"/>
        </a:p>
      </dgm:t>
    </dgm:pt>
    <dgm:pt modelId="{2F442204-E894-4EB6-A3FA-953074E6D5F9}">
      <dgm:prSet phldrT="[Testo]" custT="1"/>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sz="700" dirty="0"/>
            <a:t>Investimenti e Produzione</a:t>
          </a:r>
        </a:p>
        <a:p>
          <a:r>
            <a:rPr lang="it-IT" sz="700" dirty="0"/>
            <a:t>MP</a:t>
          </a:r>
        </a:p>
      </dgm:t>
    </dgm:pt>
    <dgm:pt modelId="{9E6A019B-6886-407A-A3BB-1A2A8D416818}" type="parTrans" cxnId="{6FD2AE64-BDEB-482D-ACF3-1D5403180A1E}">
      <dgm:prSet/>
      <dgm:spPr/>
      <dgm:t>
        <a:bodyPr/>
        <a:lstStyle/>
        <a:p>
          <a:endParaRPr lang="it-IT"/>
        </a:p>
      </dgm:t>
    </dgm:pt>
    <dgm:pt modelId="{07F51AA8-9070-4A56-AF24-8977CF9B6A80}" type="sibTrans" cxnId="{6FD2AE64-BDEB-482D-ACF3-1D5403180A1E}">
      <dgm:prSet/>
      <dgm:spPr/>
      <dgm:t>
        <a:bodyPr/>
        <a:lstStyle/>
        <a:p>
          <a:endParaRPr lang="it-IT"/>
        </a:p>
      </dgm:t>
    </dgm:pt>
    <dgm:pt modelId="{2D51EAF0-C497-40E9-996D-2D0BC40F318C}">
      <dgm:prSet phldrT="[Testo]"/>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Pagamenti</a:t>
          </a:r>
        </a:p>
      </dgm:t>
    </dgm:pt>
    <dgm:pt modelId="{43C509B8-DD3A-429A-ADC4-232D55259B3D}" type="parTrans" cxnId="{7BC9B318-E7A6-41F3-853C-1D1DFB2050EF}">
      <dgm:prSet/>
      <dgm:spPr/>
      <dgm:t>
        <a:bodyPr/>
        <a:lstStyle/>
        <a:p>
          <a:endParaRPr lang="it-IT"/>
        </a:p>
      </dgm:t>
    </dgm:pt>
    <dgm:pt modelId="{66A12237-9546-42D0-81C0-2C324670B743}" type="sibTrans" cxnId="{7BC9B318-E7A6-41F3-853C-1D1DFB2050EF}">
      <dgm:prSet/>
      <dgm:spPr/>
      <dgm:t>
        <a:bodyPr/>
        <a:lstStyle/>
        <a:p>
          <a:endParaRPr lang="it-IT"/>
        </a:p>
      </dgm:t>
    </dgm:pt>
    <dgm:pt modelId="{72FFD339-6A5F-4ED7-B529-6155AF8C35BB}">
      <dgm:prSet/>
      <dgm:spPr>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dgm:spPr>
      <dgm:t>
        <a:bodyPr/>
        <a:lstStyle/>
        <a:p>
          <a:r>
            <a:rPr lang="it-IT" dirty="0" err="1"/>
            <a:t>soc</a:t>
          </a:r>
          <a:endParaRPr lang="it-IT" dirty="0"/>
        </a:p>
      </dgm:t>
    </dgm:pt>
    <dgm:pt modelId="{ECFEA23F-DCCD-42C6-8706-10917CE3C2B0}" type="parTrans" cxnId="{C381E8F4-D0AE-4AD0-B8F1-4BDFF55901DE}">
      <dgm:prSet/>
      <dgm:spPr/>
      <dgm:t>
        <a:bodyPr/>
        <a:lstStyle/>
        <a:p>
          <a:endParaRPr lang="it-IT"/>
        </a:p>
      </dgm:t>
    </dgm:pt>
    <dgm:pt modelId="{A3B7292F-5113-4C29-982F-BC1D14C7BE90}" type="sibTrans" cxnId="{C381E8F4-D0AE-4AD0-B8F1-4BDFF55901DE}">
      <dgm:prSet/>
      <dgm:spPr/>
      <dgm:t>
        <a:bodyPr/>
        <a:lstStyle/>
        <a:p>
          <a:endParaRPr lang="it-IT"/>
        </a:p>
      </dgm:t>
    </dgm:pt>
    <dgm:pt modelId="{A07A8528-D240-4AAE-BA81-005F6AD457F1}">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Ispezione Opere D’arte</a:t>
          </a:r>
        </a:p>
      </dgm:t>
    </dgm:pt>
    <dgm:pt modelId="{3C15A388-1B3D-47E8-B2CB-E67F7E1AFFF1}" type="parTrans" cxnId="{C9F268FB-CB20-4E78-9CDC-F035D61B7E09}">
      <dgm:prSet/>
      <dgm:spPr/>
      <dgm:t>
        <a:bodyPr/>
        <a:lstStyle/>
        <a:p>
          <a:endParaRPr lang="it-IT"/>
        </a:p>
      </dgm:t>
    </dgm:pt>
    <dgm:pt modelId="{7D0C416E-0310-43FE-A0D6-735CD62199B6}" type="sibTrans" cxnId="{C9F268FB-CB20-4E78-9CDC-F035D61B7E09}">
      <dgm:prSet/>
      <dgm:spPr/>
      <dgm:t>
        <a:bodyPr/>
        <a:lstStyle/>
        <a:p>
          <a:endParaRPr lang="it-IT"/>
        </a:p>
      </dgm:t>
    </dgm:pt>
    <dgm:pt modelId="{56EC974B-4690-4A6A-B143-36A5A9DDDB75}">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Supporto Tecnico</a:t>
          </a:r>
        </a:p>
      </dgm:t>
    </dgm:pt>
    <dgm:pt modelId="{F24B2512-EFC3-4494-92F8-F4C2A580DD56}" type="parTrans" cxnId="{FE5FBCA8-5D6F-44E5-8DFA-D24300AECCE8}">
      <dgm:prSet/>
      <dgm:spPr/>
      <dgm:t>
        <a:bodyPr/>
        <a:lstStyle/>
        <a:p>
          <a:endParaRPr lang="it-IT"/>
        </a:p>
      </dgm:t>
    </dgm:pt>
    <dgm:pt modelId="{57612FAC-3D38-4A5A-9D54-8452999285F4}" type="sibTrans" cxnId="{FE5FBCA8-5D6F-44E5-8DFA-D24300AECCE8}">
      <dgm:prSet/>
      <dgm:spPr/>
      <dgm:t>
        <a:bodyPr/>
        <a:lstStyle/>
        <a:p>
          <a:endParaRPr lang="it-IT"/>
        </a:p>
      </dgm:t>
    </dgm:pt>
    <dgm:pt modelId="{5805825E-3BC3-4961-910E-96065463977D}">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Interventi Rilevanti</a:t>
          </a:r>
        </a:p>
      </dgm:t>
    </dgm:pt>
    <dgm:pt modelId="{263FA899-3C2D-4809-A47A-DB65911293C7}" type="parTrans" cxnId="{D6C89AE1-00A8-492D-888B-1E3DDC006D86}">
      <dgm:prSet/>
      <dgm:spPr/>
      <dgm:t>
        <a:bodyPr/>
        <a:lstStyle/>
        <a:p>
          <a:endParaRPr lang="it-IT"/>
        </a:p>
      </dgm:t>
    </dgm:pt>
    <dgm:pt modelId="{B58F1702-0059-4F53-9A60-77242457BBFA}" type="sibTrans" cxnId="{D6C89AE1-00A8-492D-888B-1E3DDC006D86}">
      <dgm:prSet/>
      <dgm:spPr/>
      <dgm:t>
        <a:bodyPr/>
        <a:lstStyle/>
        <a:p>
          <a:endParaRPr lang="it-IT"/>
        </a:p>
      </dgm:t>
    </dgm:pt>
    <dgm:pt modelId="{7A5D9CDD-E10F-422D-808B-815C691EF2E8}">
      <dgm:prSet phldrT="[Testo]" custT="1"/>
      <dgm:spPr>
        <a:solidFill>
          <a:schemeClr val="tx2"/>
        </a:solidFill>
      </dgm:spPr>
      <dgm:t>
        <a:bodyPr/>
        <a:lstStyle/>
        <a:p>
          <a:r>
            <a:rPr lang="it-IT" sz="700" dirty="0"/>
            <a:t>Investimenti e Produzione</a:t>
          </a:r>
        </a:p>
        <a:p>
          <a:r>
            <a:rPr lang="it-IT" sz="700" dirty="0"/>
            <a:t>NO</a:t>
          </a:r>
        </a:p>
      </dgm:t>
    </dgm:pt>
    <dgm:pt modelId="{089AE963-8402-4F38-908B-1CA814F78766}" type="parTrans" cxnId="{BEDD267B-EA80-4783-A782-86B96AAC5B03}">
      <dgm:prSet/>
      <dgm:spPr/>
      <dgm:t>
        <a:bodyPr/>
        <a:lstStyle/>
        <a:p>
          <a:endParaRPr lang="it-IT"/>
        </a:p>
      </dgm:t>
    </dgm:pt>
    <dgm:pt modelId="{63A1392B-D9B4-4604-ACED-CDD4B7E19D6E}" type="sibTrans" cxnId="{BEDD267B-EA80-4783-A782-86B96AAC5B03}">
      <dgm:prSet/>
      <dgm:spPr/>
      <dgm:t>
        <a:bodyPr/>
        <a:lstStyle/>
        <a:p>
          <a:endParaRPr lang="it-IT"/>
        </a:p>
      </dgm:t>
    </dgm:pt>
    <dgm:pt modelId="{2069E263-CA68-447A-859F-7068DC9AF2B6}" type="pres">
      <dgm:prSet presAssocID="{C782CD9B-2B4B-48D2-BF13-2B0D6056B78A}" presName="Name0" presStyleCnt="0">
        <dgm:presLayoutVars>
          <dgm:dir/>
          <dgm:animLvl val="lvl"/>
          <dgm:resizeHandles val="exact"/>
        </dgm:presLayoutVars>
      </dgm:prSet>
      <dgm:spPr/>
    </dgm:pt>
    <dgm:pt modelId="{F7031506-3856-48AD-BFC1-89D9660F7FF7}" type="pres">
      <dgm:prSet presAssocID="{DFCF748E-4FA2-4C04-B1DF-85DA1021BE5D}" presName="parTxOnly" presStyleLbl="node1" presStyleIdx="0" presStyleCnt="10">
        <dgm:presLayoutVars>
          <dgm:chMax val="0"/>
          <dgm:chPref val="0"/>
          <dgm:bulletEnabled val="1"/>
        </dgm:presLayoutVars>
      </dgm:prSet>
      <dgm:spPr/>
    </dgm:pt>
    <dgm:pt modelId="{420EBE6C-A91F-49B7-AF4C-29A127D6266A}" type="pres">
      <dgm:prSet presAssocID="{A0ED7260-8442-4FBF-80B4-500E49A4F3AF}" presName="parTxOnlySpace" presStyleCnt="0"/>
      <dgm:spPr/>
    </dgm:pt>
    <dgm:pt modelId="{6C62160D-9EC9-4B84-8EFD-9C3E10FC055A}" type="pres">
      <dgm:prSet presAssocID="{B754C885-66E5-4615-BD33-B6EE917A035D}" presName="parTxOnly" presStyleLbl="node1" presStyleIdx="1" presStyleCnt="10">
        <dgm:presLayoutVars>
          <dgm:chMax val="0"/>
          <dgm:chPref val="0"/>
          <dgm:bulletEnabled val="1"/>
        </dgm:presLayoutVars>
      </dgm:prSet>
      <dgm:spPr/>
    </dgm:pt>
    <dgm:pt modelId="{6415A264-B3C7-41A6-9BA0-D0AD6AE1DACB}" type="pres">
      <dgm:prSet presAssocID="{79AAED35-18A8-4347-A2B8-6AAE8B34BA56}" presName="parTxOnlySpace" presStyleCnt="0"/>
      <dgm:spPr/>
    </dgm:pt>
    <dgm:pt modelId="{636F50A3-8EFE-4C08-B6BE-284B03274F0B}" type="pres">
      <dgm:prSet presAssocID="{72FFD339-6A5F-4ED7-B529-6155AF8C35BB}" presName="parTxOnly" presStyleLbl="node1" presStyleIdx="2" presStyleCnt="10">
        <dgm:presLayoutVars>
          <dgm:chMax val="0"/>
          <dgm:chPref val="0"/>
          <dgm:bulletEnabled val="1"/>
        </dgm:presLayoutVars>
      </dgm:prSet>
      <dgm:spPr/>
    </dgm:pt>
    <dgm:pt modelId="{B0C5D3FB-8180-4CC6-9F14-5042E96FD8E3}" type="pres">
      <dgm:prSet presAssocID="{A3B7292F-5113-4C29-982F-BC1D14C7BE90}" presName="parTxOnlySpace" presStyleCnt="0"/>
      <dgm:spPr/>
    </dgm:pt>
    <dgm:pt modelId="{6BB9B9CD-B911-4E33-8045-BE6A8D7C5B89}" type="pres">
      <dgm:prSet presAssocID="{9225496C-39D8-4F53-8BB5-1B069B40EB3E}" presName="parTxOnly" presStyleLbl="node1" presStyleIdx="3" presStyleCnt="10">
        <dgm:presLayoutVars>
          <dgm:chMax val="0"/>
          <dgm:chPref val="0"/>
          <dgm:bulletEnabled val="1"/>
        </dgm:presLayoutVars>
      </dgm:prSet>
      <dgm:spPr/>
    </dgm:pt>
    <dgm:pt modelId="{60B2C4AD-8A0D-4CB2-93A9-16C6C0E4BD5B}" type="pres">
      <dgm:prSet presAssocID="{1E3F53DD-2537-4C67-AA71-87081D444A81}" presName="parTxOnlySpace" presStyleCnt="0"/>
      <dgm:spPr/>
    </dgm:pt>
    <dgm:pt modelId="{A29D7AF6-34C9-459D-B160-0F8E7686BA2B}" type="pres">
      <dgm:prSet presAssocID="{2F442204-E894-4EB6-A3FA-953074E6D5F9}" presName="parTxOnly" presStyleLbl="node1" presStyleIdx="4" presStyleCnt="10">
        <dgm:presLayoutVars>
          <dgm:chMax val="0"/>
          <dgm:chPref val="0"/>
          <dgm:bulletEnabled val="1"/>
        </dgm:presLayoutVars>
      </dgm:prSet>
      <dgm:spPr/>
    </dgm:pt>
    <dgm:pt modelId="{7004503D-9639-442B-9C04-FB1247092C40}" type="pres">
      <dgm:prSet presAssocID="{07F51AA8-9070-4A56-AF24-8977CF9B6A80}" presName="parTxOnlySpace" presStyleCnt="0"/>
      <dgm:spPr/>
    </dgm:pt>
    <dgm:pt modelId="{A2199658-E72A-4294-AFD3-6892981EEB12}" type="pres">
      <dgm:prSet presAssocID="{7A5D9CDD-E10F-422D-808B-815C691EF2E8}" presName="parTxOnly" presStyleLbl="node1" presStyleIdx="5" presStyleCnt="10">
        <dgm:presLayoutVars>
          <dgm:chMax val="0"/>
          <dgm:chPref val="0"/>
          <dgm:bulletEnabled val="1"/>
        </dgm:presLayoutVars>
      </dgm:prSet>
      <dgm:spPr/>
    </dgm:pt>
    <dgm:pt modelId="{9B5C0F41-E4E2-4A3A-AA73-E3E4EB6ACD5E}" type="pres">
      <dgm:prSet presAssocID="{63A1392B-D9B4-4604-ACED-CDD4B7E19D6E}" presName="parTxOnlySpace" presStyleCnt="0"/>
      <dgm:spPr/>
    </dgm:pt>
    <dgm:pt modelId="{F9C55CAF-C1A3-4EFD-AD93-3CBF7E30E2FA}" type="pres">
      <dgm:prSet presAssocID="{56EC974B-4690-4A6A-B143-36A5A9DDDB75}" presName="parTxOnly" presStyleLbl="node1" presStyleIdx="6" presStyleCnt="10">
        <dgm:presLayoutVars>
          <dgm:chMax val="0"/>
          <dgm:chPref val="0"/>
          <dgm:bulletEnabled val="1"/>
        </dgm:presLayoutVars>
      </dgm:prSet>
      <dgm:spPr/>
    </dgm:pt>
    <dgm:pt modelId="{DDB26EDE-11AF-40B7-9C16-348181381393}" type="pres">
      <dgm:prSet presAssocID="{57612FAC-3D38-4A5A-9D54-8452999285F4}" presName="parTxOnlySpace" presStyleCnt="0"/>
      <dgm:spPr/>
    </dgm:pt>
    <dgm:pt modelId="{8CED6B9D-804A-4009-A04D-D699125D11F0}" type="pres">
      <dgm:prSet presAssocID="{A07A8528-D240-4AAE-BA81-005F6AD457F1}" presName="parTxOnly" presStyleLbl="node1" presStyleIdx="7" presStyleCnt="10">
        <dgm:presLayoutVars>
          <dgm:chMax val="0"/>
          <dgm:chPref val="0"/>
          <dgm:bulletEnabled val="1"/>
        </dgm:presLayoutVars>
      </dgm:prSet>
      <dgm:spPr/>
    </dgm:pt>
    <dgm:pt modelId="{C3D8151F-F75F-49EC-B6A3-4B15A8912918}" type="pres">
      <dgm:prSet presAssocID="{7D0C416E-0310-43FE-A0D6-735CD62199B6}" presName="parTxOnlySpace" presStyleCnt="0"/>
      <dgm:spPr/>
    </dgm:pt>
    <dgm:pt modelId="{0A5AB2D9-0A33-47A4-83C2-3990E2018CD9}" type="pres">
      <dgm:prSet presAssocID="{5805825E-3BC3-4961-910E-96065463977D}" presName="parTxOnly" presStyleLbl="node1" presStyleIdx="8" presStyleCnt="10">
        <dgm:presLayoutVars>
          <dgm:chMax val="0"/>
          <dgm:chPref val="0"/>
          <dgm:bulletEnabled val="1"/>
        </dgm:presLayoutVars>
      </dgm:prSet>
      <dgm:spPr/>
    </dgm:pt>
    <dgm:pt modelId="{5FE5E96A-0031-41D2-A1BE-2634D143793A}" type="pres">
      <dgm:prSet presAssocID="{B58F1702-0059-4F53-9A60-77242457BBFA}" presName="parTxOnlySpace" presStyleCnt="0"/>
      <dgm:spPr/>
    </dgm:pt>
    <dgm:pt modelId="{F2510710-7BA2-44B7-8AA7-1347717B483B}" type="pres">
      <dgm:prSet presAssocID="{2D51EAF0-C497-40E9-996D-2D0BC40F318C}" presName="parTxOnly" presStyleLbl="node1" presStyleIdx="9" presStyleCnt="10">
        <dgm:presLayoutVars>
          <dgm:chMax val="0"/>
          <dgm:chPref val="0"/>
          <dgm:bulletEnabled val="1"/>
        </dgm:presLayoutVars>
      </dgm:prSet>
      <dgm:spPr/>
    </dgm:pt>
  </dgm:ptLst>
  <dgm:cxnLst>
    <dgm:cxn modelId="{F8EA3703-CEE5-4162-AB46-CFFF8AC28B48}" srcId="{C782CD9B-2B4B-48D2-BF13-2B0D6056B78A}" destId="{B754C885-66E5-4615-BD33-B6EE917A035D}" srcOrd="1" destOrd="0" parTransId="{65812F9F-DD0E-4752-BF8B-D07282594751}" sibTransId="{79AAED35-18A8-4347-A2B8-6AAE8B34BA56}"/>
    <dgm:cxn modelId="{7BC9B318-E7A6-41F3-853C-1D1DFB2050EF}" srcId="{C782CD9B-2B4B-48D2-BF13-2B0D6056B78A}" destId="{2D51EAF0-C497-40E9-996D-2D0BC40F318C}" srcOrd="9" destOrd="0" parTransId="{43C509B8-DD3A-429A-ADC4-232D55259B3D}" sibTransId="{66A12237-9546-42D0-81C0-2C324670B743}"/>
    <dgm:cxn modelId="{7FFFF921-3F41-4FE1-B6F6-DD6DB4B7F93F}" type="presOf" srcId="{C782CD9B-2B4B-48D2-BF13-2B0D6056B78A}" destId="{2069E263-CA68-447A-859F-7068DC9AF2B6}" srcOrd="0" destOrd="0" presId="urn:microsoft.com/office/officeart/2005/8/layout/chevron1"/>
    <dgm:cxn modelId="{521DD328-196F-49A6-AB8D-038EB8C39BC8}" type="presOf" srcId="{56EC974B-4690-4A6A-B143-36A5A9DDDB75}" destId="{F9C55CAF-C1A3-4EFD-AD93-3CBF7E30E2FA}" srcOrd="0" destOrd="0" presId="urn:microsoft.com/office/officeart/2005/8/layout/chevron1"/>
    <dgm:cxn modelId="{9D6C9735-EC52-4B8C-B3A9-4F189440CD8A}" type="presOf" srcId="{7A5D9CDD-E10F-422D-808B-815C691EF2E8}" destId="{A2199658-E72A-4294-AFD3-6892981EEB12}" srcOrd="0" destOrd="0" presId="urn:microsoft.com/office/officeart/2005/8/layout/chevron1"/>
    <dgm:cxn modelId="{94A2B45D-2D69-4650-AFC3-C5574217F910}" srcId="{C782CD9B-2B4B-48D2-BF13-2B0D6056B78A}" destId="{9225496C-39D8-4F53-8BB5-1B069B40EB3E}" srcOrd="3" destOrd="0" parTransId="{D3A21DFB-000A-4FCE-9E9D-8516EBA4DD45}" sibTransId="{1E3F53DD-2537-4C67-AA71-87081D444A81}"/>
    <dgm:cxn modelId="{6FD2AE64-BDEB-482D-ACF3-1D5403180A1E}" srcId="{C782CD9B-2B4B-48D2-BF13-2B0D6056B78A}" destId="{2F442204-E894-4EB6-A3FA-953074E6D5F9}" srcOrd="4" destOrd="0" parTransId="{9E6A019B-6886-407A-A3BB-1A2A8D416818}" sibTransId="{07F51AA8-9070-4A56-AF24-8977CF9B6A80}"/>
    <dgm:cxn modelId="{04B25845-BF9F-4D8F-B20A-392FB829AF93}" type="presOf" srcId="{9225496C-39D8-4F53-8BB5-1B069B40EB3E}" destId="{6BB9B9CD-B911-4E33-8045-BE6A8D7C5B89}" srcOrd="0" destOrd="0" presId="urn:microsoft.com/office/officeart/2005/8/layout/chevron1"/>
    <dgm:cxn modelId="{D616874D-9AB0-4022-AC94-16ADFA95ADE4}" type="presOf" srcId="{DFCF748E-4FA2-4C04-B1DF-85DA1021BE5D}" destId="{F7031506-3856-48AD-BFC1-89D9660F7FF7}" srcOrd="0" destOrd="0" presId="urn:microsoft.com/office/officeart/2005/8/layout/chevron1"/>
    <dgm:cxn modelId="{BEDD267B-EA80-4783-A782-86B96AAC5B03}" srcId="{C782CD9B-2B4B-48D2-BF13-2B0D6056B78A}" destId="{7A5D9CDD-E10F-422D-808B-815C691EF2E8}" srcOrd="5" destOrd="0" parTransId="{089AE963-8402-4F38-908B-1CA814F78766}" sibTransId="{63A1392B-D9B4-4604-ACED-CDD4B7E19D6E}"/>
    <dgm:cxn modelId="{47895C87-7B99-456B-A81E-A0031DB16D6F}" type="presOf" srcId="{72FFD339-6A5F-4ED7-B529-6155AF8C35BB}" destId="{636F50A3-8EFE-4C08-B6BE-284B03274F0B}" srcOrd="0" destOrd="0" presId="urn:microsoft.com/office/officeart/2005/8/layout/chevron1"/>
    <dgm:cxn modelId="{16E4BC9B-C6B0-46C1-B698-9A39A644C9C4}" type="presOf" srcId="{2F442204-E894-4EB6-A3FA-953074E6D5F9}" destId="{A29D7AF6-34C9-459D-B160-0F8E7686BA2B}" srcOrd="0" destOrd="0" presId="urn:microsoft.com/office/officeart/2005/8/layout/chevron1"/>
    <dgm:cxn modelId="{92751D9D-02E3-45C2-978C-737085227C42}" srcId="{C782CD9B-2B4B-48D2-BF13-2B0D6056B78A}" destId="{DFCF748E-4FA2-4C04-B1DF-85DA1021BE5D}" srcOrd="0" destOrd="0" parTransId="{7DAF1956-B700-4203-9672-92E4451DCC31}" sibTransId="{A0ED7260-8442-4FBF-80B4-500E49A4F3AF}"/>
    <dgm:cxn modelId="{FE5FBCA8-5D6F-44E5-8DFA-D24300AECCE8}" srcId="{C782CD9B-2B4B-48D2-BF13-2B0D6056B78A}" destId="{56EC974B-4690-4A6A-B143-36A5A9DDDB75}" srcOrd="6" destOrd="0" parTransId="{F24B2512-EFC3-4494-92F8-F4C2A580DD56}" sibTransId="{57612FAC-3D38-4A5A-9D54-8452999285F4}"/>
    <dgm:cxn modelId="{165827B0-923F-429C-8AA5-CFA9C5FA6F9E}" type="presOf" srcId="{A07A8528-D240-4AAE-BA81-005F6AD457F1}" destId="{8CED6B9D-804A-4009-A04D-D699125D11F0}" srcOrd="0" destOrd="0" presId="urn:microsoft.com/office/officeart/2005/8/layout/chevron1"/>
    <dgm:cxn modelId="{4CD099B0-AE0B-4E59-BC1A-C38701D3CF71}" type="presOf" srcId="{2D51EAF0-C497-40E9-996D-2D0BC40F318C}" destId="{F2510710-7BA2-44B7-8AA7-1347717B483B}" srcOrd="0" destOrd="0" presId="urn:microsoft.com/office/officeart/2005/8/layout/chevron1"/>
    <dgm:cxn modelId="{EAE580C1-0264-423F-8FF7-CB7FBE5A8B1C}" type="presOf" srcId="{5805825E-3BC3-4961-910E-96065463977D}" destId="{0A5AB2D9-0A33-47A4-83C2-3990E2018CD9}" srcOrd="0" destOrd="0" presId="urn:microsoft.com/office/officeart/2005/8/layout/chevron1"/>
    <dgm:cxn modelId="{D6C89AE1-00A8-492D-888B-1E3DDC006D86}" srcId="{C782CD9B-2B4B-48D2-BF13-2B0D6056B78A}" destId="{5805825E-3BC3-4961-910E-96065463977D}" srcOrd="8" destOrd="0" parTransId="{263FA899-3C2D-4809-A47A-DB65911293C7}" sibTransId="{B58F1702-0059-4F53-9A60-77242457BBFA}"/>
    <dgm:cxn modelId="{C381E8F4-D0AE-4AD0-B8F1-4BDFF55901DE}" srcId="{C782CD9B-2B4B-48D2-BF13-2B0D6056B78A}" destId="{72FFD339-6A5F-4ED7-B529-6155AF8C35BB}" srcOrd="2" destOrd="0" parTransId="{ECFEA23F-DCCD-42C6-8706-10917CE3C2B0}" sibTransId="{A3B7292F-5113-4C29-982F-BC1D14C7BE90}"/>
    <dgm:cxn modelId="{C9F268FB-CB20-4E78-9CDC-F035D61B7E09}" srcId="{C782CD9B-2B4B-48D2-BF13-2B0D6056B78A}" destId="{A07A8528-D240-4AAE-BA81-005F6AD457F1}" srcOrd="7" destOrd="0" parTransId="{3C15A388-1B3D-47E8-B2CB-E67F7E1AFFF1}" sibTransId="{7D0C416E-0310-43FE-A0D6-735CD62199B6}"/>
    <dgm:cxn modelId="{73A189FD-E41D-436E-86DE-923DB7BF64E1}" type="presOf" srcId="{B754C885-66E5-4615-BD33-B6EE917A035D}" destId="{6C62160D-9EC9-4B84-8EFD-9C3E10FC055A}" srcOrd="0" destOrd="0" presId="urn:microsoft.com/office/officeart/2005/8/layout/chevron1"/>
    <dgm:cxn modelId="{C835076C-52CA-4B10-BD78-429784B92B1E}" type="presParOf" srcId="{2069E263-CA68-447A-859F-7068DC9AF2B6}" destId="{F7031506-3856-48AD-BFC1-89D9660F7FF7}" srcOrd="0" destOrd="0" presId="urn:microsoft.com/office/officeart/2005/8/layout/chevron1"/>
    <dgm:cxn modelId="{5E732B05-C946-43F9-AEA5-D811C68B5464}" type="presParOf" srcId="{2069E263-CA68-447A-859F-7068DC9AF2B6}" destId="{420EBE6C-A91F-49B7-AF4C-29A127D6266A}" srcOrd="1" destOrd="0" presId="urn:microsoft.com/office/officeart/2005/8/layout/chevron1"/>
    <dgm:cxn modelId="{AE0E30A3-8533-4B51-9749-22386E9C199C}" type="presParOf" srcId="{2069E263-CA68-447A-859F-7068DC9AF2B6}" destId="{6C62160D-9EC9-4B84-8EFD-9C3E10FC055A}" srcOrd="2" destOrd="0" presId="urn:microsoft.com/office/officeart/2005/8/layout/chevron1"/>
    <dgm:cxn modelId="{91CB9C70-E5ED-4B86-BFF4-A47A53C67CB2}" type="presParOf" srcId="{2069E263-CA68-447A-859F-7068DC9AF2B6}" destId="{6415A264-B3C7-41A6-9BA0-D0AD6AE1DACB}" srcOrd="3" destOrd="0" presId="urn:microsoft.com/office/officeart/2005/8/layout/chevron1"/>
    <dgm:cxn modelId="{1D07D418-3730-411F-8E3E-28ECC57315EC}" type="presParOf" srcId="{2069E263-CA68-447A-859F-7068DC9AF2B6}" destId="{636F50A3-8EFE-4C08-B6BE-284B03274F0B}" srcOrd="4" destOrd="0" presId="urn:microsoft.com/office/officeart/2005/8/layout/chevron1"/>
    <dgm:cxn modelId="{9FB287E3-808F-4499-81D2-2B76CEB42817}" type="presParOf" srcId="{2069E263-CA68-447A-859F-7068DC9AF2B6}" destId="{B0C5D3FB-8180-4CC6-9F14-5042E96FD8E3}" srcOrd="5" destOrd="0" presId="urn:microsoft.com/office/officeart/2005/8/layout/chevron1"/>
    <dgm:cxn modelId="{F32CB1D5-D3B4-4660-9CC9-626E73D4A7AB}" type="presParOf" srcId="{2069E263-CA68-447A-859F-7068DC9AF2B6}" destId="{6BB9B9CD-B911-4E33-8045-BE6A8D7C5B89}" srcOrd="6" destOrd="0" presId="urn:microsoft.com/office/officeart/2005/8/layout/chevron1"/>
    <dgm:cxn modelId="{F59A664C-F517-43F9-9887-D98682516655}" type="presParOf" srcId="{2069E263-CA68-447A-859F-7068DC9AF2B6}" destId="{60B2C4AD-8A0D-4CB2-93A9-16C6C0E4BD5B}" srcOrd="7" destOrd="0" presId="urn:microsoft.com/office/officeart/2005/8/layout/chevron1"/>
    <dgm:cxn modelId="{25F3C70A-FCD8-4B30-9A3E-13D4DF5AF9A4}" type="presParOf" srcId="{2069E263-CA68-447A-859F-7068DC9AF2B6}" destId="{A29D7AF6-34C9-459D-B160-0F8E7686BA2B}" srcOrd="8" destOrd="0" presId="urn:microsoft.com/office/officeart/2005/8/layout/chevron1"/>
    <dgm:cxn modelId="{6D8BBFC6-7E91-4837-A317-9C2FCF083155}" type="presParOf" srcId="{2069E263-CA68-447A-859F-7068DC9AF2B6}" destId="{7004503D-9639-442B-9C04-FB1247092C40}" srcOrd="9" destOrd="0" presId="urn:microsoft.com/office/officeart/2005/8/layout/chevron1"/>
    <dgm:cxn modelId="{D05D657E-5849-41EB-8C4D-6982E057536C}" type="presParOf" srcId="{2069E263-CA68-447A-859F-7068DC9AF2B6}" destId="{A2199658-E72A-4294-AFD3-6892981EEB12}" srcOrd="10" destOrd="0" presId="urn:microsoft.com/office/officeart/2005/8/layout/chevron1"/>
    <dgm:cxn modelId="{2EF6E5E1-90FD-4E83-A759-57750192BAA6}" type="presParOf" srcId="{2069E263-CA68-447A-859F-7068DC9AF2B6}" destId="{9B5C0F41-E4E2-4A3A-AA73-E3E4EB6ACD5E}" srcOrd="11" destOrd="0" presId="urn:microsoft.com/office/officeart/2005/8/layout/chevron1"/>
    <dgm:cxn modelId="{87BD7C87-DD58-4F51-907E-24FDC0FD7C23}" type="presParOf" srcId="{2069E263-CA68-447A-859F-7068DC9AF2B6}" destId="{F9C55CAF-C1A3-4EFD-AD93-3CBF7E30E2FA}" srcOrd="12" destOrd="0" presId="urn:microsoft.com/office/officeart/2005/8/layout/chevron1"/>
    <dgm:cxn modelId="{E515190C-34F8-478F-8FEF-6D804EBE7327}" type="presParOf" srcId="{2069E263-CA68-447A-859F-7068DC9AF2B6}" destId="{DDB26EDE-11AF-40B7-9C16-348181381393}" srcOrd="13" destOrd="0" presId="urn:microsoft.com/office/officeart/2005/8/layout/chevron1"/>
    <dgm:cxn modelId="{C30F91C6-65FE-4D9C-ABFE-0110C069C18D}" type="presParOf" srcId="{2069E263-CA68-447A-859F-7068DC9AF2B6}" destId="{8CED6B9D-804A-4009-A04D-D699125D11F0}" srcOrd="14" destOrd="0" presId="urn:microsoft.com/office/officeart/2005/8/layout/chevron1"/>
    <dgm:cxn modelId="{E7D12246-D304-4627-BFFB-D0ACE5D23A6C}" type="presParOf" srcId="{2069E263-CA68-447A-859F-7068DC9AF2B6}" destId="{C3D8151F-F75F-49EC-B6A3-4B15A8912918}" srcOrd="15" destOrd="0" presId="urn:microsoft.com/office/officeart/2005/8/layout/chevron1"/>
    <dgm:cxn modelId="{C6D2460A-2597-4EB6-AE06-C5FBD67EFEBB}" type="presParOf" srcId="{2069E263-CA68-447A-859F-7068DC9AF2B6}" destId="{0A5AB2D9-0A33-47A4-83C2-3990E2018CD9}" srcOrd="16" destOrd="0" presId="urn:microsoft.com/office/officeart/2005/8/layout/chevron1"/>
    <dgm:cxn modelId="{F6F60A19-4B18-422A-8370-973F76C210C6}" type="presParOf" srcId="{2069E263-CA68-447A-859F-7068DC9AF2B6}" destId="{5FE5E96A-0031-41D2-A1BE-2634D143793A}" srcOrd="17" destOrd="0" presId="urn:microsoft.com/office/officeart/2005/8/layout/chevron1"/>
    <dgm:cxn modelId="{74C22416-D9C9-4419-AF78-71F83B09DDBB}" type="presParOf" srcId="{2069E263-CA68-447A-859F-7068DC9AF2B6}" destId="{F2510710-7BA2-44B7-8AA7-1347717B483B}" srcOrd="18" destOrd="0" presId="urn:microsoft.com/office/officeart/2005/8/layout/chevro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C782CD9B-2B4B-48D2-BF13-2B0D6056B78A}"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it-IT"/>
        </a:p>
      </dgm:t>
    </dgm:pt>
    <dgm:pt modelId="{DFCF748E-4FA2-4C04-B1DF-85DA1021BE5D}">
      <dgm:prSet phldrT="[Testo]"/>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Rete viaria complessiva</a:t>
          </a:r>
        </a:p>
      </dgm:t>
    </dgm:pt>
    <dgm:pt modelId="{7DAF1956-B700-4203-9672-92E4451DCC31}" type="parTrans" cxnId="{92751D9D-02E3-45C2-978C-737085227C42}">
      <dgm:prSet/>
      <dgm:spPr/>
      <dgm:t>
        <a:bodyPr/>
        <a:lstStyle/>
        <a:p>
          <a:endParaRPr lang="it-IT"/>
        </a:p>
      </dgm:t>
    </dgm:pt>
    <dgm:pt modelId="{A0ED7260-8442-4FBF-80B4-500E49A4F3AF}" type="sibTrans" cxnId="{92751D9D-02E3-45C2-978C-737085227C42}">
      <dgm:prSet/>
      <dgm:spPr/>
      <dgm:t>
        <a:bodyPr/>
        <a:lstStyle/>
        <a:p>
          <a:endParaRPr lang="it-IT"/>
        </a:p>
      </dgm:t>
    </dgm:pt>
    <dgm:pt modelId="{B754C885-66E5-4615-BD33-B6EE917A035D}">
      <dgm:prSet phldrT="[Testo]"/>
      <dgm:spPr>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dgm:spPr>
      <dgm:t>
        <a:bodyPr/>
        <a:lstStyle/>
        <a:p>
          <a:r>
            <a:rPr lang="it-IT" dirty="0"/>
            <a:t>Risorse</a:t>
          </a:r>
        </a:p>
      </dgm:t>
    </dgm:pt>
    <dgm:pt modelId="{65812F9F-DD0E-4752-BF8B-D07282594751}" type="parTrans" cxnId="{F8EA3703-CEE5-4162-AB46-CFFF8AC28B48}">
      <dgm:prSet/>
      <dgm:spPr/>
      <dgm:t>
        <a:bodyPr/>
        <a:lstStyle/>
        <a:p>
          <a:endParaRPr lang="it-IT"/>
        </a:p>
      </dgm:t>
    </dgm:pt>
    <dgm:pt modelId="{79AAED35-18A8-4347-A2B8-6AAE8B34BA56}" type="sibTrans" cxnId="{F8EA3703-CEE5-4162-AB46-CFFF8AC28B48}">
      <dgm:prSet/>
      <dgm:spPr/>
      <dgm:t>
        <a:bodyPr/>
        <a:lstStyle/>
        <a:p>
          <a:endParaRPr lang="it-IT"/>
        </a:p>
      </dgm:t>
    </dgm:pt>
    <dgm:pt modelId="{9225496C-39D8-4F53-8BB5-1B069B40EB3E}">
      <dgm:prSet phldrT="[Testo]"/>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Affidamenti</a:t>
          </a:r>
        </a:p>
      </dgm:t>
    </dgm:pt>
    <dgm:pt modelId="{D3A21DFB-000A-4FCE-9E9D-8516EBA4DD45}" type="parTrans" cxnId="{94A2B45D-2D69-4650-AFC3-C5574217F910}">
      <dgm:prSet/>
      <dgm:spPr/>
      <dgm:t>
        <a:bodyPr/>
        <a:lstStyle/>
        <a:p>
          <a:endParaRPr lang="it-IT"/>
        </a:p>
      </dgm:t>
    </dgm:pt>
    <dgm:pt modelId="{1E3F53DD-2537-4C67-AA71-87081D444A81}" type="sibTrans" cxnId="{94A2B45D-2D69-4650-AFC3-C5574217F910}">
      <dgm:prSet/>
      <dgm:spPr/>
      <dgm:t>
        <a:bodyPr/>
        <a:lstStyle/>
        <a:p>
          <a:endParaRPr lang="it-IT"/>
        </a:p>
      </dgm:t>
    </dgm:pt>
    <dgm:pt modelId="{2F442204-E894-4EB6-A3FA-953074E6D5F9}">
      <dgm:prSet phldrT="[Testo]" custT="1"/>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sz="700" dirty="0"/>
            <a:t>Investimenti e Produzione</a:t>
          </a:r>
        </a:p>
        <a:p>
          <a:r>
            <a:rPr lang="it-IT" sz="700" dirty="0"/>
            <a:t>MP</a:t>
          </a:r>
        </a:p>
      </dgm:t>
    </dgm:pt>
    <dgm:pt modelId="{9E6A019B-6886-407A-A3BB-1A2A8D416818}" type="parTrans" cxnId="{6FD2AE64-BDEB-482D-ACF3-1D5403180A1E}">
      <dgm:prSet/>
      <dgm:spPr/>
      <dgm:t>
        <a:bodyPr/>
        <a:lstStyle/>
        <a:p>
          <a:endParaRPr lang="it-IT"/>
        </a:p>
      </dgm:t>
    </dgm:pt>
    <dgm:pt modelId="{07F51AA8-9070-4A56-AF24-8977CF9B6A80}" type="sibTrans" cxnId="{6FD2AE64-BDEB-482D-ACF3-1D5403180A1E}">
      <dgm:prSet/>
      <dgm:spPr/>
      <dgm:t>
        <a:bodyPr/>
        <a:lstStyle/>
        <a:p>
          <a:endParaRPr lang="it-IT"/>
        </a:p>
      </dgm:t>
    </dgm:pt>
    <dgm:pt modelId="{2D51EAF0-C497-40E9-996D-2D0BC40F318C}">
      <dgm:prSet phldrT="[Testo]"/>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Pagamenti</a:t>
          </a:r>
        </a:p>
      </dgm:t>
    </dgm:pt>
    <dgm:pt modelId="{43C509B8-DD3A-429A-ADC4-232D55259B3D}" type="parTrans" cxnId="{7BC9B318-E7A6-41F3-853C-1D1DFB2050EF}">
      <dgm:prSet/>
      <dgm:spPr/>
      <dgm:t>
        <a:bodyPr/>
        <a:lstStyle/>
        <a:p>
          <a:endParaRPr lang="it-IT"/>
        </a:p>
      </dgm:t>
    </dgm:pt>
    <dgm:pt modelId="{66A12237-9546-42D0-81C0-2C324670B743}" type="sibTrans" cxnId="{7BC9B318-E7A6-41F3-853C-1D1DFB2050EF}">
      <dgm:prSet/>
      <dgm:spPr/>
      <dgm:t>
        <a:bodyPr/>
        <a:lstStyle/>
        <a:p>
          <a:endParaRPr lang="it-IT"/>
        </a:p>
      </dgm:t>
    </dgm:pt>
    <dgm:pt modelId="{72FFD339-6A5F-4ED7-B529-6155AF8C35BB}">
      <dgm:prSet/>
      <dgm:spPr>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dgm:spPr>
      <dgm:t>
        <a:bodyPr/>
        <a:lstStyle/>
        <a:p>
          <a:r>
            <a:rPr lang="it-IT" dirty="0" err="1"/>
            <a:t>soc</a:t>
          </a:r>
          <a:endParaRPr lang="it-IT" dirty="0"/>
        </a:p>
      </dgm:t>
    </dgm:pt>
    <dgm:pt modelId="{ECFEA23F-DCCD-42C6-8706-10917CE3C2B0}" type="parTrans" cxnId="{C381E8F4-D0AE-4AD0-B8F1-4BDFF55901DE}">
      <dgm:prSet/>
      <dgm:spPr/>
      <dgm:t>
        <a:bodyPr/>
        <a:lstStyle/>
        <a:p>
          <a:endParaRPr lang="it-IT"/>
        </a:p>
      </dgm:t>
    </dgm:pt>
    <dgm:pt modelId="{A3B7292F-5113-4C29-982F-BC1D14C7BE90}" type="sibTrans" cxnId="{C381E8F4-D0AE-4AD0-B8F1-4BDFF55901DE}">
      <dgm:prSet/>
      <dgm:spPr/>
      <dgm:t>
        <a:bodyPr/>
        <a:lstStyle/>
        <a:p>
          <a:endParaRPr lang="it-IT"/>
        </a:p>
      </dgm:t>
    </dgm:pt>
    <dgm:pt modelId="{A07A8528-D240-4AAE-BA81-005F6AD457F1}">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Ispezione Opere D’arte</a:t>
          </a:r>
        </a:p>
      </dgm:t>
    </dgm:pt>
    <dgm:pt modelId="{3C15A388-1B3D-47E8-B2CB-E67F7E1AFFF1}" type="parTrans" cxnId="{C9F268FB-CB20-4E78-9CDC-F035D61B7E09}">
      <dgm:prSet/>
      <dgm:spPr/>
      <dgm:t>
        <a:bodyPr/>
        <a:lstStyle/>
        <a:p>
          <a:endParaRPr lang="it-IT"/>
        </a:p>
      </dgm:t>
    </dgm:pt>
    <dgm:pt modelId="{7D0C416E-0310-43FE-A0D6-735CD62199B6}" type="sibTrans" cxnId="{C9F268FB-CB20-4E78-9CDC-F035D61B7E09}">
      <dgm:prSet/>
      <dgm:spPr/>
      <dgm:t>
        <a:bodyPr/>
        <a:lstStyle/>
        <a:p>
          <a:endParaRPr lang="it-IT"/>
        </a:p>
      </dgm:t>
    </dgm:pt>
    <dgm:pt modelId="{56EC974B-4690-4A6A-B143-36A5A9DDDB75}">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Supporto Tecnico</a:t>
          </a:r>
        </a:p>
      </dgm:t>
    </dgm:pt>
    <dgm:pt modelId="{F24B2512-EFC3-4494-92F8-F4C2A580DD56}" type="parTrans" cxnId="{FE5FBCA8-5D6F-44E5-8DFA-D24300AECCE8}">
      <dgm:prSet/>
      <dgm:spPr/>
      <dgm:t>
        <a:bodyPr/>
        <a:lstStyle/>
        <a:p>
          <a:endParaRPr lang="it-IT"/>
        </a:p>
      </dgm:t>
    </dgm:pt>
    <dgm:pt modelId="{57612FAC-3D38-4A5A-9D54-8452999285F4}" type="sibTrans" cxnId="{FE5FBCA8-5D6F-44E5-8DFA-D24300AECCE8}">
      <dgm:prSet/>
      <dgm:spPr/>
      <dgm:t>
        <a:bodyPr/>
        <a:lstStyle/>
        <a:p>
          <a:endParaRPr lang="it-IT"/>
        </a:p>
      </dgm:t>
    </dgm:pt>
    <dgm:pt modelId="{5805825E-3BC3-4961-910E-96065463977D}">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Interventi Rilevanti</a:t>
          </a:r>
        </a:p>
      </dgm:t>
    </dgm:pt>
    <dgm:pt modelId="{263FA899-3C2D-4809-A47A-DB65911293C7}" type="parTrans" cxnId="{D6C89AE1-00A8-492D-888B-1E3DDC006D86}">
      <dgm:prSet/>
      <dgm:spPr/>
      <dgm:t>
        <a:bodyPr/>
        <a:lstStyle/>
        <a:p>
          <a:endParaRPr lang="it-IT"/>
        </a:p>
      </dgm:t>
    </dgm:pt>
    <dgm:pt modelId="{B58F1702-0059-4F53-9A60-77242457BBFA}" type="sibTrans" cxnId="{D6C89AE1-00A8-492D-888B-1E3DDC006D86}">
      <dgm:prSet/>
      <dgm:spPr/>
      <dgm:t>
        <a:bodyPr/>
        <a:lstStyle/>
        <a:p>
          <a:endParaRPr lang="it-IT"/>
        </a:p>
      </dgm:t>
    </dgm:pt>
    <dgm:pt modelId="{7A5D9CDD-E10F-422D-808B-815C691EF2E8}">
      <dgm:prSet phldrT="[Testo]" custT="1"/>
      <dgm:spPr>
        <a:solidFill>
          <a:schemeClr val="tx2"/>
        </a:solidFill>
      </dgm:spPr>
      <dgm:t>
        <a:bodyPr/>
        <a:lstStyle/>
        <a:p>
          <a:r>
            <a:rPr lang="it-IT" sz="700" dirty="0"/>
            <a:t>Investimenti e Produzione</a:t>
          </a:r>
        </a:p>
        <a:p>
          <a:r>
            <a:rPr lang="it-IT" sz="700" dirty="0"/>
            <a:t>NO</a:t>
          </a:r>
        </a:p>
      </dgm:t>
    </dgm:pt>
    <dgm:pt modelId="{089AE963-8402-4F38-908B-1CA814F78766}" type="parTrans" cxnId="{BEDD267B-EA80-4783-A782-86B96AAC5B03}">
      <dgm:prSet/>
      <dgm:spPr/>
      <dgm:t>
        <a:bodyPr/>
        <a:lstStyle/>
        <a:p>
          <a:endParaRPr lang="it-IT"/>
        </a:p>
      </dgm:t>
    </dgm:pt>
    <dgm:pt modelId="{63A1392B-D9B4-4604-ACED-CDD4B7E19D6E}" type="sibTrans" cxnId="{BEDD267B-EA80-4783-A782-86B96AAC5B03}">
      <dgm:prSet/>
      <dgm:spPr/>
      <dgm:t>
        <a:bodyPr/>
        <a:lstStyle/>
        <a:p>
          <a:endParaRPr lang="it-IT"/>
        </a:p>
      </dgm:t>
    </dgm:pt>
    <dgm:pt modelId="{2069E263-CA68-447A-859F-7068DC9AF2B6}" type="pres">
      <dgm:prSet presAssocID="{C782CD9B-2B4B-48D2-BF13-2B0D6056B78A}" presName="Name0" presStyleCnt="0">
        <dgm:presLayoutVars>
          <dgm:dir/>
          <dgm:animLvl val="lvl"/>
          <dgm:resizeHandles val="exact"/>
        </dgm:presLayoutVars>
      </dgm:prSet>
      <dgm:spPr/>
    </dgm:pt>
    <dgm:pt modelId="{F7031506-3856-48AD-BFC1-89D9660F7FF7}" type="pres">
      <dgm:prSet presAssocID="{DFCF748E-4FA2-4C04-B1DF-85DA1021BE5D}" presName="parTxOnly" presStyleLbl="node1" presStyleIdx="0" presStyleCnt="10">
        <dgm:presLayoutVars>
          <dgm:chMax val="0"/>
          <dgm:chPref val="0"/>
          <dgm:bulletEnabled val="1"/>
        </dgm:presLayoutVars>
      </dgm:prSet>
      <dgm:spPr/>
    </dgm:pt>
    <dgm:pt modelId="{420EBE6C-A91F-49B7-AF4C-29A127D6266A}" type="pres">
      <dgm:prSet presAssocID="{A0ED7260-8442-4FBF-80B4-500E49A4F3AF}" presName="parTxOnlySpace" presStyleCnt="0"/>
      <dgm:spPr/>
    </dgm:pt>
    <dgm:pt modelId="{6C62160D-9EC9-4B84-8EFD-9C3E10FC055A}" type="pres">
      <dgm:prSet presAssocID="{B754C885-66E5-4615-BD33-B6EE917A035D}" presName="parTxOnly" presStyleLbl="node1" presStyleIdx="1" presStyleCnt="10">
        <dgm:presLayoutVars>
          <dgm:chMax val="0"/>
          <dgm:chPref val="0"/>
          <dgm:bulletEnabled val="1"/>
        </dgm:presLayoutVars>
      </dgm:prSet>
      <dgm:spPr/>
    </dgm:pt>
    <dgm:pt modelId="{6415A264-B3C7-41A6-9BA0-D0AD6AE1DACB}" type="pres">
      <dgm:prSet presAssocID="{79AAED35-18A8-4347-A2B8-6AAE8B34BA56}" presName="parTxOnlySpace" presStyleCnt="0"/>
      <dgm:spPr/>
    </dgm:pt>
    <dgm:pt modelId="{636F50A3-8EFE-4C08-B6BE-284B03274F0B}" type="pres">
      <dgm:prSet presAssocID="{72FFD339-6A5F-4ED7-B529-6155AF8C35BB}" presName="parTxOnly" presStyleLbl="node1" presStyleIdx="2" presStyleCnt="10">
        <dgm:presLayoutVars>
          <dgm:chMax val="0"/>
          <dgm:chPref val="0"/>
          <dgm:bulletEnabled val="1"/>
        </dgm:presLayoutVars>
      </dgm:prSet>
      <dgm:spPr/>
    </dgm:pt>
    <dgm:pt modelId="{B0C5D3FB-8180-4CC6-9F14-5042E96FD8E3}" type="pres">
      <dgm:prSet presAssocID="{A3B7292F-5113-4C29-982F-BC1D14C7BE90}" presName="parTxOnlySpace" presStyleCnt="0"/>
      <dgm:spPr/>
    </dgm:pt>
    <dgm:pt modelId="{6BB9B9CD-B911-4E33-8045-BE6A8D7C5B89}" type="pres">
      <dgm:prSet presAssocID="{9225496C-39D8-4F53-8BB5-1B069B40EB3E}" presName="parTxOnly" presStyleLbl="node1" presStyleIdx="3" presStyleCnt="10">
        <dgm:presLayoutVars>
          <dgm:chMax val="0"/>
          <dgm:chPref val="0"/>
          <dgm:bulletEnabled val="1"/>
        </dgm:presLayoutVars>
      </dgm:prSet>
      <dgm:spPr/>
    </dgm:pt>
    <dgm:pt modelId="{60B2C4AD-8A0D-4CB2-93A9-16C6C0E4BD5B}" type="pres">
      <dgm:prSet presAssocID="{1E3F53DD-2537-4C67-AA71-87081D444A81}" presName="parTxOnlySpace" presStyleCnt="0"/>
      <dgm:spPr/>
    </dgm:pt>
    <dgm:pt modelId="{A29D7AF6-34C9-459D-B160-0F8E7686BA2B}" type="pres">
      <dgm:prSet presAssocID="{2F442204-E894-4EB6-A3FA-953074E6D5F9}" presName="parTxOnly" presStyleLbl="node1" presStyleIdx="4" presStyleCnt="10">
        <dgm:presLayoutVars>
          <dgm:chMax val="0"/>
          <dgm:chPref val="0"/>
          <dgm:bulletEnabled val="1"/>
        </dgm:presLayoutVars>
      </dgm:prSet>
      <dgm:spPr/>
    </dgm:pt>
    <dgm:pt modelId="{7004503D-9639-442B-9C04-FB1247092C40}" type="pres">
      <dgm:prSet presAssocID="{07F51AA8-9070-4A56-AF24-8977CF9B6A80}" presName="parTxOnlySpace" presStyleCnt="0"/>
      <dgm:spPr/>
    </dgm:pt>
    <dgm:pt modelId="{A2199658-E72A-4294-AFD3-6892981EEB12}" type="pres">
      <dgm:prSet presAssocID="{7A5D9CDD-E10F-422D-808B-815C691EF2E8}" presName="parTxOnly" presStyleLbl="node1" presStyleIdx="5" presStyleCnt="10">
        <dgm:presLayoutVars>
          <dgm:chMax val="0"/>
          <dgm:chPref val="0"/>
          <dgm:bulletEnabled val="1"/>
        </dgm:presLayoutVars>
      </dgm:prSet>
      <dgm:spPr/>
    </dgm:pt>
    <dgm:pt modelId="{9B5C0F41-E4E2-4A3A-AA73-E3E4EB6ACD5E}" type="pres">
      <dgm:prSet presAssocID="{63A1392B-D9B4-4604-ACED-CDD4B7E19D6E}" presName="parTxOnlySpace" presStyleCnt="0"/>
      <dgm:spPr/>
    </dgm:pt>
    <dgm:pt modelId="{F9C55CAF-C1A3-4EFD-AD93-3CBF7E30E2FA}" type="pres">
      <dgm:prSet presAssocID="{56EC974B-4690-4A6A-B143-36A5A9DDDB75}" presName="parTxOnly" presStyleLbl="node1" presStyleIdx="6" presStyleCnt="10">
        <dgm:presLayoutVars>
          <dgm:chMax val="0"/>
          <dgm:chPref val="0"/>
          <dgm:bulletEnabled val="1"/>
        </dgm:presLayoutVars>
      </dgm:prSet>
      <dgm:spPr/>
    </dgm:pt>
    <dgm:pt modelId="{DDB26EDE-11AF-40B7-9C16-348181381393}" type="pres">
      <dgm:prSet presAssocID="{57612FAC-3D38-4A5A-9D54-8452999285F4}" presName="parTxOnlySpace" presStyleCnt="0"/>
      <dgm:spPr/>
    </dgm:pt>
    <dgm:pt modelId="{8CED6B9D-804A-4009-A04D-D699125D11F0}" type="pres">
      <dgm:prSet presAssocID="{A07A8528-D240-4AAE-BA81-005F6AD457F1}" presName="parTxOnly" presStyleLbl="node1" presStyleIdx="7" presStyleCnt="10">
        <dgm:presLayoutVars>
          <dgm:chMax val="0"/>
          <dgm:chPref val="0"/>
          <dgm:bulletEnabled val="1"/>
        </dgm:presLayoutVars>
      </dgm:prSet>
      <dgm:spPr/>
    </dgm:pt>
    <dgm:pt modelId="{C3D8151F-F75F-49EC-B6A3-4B15A8912918}" type="pres">
      <dgm:prSet presAssocID="{7D0C416E-0310-43FE-A0D6-735CD62199B6}" presName="parTxOnlySpace" presStyleCnt="0"/>
      <dgm:spPr/>
    </dgm:pt>
    <dgm:pt modelId="{0A5AB2D9-0A33-47A4-83C2-3990E2018CD9}" type="pres">
      <dgm:prSet presAssocID="{5805825E-3BC3-4961-910E-96065463977D}" presName="parTxOnly" presStyleLbl="node1" presStyleIdx="8" presStyleCnt="10">
        <dgm:presLayoutVars>
          <dgm:chMax val="0"/>
          <dgm:chPref val="0"/>
          <dgm:bulletEnabled val="1"/>
        </dgm:presLayoutVars>
      </dgm:prSet>
      <dgm:spPr/>
    </dgm:pt>
    <dgm:pt modelId="{5FE5E96A-0031-41D2-A1BE-2634D143793A}" type="pres">
      <dgm:prSet presAssocID="{B58F1702-0059-4F53-9A60-77242457BBFA}" presName="parTxOnlySpace" presStyleCnt="0"/>
      <dgm:spPr/>
    </dgm:pt>
    <dgm:pt modelId="{F2510710-7BA2-44B7-8AA7-1347717B483B}" type="pres">
      <dgm:prSet presAssocID="{2D51EAF0-C497-40E9-996D-2D0BC40F318C}" presName="parTxOnly" presStyleLbl="node1" presStyleIdx="9" presStyleCnt="10">
        <dgm:presLayoutVars>
          <dgm:chMax val="0"/>
          <dgm:chPref val="0"/>
          <dgm:bulletEnabled val="1"/>
        </dgm:presLayoutVars>
      </dgm:prSet>
      <dgm:spPr/>
    </dgm:pt>
  </dgm:ptLst>
  <dgm:cxnLst>
    <dgm:cxn modelId="{F8EA3703-CEE5-4162-AB46-CFFF8AC28B48}" srcId="{C782CD9B-2B4B-48D2-BF13-2B0D6056B78A}" destId="{B754C885-66E5-4615-BD33-B6EE917A035D}" srcOrd="1" destOrd="0" parTransId="{65812F9F-DD0E-4752-BF8B-D07282594751}" sibTransId="{79AAED35-18A8-4347-A2B8-6AAE8B34BA56}"/>
    <dgm:cxn modelId="{7BC9B318-E7A6-41F3-853C-1D1DFB2050EF}" srcId="{C782CD9B-2B4B-48D2-BF13-2B0D6056B78A}" destId="{2D51EAF0-C497-40E9-996D-2D0BC40F318C}" srcOrd="9" destOrd="0" parTransId="{43C509B8-DD3A-429A-ADC4-232D55259B3D}" sibTransId="{66A12237-9546-42D0-81C0-2C324670B743}"/>
    <dgm:cxn modelId="{0968D720-173A-42CA-A2D3-FB73E77D2BE4}" type="presOf" srcId="{2D51EAF0-C497-40E9-996D-2D0BC40F318C}" destId="{F2510710-7BA2-44B7-8AA7-1347717B483B}" srcOrd="0" destOrd="0" presId="urn:microsoft.com/office/officeart/2005/8/layout/chevron1"/>
    <dgm:cxn modelId="{DB4C8823-1203-4872-9380-861DE886DFFF}" type="presOf" srcId="{C782CD9B-2B4B-48D2-BF13-2B0D6056B78A}" destId="{2069E263-CA68-447A-859F-7068DC9AF2B6}" srcOrd="0" destOrd="0" presId="urn:microsoft.com/office/officeart/2005/8/layout/chevron1"/>
    <dgm:cxn modelId="{69A9C830-0AA1-4AE0-B73F-14804ABA4EAD}" type="presOf" srcId="{56EC974B-4690-4A6A-B143-36A5A9DDDB75}" destId="{F9C55CAF-C1A3-4EFD-AD93-3CBF7E30E2FA}" srcOrd="0" destOrd="0" presId="urn:microsoft.com/office/officeart/2005/8/layout/chevron1"/>
    <dgm:cxn modelId="{94A2B45D-2D69-4650-AFC3-C5574217F910}" srcId="{C782CD9B-2B4B-48D2-BF13-2B0D6056B78A}" destId="{9225496C-39D8-4F53-8BB5-1B069B40EB3E}" srcOrd="3" destOrd="0" parTransId="{D3A21DFB-000A-4FCE-9E9D-8516EBA4DD45}" sibTransId="{1E3F53DD-2537-4C67-AA71-87081D444A81}"/>
    <dgm:cxn modelId="{13ECDC5F-AF2B-4E29-AD58-CF9A8BCD807F}" type="presOf" srcId="{DFCF748E-4FA2-4C04-B1DF-85DA1021BE5D}" destId="{F7031506-3856-48AD-BFC1-89D9660F7FF7}" srcOrd="0" destOrd="0" presId="urn:microsoft.com/office/officeart/2005/8/layout/chevron1"/>
    <dgm:cxn modelId="{6FD2AE64-BDEB-482D-ACF3-1D5403180A1E}" srcId="{C782CD9B-2B4B-48D2-BF13-2B0D6056B78A}" destId="{2F442204-E894-4EB6-A3FA-953074E6D5F9}" srcOrd="4" destOrd="0" parTransId="{9E6A019B-6886-407A-A3BB-1A2A8D416818}" sibTransId="{07F51AA8-9070-4A56-AF24-8977CF9B6A80}"/>
    <dgm:cxn modelId="{4106A445-D55D-4258-ACBC-1C836382270A}" type="presOf" srcId="{5805825E-3BC3-4961-910E-96065463977D}" destId="{0A5AB2D9-0A33-47A4-83C2-3990E2018CD9}" srcOrd="0" destOrd="0" presId="urn:microsoft.com/office/officeart/2005/8/layout/chevron1"/>
    <dgm:cxn modelId="{BEDD267B-EA80-4783-A782-86B96AAC5B03}" srcId="{C782CD9B-2B4B-48D2-BF13-2B0D6056B78A}" destId="{7A5D9CDD-E10F-422D-808B-815C691EF2E8}" srcOrd="5" destOrd="0" parTransId="{089AE963-8402-4F38-908B-1CA814F78766}" sibTransId="{63A1392B-D9B4-4604-ACED-CDD4B7E19D6E}"/>
    <dgm:cxn modelId="{5E4FF080-C2DE-4590-BD8F-1AAAEE4C99FE}" type="presOf" srcId="{72FFD339-6A5F-4ED7-B529-6155AF8C35BB}" destId="{636F50A3-8EFE-4C08-B6BE-284B03274F0B}" srcOrd="0" destOrd="0" presId="urn:microsoft.com/office/officeart/2005/8/layout/chevron1"/>
    <dgm:cxn modelId="{A2C5D89C-7EE6-46AB-ABED-961E1873C33A}" type="presOf" srcId="{2F442204-E894-4EB6-A3FA-953074E6D5F9}" destId="{A29D7AF6-34C9-459D-B160-0F8E7686BA2B}" srcOrd="0" destOrd="0" presId="urn:microsoft.com/office/officeart/2005/8/layout/chevron1"/>
    <dgm:cxn modelId="{92751D9D-02E3-45C2-978C-737085227C42}" srcId="{C782CD9B-2B4B-48D2-BF13-2B0D6056B78A}" destId="{DFCF748E-4FA2-4C04-B1DF-85DA1021BE5D}" srcOrd="0" destOrd="0" parTransId="{7DAF1956-B700-4203-9672-92E4451DCC31}" sibTransId="{A0ED7260-8442-4FBF-80B4-500E49A4F3AF}"/>
    <dgm:cxn modelId="{195D74A4-1718-472C-B14F-DBD85BA524C2}" type="presOf" srcId="{A07A8528-D240-4AAE-BA81-005F6AD457F1}" destId="{8CED6B9D-804A-4009-A04D-D699125D11F0}" srcOrd="0" destOrd="0" presId="urn:microsoft.com/office/officeart/2005/8/layout/chevron1"/>
    <dgm:cxn modelId="{FE5FBCA8-5D6F-44E5-8DFA-D24300AECCE8}" srcId="{C782CD9B-2B4B-48D2-BF13-2B0D6056B78A}" destId="{56EC974B-4690-4A6A-B143-36A5A9DDDB75}" srcOrd="6" destOrd="0" parTransId="{F24B2512-EFC3-4494-92F8-F4C2A580DD56}" sibTransId="{57612FAC-3D38-4A5A-9D54-8452999285F4}"/>
    <dgm:cxn modelId="{6E599ACE-115B-4D8C-9DC4-DB1966D21156}" type="presOf" srcId="{B754C885-66E5-4615-BD33-B6EE917A035D}" destId="{6C62160D-9EC9-4B84-8EFD-9C3E10FC055A}" srcOrd="0" destOrd="0" presId="urn:microsoft.com/office/officeart/2005/8/layout/chevron1"/>
    <dgm:cxn modelId="{D6C89AE1-00A8-492D-888B-1E3DDC006D86}" srcId="{C782CD9B-2B4B-48D2-BF13-2B0D6056B78A}" destId="{5805825E-3BC3-4961-910E-96065463977D}" srcOrd="8" destOrd="0" parTransId="{263FA899-3C2D-4809-A47A-DB65911293C7}" sibTransId="{B58F1702-0059-4F53-9A60-77242457BBFA}"/>
    <dgm:cxn modelId="{1EA1D3F4-F271-481D-94ED-7AF70132C3BB}" type="presOf" srcId="{9225496C-39D8-4F53-8BB5-1B069B40EB3E}" destId="{6BB9B9CD-B911-4E33-8045-BE6A8D7C5B89}" srcOrd="0" destOrd="0" presId="urn:microsoft.com/office/officeart/2005/8/layout/chevron1"/>
    <dgm:cxn modelId="{C381E8F4-D0AE-4AD0-B8F1-4BDFF55901DE}" srcId="{C782CD9B-2B4B-48D2-BF13-2B0D6056B78A}" destId="{72FFD339-6A5F-4ED7-B529-6155AF8C35BB}" srcOrd="2" destOrd="0" parTransId="{ECFEA23F-DCCD-42C6-8706-10917CE3C2B0}" sibTransId="{A3B7292F-5113-4C29-982F-BC1D14C7BE90}"/>
    <dgm:cxn modelId="{C9F268FB-CB20-4E78-9CDC-F035D61B7E09}" srcId="{C782CD9B-2B4B-48D2-BF13-2B0D6056B78A}" destId="{A07A8528-D240-4AAE-BA81-005F6AD457F1}" srcOrd="7" destOrd="0" parTransId="{3C15A388-1B3D-47E8-B2CB-E67F7E1AFFF1}" sibTransId="{7D0C416E-0310-43FE-A0D6-735CD62199B6}"/>
    <dgm:cxn modelId="{DEB4E5FE-8D8D-4576-8C71-C710BE325497}" type="presOf" srcId="{7A5D9CDD-E10F-422D-808B-815C691EF2E8}" destId="{A2199658-E72A-4294-AFD3-6892981EEB12}" srcOrd="0" destOrd="0" presId="urn:microsoft.com/office/officeart/2005/8/layout/chevron1"/>
    <dgm:cxn modelId="{FADB014E-2C27-43D2-926D-3ACD5007BD6C}" type="presParOf" srcId="{2069E263-CA68-447A-859F-7068DC9AF2B6}" destId="{F7031506-3856-48AD-BFC1-89D9660F7FF7}" srcOrd="0" destOrd="0" presId="urn:microsoft.com/office/officeart/2005/8/layout/chevron1"/>
    <dgm:cxn modelId="{A8E877D0-A350-45FD-B755-3090F0B5C682}" type="presParOf" srcId="{2069E263-CA68-447A-859F-7068DC9AF2B6}" destId="{420EBE6C-A91F-49B7-AF4C-29A127D6266A}" srcOrd="1" destOrd="0" presId="urn:microsoft.com/office/officeart/2005/8/layout/chevron1"/>
    <dgm:cxn modelId="{0D9DCD30-235B-44D5-B40A-0F26F47EFED3}" type="presParOf" srcId="{2069E263-CA68-447A-859F-7068DC9AF2B6}" destId="{6C62160D-9EC9-4B84-8EFD-9C3E10FC055A}" srcOrd="2" destOrd="0" presId="urn:microsoft.com/office/officeart/2005/8/layout/chevron1"/>
    <dgm:cxn modelId="{F0A7B14B-24ED-4C41-9AD4-691765E5BC00}" type="presParOf" srcId="{2069E263-CA68-447A-859F-7068DC9AF2B6}" destId="{6415A264-B3C7-41A6-9BA0-D0AD6AE1DACB}" srcOrd="3" destOrd="0" presId="urn:microsoft.com/office/officeart/2005/8/layout/chevron1"/>
    <dgm:cxn modelId="{718AB38C-81E4-4538-BD37-55FC1A0BFF06}" type="presParOf" srcId="{2069E263-CA68-447A-859F-7068DC9AF2B6}" destId="{636F50A3-8EFE-4C08-B6BE-284B03274F0B}" srcOrd="4" destOrd="0" presId="urn:microsoft.com/office/officeart/2005/8/layout/chevron1"/>
    <dgm:cxn modelId="{492B3195-0D1A-4C6F-84D9-DFFBFFFD3C20}" type="presParOf" srcId="{2069E263-CA68-447A-859F-7068DC9AF2B6}" destId="{B0C5D3FB-8180-4CC6-9F14-5042E96FD8E3}" srcOrd="5" destOrd="0" presId="urn:microsoft.com/office/officeart/2005/8/layout/chevron1"/>
    <dgm:cxn modelId="{9DFF5F0C-5945-4ABD-8D6E-C8EA393F4982}" type="presParOf" srcId="{2069E263-CA68-447A-859F-7068DC9AF2B6}" destId="{6BB9B9CD-B911-4E33-8045-BE6A8D7C5B89}" srcOrd="6" destOrd="0" presId="urn:microsoft.com/office/officeart/2005/8/layout/chevron1"/>
    <dgm:cxn modelId="{2A79F6C2-2065-4574-8026-DD94CFD85DF2}" type="presParOf" srcId="{2069E263-CA68-447A-859F-7068DC9AF2B6}" destId="{60B2C4AD-8A0D-4CB2-93A9-16C6C0E4BD5B}" srcOrd="7" destOrd="0" presId="urn:microsoft.com/office/officeart/2005/8/layout/chevron1"/>
    <dgm:cxn modelId="{D4828C08-8A97-4C1D-B600-09CC2D8B9AD9}" type="presParOf" srcId="{2069E263-CA68-447A-859F-7068DC9AF2B6}" destId="{A29D7AF6-34C9-459D-B160-0F8E7686BA2B}" srcOrd="8" destOrd="0" presId="urn:microsoft.com/office/officeart/2005/8/layout/chevron1"/>
    <dgm:cxn modelId="{D0125D71-ED4A-4CFC-933B-3275EB04EF41}" type="presParOf" srcId="{2069E263-CA68-447A-859F-7068DC9AF2B6}" destId="{7004503D-9639-442B-9C04-FB1247092C40}" srcOrd="9" destOrd="0" presId="urn:microsoft.com/office/officeart/2005/8/layout/chevron1"/>
    <dgm:cxn modelId="{E11184DC-602A-4820-A8B1-5C2ECCF1D2F9}" type="presParOf" srcId="{2069E263-CA68-447A-859F-7068DC9AF2B6}" destId="{A2199658-E72A-4294-AFD3-6892981EEB12}" srcOrd="10" destOrd="0" presId="urn:microsoft.com/office/officeart/2005/8/layout/chevron1"/>
    <dgm:cxn modelId="{90F006AC-140D-490E-9975-7459190453CB}" type="presParOf" srcId="{2069E263-CA68-447A-859F-7068DC9AF2B6}" destId="{9B5C0F41-E4E2-4A3A-AA73-E3E4EB6ACD5E}" srcOrd="11" destOrd="0" presId="urn:microsoft.com/office/officeart/2005/8/layout/chevron1"/>
    <dgm:cxn modelId="{45A7FA71-F9D9-4175-A70B-4A47B4C4E47B}" type="presParOf" srcId="{2069E263-CA68-447A-859F-7068DC9AF2B6}" destId="{F9C55CAF-C1A3-4EFD-AD93-3CBF7E30E2FA}" srcOrd="12" destOrd="0" presId="urn:microsoft.com/office/officeart/2005/8/layout/chevron1"/>
    <dgm:cxn modelId="{23DA317F-4512-49D8-AC36-69DA8A7EFFAD}" type="presParOf" srcId="{2069E263-CA68-447A-859F-7068DC9AF2B6}" destId="{DDB26EDE-11AF-40B7-9C16-348181381393}" srcOrd="13" destOrd="0" presId="urn:microsoft.com/office/officeart/2005/8/layout/chevron1"/>
    <dgm:cxn modelId="{8C920795-9663-4485-9B14-ADD2218A940B}" type="presParOf" srcId="{2069E263-CA68-447A-859F-7068DC9AF2B6}" destId="{8CED6B9D-804A-4009-A04D-D699125D11F0}" srcOrd="14" destOrd="0" presId="urn:microsoft.com/office/officeart/2005/8/layout/chevron1"/>
    <dgm:cxn modelId="{D0B0FB3D-D146-4A7E-9E62-D65B1D34E423}" type="presParOf" srcId="{2069E263-CA68-447A-859F-7068DC9AF2B6}" destId="{C3D8151F-F75F-49EC-B6A3-4B15A8912918}" srcOrd="15" destOrd="0" presId="urn:microsoft.com/office/officeart/2005/8/layout/chevron1"/>
    <dgm:cxn modelId="{C6DB5466-07DA-428C-9498-D3250F39C1A4}" type="presParOf" srcId="{2069E263-CA68-447A-859F-7068DC9AF2B6}" destId="{0A5AB2D9-0A33-47A4-83C2-3990E2018CD9}" srcOrd="16" destOrd="0" presId="urn:microsoft.com/office/officeart/2005/8/layout/chevron1"/>
    <dgm:cxn modelId="{BE40A35F-FCF0-4D67-A673-998B27D3C3B8}" type="presParOf" srcId="{2069E263-CA68-447A-859F-7068DC9AF2B6}" destId="{5FE5E96A-0031-41D2-A1BE-2634D143793A}" srcOrd="17" destOrd="0" presId="urn:microsoft.com/office/officeart/2005/8/layout/chevron1"/>
    <dgm:cxn modelId="{9042E0FB-CF59-4E08-AA87-39A06B6DB49E}" type="presParOf" srcId="{2069E263-CA68-447A-859F-7068DC9AF2B6}" destId="{F2510710-7BA2-44B7-8AA7-1347717B483B}" srcOrd="18"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C782CD9B-2B4B-48D2-BF13-2B0D6056B78A}"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it-IT"/>
        </a:p>
      </dgm:t>
    </dgm:pt>
    <dgm:pt modelId="{DFCF748E-4FA2-4C04-B1DF-85DA1021BE5D}">
      <dgm:prSet phldrT="[Testo]"/>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Rete viaria complessiva</a:t>
          </a:r>
        </a:p>
      </dgm:t>
    </dgm:pt>
    <dgm:pt modelId="{7DAF1956-B700-4203-9672-92E4451DCC31}" type="parTrans" cxnId="{92751D9D-02E3-45C2-978C-737085227C42}">
      <dgm:prSet/>
      <dgm:spPr/>
      <dgm:t>
        <a:bodyPr/>
        <a:lstStyle/>
        <a:p>
          <a:endParaRPr lang="it-IT"/>
        </a:p>
      </dgm:t>
    </dgm:pt>
    <dgm:pt modelId="{A0ED7260-8442-4FBF-80B4-500E49A4F3AF}" type="sibTrans" cxnId="{92751D9D-02E3-45C2-978C-737085227C42}">
      <dgm:prSet/>
      <dgm:spPr/>
      <dgm:t>
        <a:bodyPr/>
        <a:lstStyle/>
        <a:p>
          <a:endParaRPr lang="it-IT"/>
        </a:p>
      </dgm:t>
    </dgm:pt>
    <dgm:pt modelId="{B754C885-66E5-4615-BD33-B6EE917A035D}">
      <dgm:prSet phldrT="[Testo]"/>
      <dgm:spPr>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dgm:spPr>
      <dgm:t>
        <a:bodyPr/>
        <a:lstStyle/>
        <a:p>
          <a:r>
            <a:rPr lang="it-IT" dirty="0"/>
            <a:t>Risorse</a:t>
          </a:r>
        </a:p>
      </dgm:t>
    </dgm:pt>
    <dgm:pt modelId="{65812F9F-DD0E-4752-BF8B-D07282594751}" type="parTrans" cxnId="{F8EA3703-CEE5-4162-AB46-CFFF8AC28B48}">
      <dgm:prSet/>
      <dgm:spPr/>
      <dgm:t>
        <a:bodyPr/>
        <a:lstStyle/>
        <a:p>
          <a:endParaRPr lang="it-IT"/>
        </a:p>
      </dgm:t>
    </dgm:pt>
    <dgm:pt modelId="{79AAED35-18A8-4347-A2B8-6AAE8B34BA56}" type="sibTrans" cxnId="{F8EA3703-CEE5-4162-AB46-CFFF8AC28B48}">
      <dgm:prSet/>
      <dgm:spPr/>
      <dgm:t>
        <a:bodyPr/>
        <a:lstStyle/>
        <a:p>
          <a:endParaRPr lang="it-IT"/>
        </a:p>
      </dgm:t>
    </dgm:pt>
    <dgm:pt modelId="{9225496C-39D8-4F53-8BB5-1B069B40EB3E}">
      <dgm:prSet phldrT="[Testo]"/>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Affidamenti</a:t>
          </a:r>
        </a:p>
      </dgm:t>
    </dgm:pt>
    <dgm:pt modelId="{D3A21DFB-000A-4FCE-9E9D-8516EBA4DD45}" type="parTrans" cxnId="{94A2B45D-2D69-4650-AFC3-C5574217F910}">
      <dgm:prSet/>
      <dgm:spPr/>
      <dgm:t>
        <a:bodyPr/>
        <a:lstStyle/>
        <a:p>
          <a:endParaRPr lang="it-IT"/>
        </a:p>
      </dgm:t>
    </dgm:pt>
    <dgm:pt modelId="{1E3F53DD-2537-4C67-AA71-87081D444A81}" type="sibTrans" cxnId="{94A2B45D-2D69-4650-AFC3-C5574217F910}">
      <dgm:prSet/>
      <dgm:spPr/>
      <dgm:t>
        <a:bodyPr/>
        <a:lstStyle/>
        <a:p>
          <a:endParaRPr lang="it-IT"/>
        </a:p>
      </dgm:t>
    </dgm:pt>
    <dgm:pt modelId="{2F442204-E894-4EB6-A3FA-953074E6D5F9}">
      <dgm:prSet phldrT="[Testo]" custT="1"/>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sz="700" dirty="0"/>
            <a:t>Investimenti e Produzione</a:t>
          </a:r>
        </a:p>
        <a:p>
          <a:r>
            <a:rPr lang="it-IT" sz="700" dirty="0"/>
            <a:t>MP</a:t>
          </a:r>
        </a:p>
      </dgm:t>
    </dgm:pt>
    <dgm:pt modelId="{9E6A019B-6886-407A-A3BB-1A2A8D416818}" type="parTrans" cxnId="{6FD2AE64-BDEB-482D-ACF3-1D5403180A1E}">
      <dgm:prSet/>
      <dgm:spPr/>
      <dgm:t>
        <a:bodyPr/>
        <a:lstStyle/>
        <a:p>
          <a:endParaRPr lang="it-IT"/>
        </a:p>
      </dgm:t>
    </dgm:pt>
    <dgm:pt modelId="{07F51AA8-9070-4A56-AF24-8977CF9B6A80}" type="sibTrans" cxnId="{6FD2AE64-BDEB-482D-ACF3-1D5403180A1E}">
      <dgm:prSet/>
      <dgm:spPr/>
      <dgm:t>
        <a:bodyPr/>
        <a:lstStyle/>
        <a:p>
          <a:endParaRPr lang="it-IT"/>
        </a:p>
      </dgm:t>
    </dgm:pt>
    <dgm:pt modelId="{2D51EAF0-C497-40E9-996D-2D0BC40F318C}">
      <dgm:prSet phldrT="[Testo]"/>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Pagamenti</a:t>
          </a:r>
        </a:p>
      </dgm:t>
    </dgm:pt>
    <dgm:pt modelId="{43C509B8-DD3A-429A-ADC4-232D55259B3D}" type="parTrans" cxnId="{7BC9B318-E7A6-41F3-853C-1D1DFB2050EF}">
      <dgm:prSet/>
      <dgm:spPr/>
      <dgm:t>
        <a:bodyPr/>
        <a:lstStyle/>
        <a:p>
          <a:endParaRPr lang="it-IT"/>
        </a:p>
      </dgm:t>
    </dgm:pt>
    <dgm:pt modelId="{66A12237-9546-42D0-81C0-2C324670B743}" type="sibTrans" cxnId="{7BC9B318-E7A6-41F3-853C-1D1DFB2050EF}">
      <dgm:prSet/>
      <dgm:spPr/>
      <dgm:t>
        <a:bodyPr/>
        <a:lstStyle/>
        <a:p>
          <a:endParaRPr lang="it-IT"/>
        </a:p>
      </dgm:t>
    </dgm:pt>
    <dgm:pt modelId="{72FFD339-6A5F-4ED7-B529-6155AF8C35BB}">
      <dgm:prSet/>
      <dgm:spPr>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dgm:spPr>
      <dgm:t>
        <a:bodyPr/>
        <a:lstStyle/>
        <a:p>
          <a:r>
            <a:rPr lang="it-IT" dirty="0" err="1"/>
            <a:t>soc</a:t>
          </a:r>
          <a:endParaRPr lang="it-IT" dirty="0"/>
        </a:p>
      </dgm:t>
    </dgm:pt>
    <dgm:pt modelId="{ECFEA23F-DCCD-42C6-8706-10917CE3C2B0}" type="parTrans" cxnId="{C381E8F4-D0AE-4AD0-B8F1-4BDFF55901DE}">
      <dgm:prSet/>
      <dgm:spPr/>
      <dgm:t>
        <a:bodyPr/>
        <a:lstStyle/>
        <a:p>
          <a:endParaRPr lang="it-IT"/>
        </a:p>
      </dgm:t>
    </dgm:pt>
    <dgm:pt modelId="{A3B7292F-5113-4C29-982F-BC1D14C7BE90}" type="sibTrans" cxnId="{C381E8F4-D0AE-4AD0-B8F1-4BDFF55901DE}">
      <dgm:prSet/>
      <dgm:spPr/>
      <dgm:t>
        <a:bodyPr/>
        <a:lstStyle/>
        <a:p>
          <a:endParaRPr lang="it-IT"/>
        </a:p>
      </dgm:t>
    </dgm:pt>
    <dgm:pt modelId="{A07A8528-D240-4AAE-BA81-005F6AD457F1}">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Ispezione Opere D’arte</a:t>
          </a:r>
        </a:p>
      </dgm:t>
    </dgm:pt>
    <dgm:pt modelId="{3C15A388-1B3D-47E8-B2CB-E67F7E1AFFF1}" type="parTrans" cxnId="{C9F268FB-CB20-4E78-9CDC-F035D61B7E09}">
      <dgm:prSet/>
      <dgm:spPr/>
      <dgm:t>
        <a:bodyPr/>
        <a:lstStyle/>
        <a:p>
          <a:endParaRPr lang="it-IT"/>
        </a:p>
      </dgm:t>
    </dgm:pt>
    <dgm:pt modelId="{7D0C416E-0310-43FE-A0D6-735CD62199B6}" type="sibTrans" cxnId="{C9F268FB-CB20-4E78-9CDC-F035D61B7E09}">
      <dgm:prSet/>
      <dgm:spPr/>
      <dgm:t>
        <a:bodyPr/>
        <a:lstStyle/>
        <a:p>
          <a:endParaRPr lang="it-IT"/>
        </a:p>
      </dgm:t>
    </dgm:pt>
    <dgm:pt modelId="{56EC974B-4690-4A6A-B143-36A5A9DDDB75}">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Supporto Tecnico</a:t>
          </a:r>
        </a:p>
      </dgm:t>
    </dgm:pt>
    <dgm:pt modelId="{F24B2512-EFC3-4494-92F8-F4C2A580DD56}" type="parTrans" cxnId="{FE5FBCA8-5D6F-44E5-8DFA-D24300AECCE8}">
      <dgm:prSet/>
      <dgm:spPr/>
      <dgm:t>
        <a:bodyPr/>
        <a:lstStyle/>
        <a:p>
          <a:endParaRPr lang="it-IT"/>
        </a:p>
      </dgm:t>
    </dgm:pt>
    <dgm:pt modelId="{57612FAC-3D38-4A5A-9D54-8452999285F4}" type="sibTrans" cxnId="{FE5FBCA8-5D6F-44E5-8DFA-D24300AECCE8}">
      <dgm:prSet/>
      <dgm:spPr/>
      <dgm:t>
        <a:bodyPr/>
        <a:lstStyle/>
        <a:p>
          <a:endParaRPr lang="it-IT"/>
        </a:p>
      </dgm:t>
    </dgm:pt>
    <dgm:pt modelId="{5805825E-3BC3-4961-910E-96065463977D}">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Interventi Rilevanti</a:t>
          </a:r>
        </a:p>
      </dgm:t>
    </dgm:pt>
    <dgm:pt modelId="{263FA899-3C2D-4809-A47A-DB65911293C7}" type="parTrans" cxnId="{D6C89AE1-00A8-492D-888B-1E3DDC006D86}">
      <dgm:prSet/>
      <dgm:spPr/>
      <dgm:t>
        <a:bodyPr/>
        <a:lstStyle/>
        <a:p>
          <a:endParaRPr lang="it-IT"/>
        </a:p>
      </dgm:t>
    </dgm:pt>
    <dgm:pt modelId="{B58F1702-0059-4F53-9A60-77242457BBFA}" type="sibTrans" cxnId="{D6C89AE1-00A8-492D-888B-1E3DDC006D86}">
      <dgm:prSet/>
      <dgm:spPr/>
      <dgm:t>
        <a:bodyPr/>
        <a:lstStyle/>
        <a:p>
          <a:endParaRPr lang="it-IT"/>
        </a:p>
      </dgm:t>
    </dgm:pt>
    <dgm:pt modelId="{7A5D9CDD-E10F-422D-808B-815C691EF2E8}">
      <dgm:prSet phldrT="[Testo]" custT="1"/>
      <dgm:spPr>
        <a:solidFill>
          <a:schemeClr val="tx2"/>
        </a:solidFill>
      </dgm:spPr>
      <dgm:t>
        <a:bodyPr/>
        <a:lstStyle/>
        <a:p>
          <a:r>
            <a:rPr lang="it-IT" sz="700" dirty="0"/>
            <a:t>Investimenti e Produzione</a:t>
          </a:r>
        </a:p>
        <a:p>
          <a:r>
            <a:rPr lang="it-IT" sz="700" dirty="0"/>
            <a:t>NO</a:t>
          </a:r>
        </a:p>
      </dgm:t>
    </dgm:pt>
    <dgm:pt modelId="{089AE963-8402-4F38-908B-1CA814F78766}" type="parTrans" cxnId="{BEDD267B-EA80-4783-A782-86B96AAC5B03}">
      <dgm:prSet/>
      <dgm:spPr/>
      <dgm:t>
        <a:bodyPr/>
        <a:lstStyle/>
        <a:p>
          <a:endParaRPr lang="it-IT"/>
        </a:p>
      </dgm:t>
    </dgm:pt>
    <dgm:pt modelId="{63A1392B-D9B4-4604-ACED-CDD4B7E19D6E}" type="sibTrans" cxnId="{BEDD267B-EA80-4783-A782-86B96AAC5B03}">
      <dgm:prSet/>
      <dgm:spPr/>
      <dgm:t>
        <a:bodyPr/>
        <a:lstStyle/>
        <a:p>
          <a:endParaRPr lang="it-IT"/>
        </a:p>
      </dgm:t>
    </dgm:pt>
    <dgm:pt modelId="{2069E263-CA68-447A-859F-7068DC9AF2B6}" type="pres">
      <dgm:prSet presAssocID="{C782CD9B-2B4B-48D2-BF13-2B0D6056B78A}" presName="Name0" presStyleCnt="0">
        <dgm:presLayoutVars>
          <dgm:dir/>
          <dgm:animLvl val="lvl"/>
          <dgm:resizeHandles val="exact"/>
        </dgm:presLayoutVars>
      </dgm:prSet>
      <dgm:spPr/>
    </dgm:pt>
    <dgm:pt modelId="{F7031506-3856-48AD-BFC1-89D9660F7FF7}" type="pres">
      <dgm:prSet presAssocID="{DFCF748E-4FA2-4C04-B1DF-85DA1021BE5D}" presName="parTxOnly" presStyleLbl="node1" presStyleIdx="0" presStyleCnt="10">
        <dgm:presLayoutVars>
          <dgm:chMax val="0"/>
          <dgm:chPref val="0"/>
          <dgm:bulletEnabled val="1"/>
        </dgm:presLayoutVars>
      </dgm:prSet>
      <dgm:spPr/>
    </dgm:pt>
    <dgm:pt modelId="{420EBE6C-A91F-49B7-AF4C-29A127D6266A}" type="pres">
      <dgm:prSet presAssocID="{A0ED7260-8442-4FBF-80B4-500E49A4F3AF}" presName="parTxOnlySpace" presStyleCnt="0"/>
      <dgm:spPr/>
    </dgm:pt>
    <dgm:pt modelId="{6C62160D-9EC9-4B84-8EFD-9C3E10FC055A}" type="pres">
      <dgm:prSet presAssocID="{B754C885-66E5-4615-BD33-B6EE917A035D}" presName="parTxOnly" presStyleLbl="node1" presStyleIdx="1" presStyleCnt="10">
        <dgm:presLayoutVars>
          <dgm:chMax val="0"/>
          <dgm:chPref val="0"/>
          <dgm:bulletEnabled val="1"/>
        </dgm:presLayoutVars>
      </dgm:prSet>
      <dgm:spPr/>
    </dgm:pt>
    <dgm:pt modelId="{6415A264-B3C7-41A6-9BA0-D0AD6AE1DACB}" type="pres">
      <dgm:prSet presAssocID="{79AAED35-18A8-4347-A2B8-6AAE8B34BA56}" presName="parTxOnlySpace" presStyleCnt="0"/>
      <dgm:spPr/>
    </dgm:pt>
    <dgm:pt modelId="{636F50A3-8EFE-4C08-B6BE-284B03274F0B}" type="pres">
      <dgm:prSet presAssocID="{72FFD339-6A5F-4ED7-B529-6155AF8C35BB}" presName="parTxOnly" presStyleLbl="node1" presStyleIdx="2" presStyleCnt="10">
        <dgm:presLayoutVars>
          <dgm:chMax val="0"/>
          <dgm:chPref val="0"/>
          <dgm:bulletEnabled val="1"/>
        </dgm:presLayoutVars>
      </dgm:prSet>
      <dgm:spPr/>
    </dgm:pt>
    <dgm:pt modelId="{B0C5D3FB-8180-4CC6-9F14-5042E96FD8E3}" type="pres">
      <dgm:prSet presAssocID="{A3B7292F-5113-4C29-982F-BC1D14C7BE90}" presName="parTxOnlySpace" presStyleCnt="0"/>
      <dgm:spPr/>
    </dgm:pt>
    <dgm:pt modelId="{6BB9B9CD-B911-4E33-8045-BE6A8D7C5B89}" type="pres">
      <dgm:prSet presAssocID="{9225496C-39D8-4F53-8BB5-1B069B40EB3E}" presName="parTxOnly" presStyleLbl="node1" presStyleIdx="3" presStyleCnt="10">
        <dgm:presLayoutVars>
          <dgm:chMax val="0"/>
          <dgm:chPref val="0"/>
          <dgm:bulletEnabled val="1"/>
        </dgm:presLayoutVars>
      </dgm:prSet>
      <dgm:spPr/>
    </dgm:pt>
    <dgm:pt modelId="{60B2C4AD-8A0D-4CB2-93A9-16C6C0E4BD5B}" type="pres">
      <dgm:prSet presAssocID="{1E3F53DD-2537-4C67-AA71-87081D444A81}" presName="parTxOnlySpace" presStyleCnt="0"/>
      <dgm:spPr/>
    </dgm:pt>
    <dgm:pt modelId="{A29D7AF6-34C9-459D-B160-0F8E7686BA2B}" type="pres">
      <dgm:prSet presAssocID="{2F442204-E894-4EB6-A3FA-953074E6D5F9}" presName="parTxOnly" presStyleLbl="node1" presStyleIdx="4" presStyleCnt="10">
        <dgm:presLayoutVars>
          <dgm:chMax val="0"/>
          <dgm:chPref val="0"/>
          <dgm:bulletEnabled val="1"/>
        </dgm:presLayoutVars>
      </dgm:prSet>
      <dgm:spPr/>
    </dgm:pt>
    <dgm:pt modelId="{7004503D-9639-442B-9C04-FB1247092C40}" type="pres">
      <dgm:prSet presAssocID="{07F51AA8-9070-4A56-AF24-8977CF9B6A80}" presName="parTxOnlySpace" presStyleCnt="0"/>
      <dgm:spPr/>
    </dgm:pt>
    <dgm:pt modelId="{A2199658-E72A-4294-AFD3-6892981EEB12}" type="pres">
      <dgm:prSet presAssocID="{7A5D9CDD-E10F-422D-808B-815C691EF2E8}" presName="parTxOnly" presStyleLbl="node1" presStyleIdx="5" presStyleCnt="10">
        <dgm:presLayoutVars>
          <dgm:chMax val="0"/>
          <dgm:chPref val="0"/>
          <dgm:bulletEnabled val="1"/>
        </dgm:presLayoutVars>
      </dgm:prSet>
      <dgm:spPr/>
    </dgm:pt>
    <dgm:pt modelId="{9B5C0F41-E4E2-4A3A-AA73-E3E4EB6ACD5E}" type="pres">
      <dgm:prSet presAssocID="{63A1392B-D9B4-4604-ACED-CDD4B7E19D6E}" presName="parTxOnlySpace" presStyleCnt="0"/>
      <dgm:spPr/>
    </dgm:pt>
    <dgm:pt modelId="{F9C55CAF-C1A3-4EFD-AD93-3CBF7E30E2FA}" type="pres">
      <dgm:prSet presAssocID="{56EC974B-4690-4A6A-B143-36A5A9DDDB75}" presName="parTxOnly" presStyleLbl="node1" presStyleIdx="6" presStyleCnt="10">
        <dgm:presLayoutVars>
          <dgm:chMax val="0"/>
          <dgm:chPref val="0"/>
          <dgm:bulletEnabled val="1"/>
        </dgm:presLayoutVars>
      </dgm:prSet>
      <dgm:spPr/>
    </dgm:pt>
    <dgm:pt modelId="{DDB26EDE-11AF-40B7-9C16-348181381393}" type="pres">
      <dgm:prSet presAssocID="{57612FAC-3D38-4A5A-9D54-8452999285F4}" presName="parTxOnlySpace" presStyleCnt="0"/>
      <dgm:spPr/>
    </dgm:pt>
    <dgm:pt modelId="{8CED6B9D-804A-4009-A04D-D699125D11F0}" type="pres">
      <dgm:prSet presAssocID="{A07A8528-D240-4AAE-BA81-005F6AD457F1}" presName="parTxOnly" presStyleLbl="node1" presStyleIdx="7" presStyleCnt="10">
        <dgm:presLayoutVars>
          <dgm:chMax val="0"/>
          <dgm:chPref val="0"/>
          <dgm:bulletEnabled val="1"/>
        </dgm:presLayoutVars>
      </dgm:prSet>
      <dgm:spPr/>
    </dgm:pt>
    <dgm:pt modelId="{C3D8151F-F75F-49EC-B6A3-4B15A8912918}" type="pres">
      <dgm:prSet presAssocID="{7D0C416E-0310-43FE-A0D6-735CD62199B6}" presName="parTxOnlySpace" presStyleCnt="0"/>
      <dgm:spPr/>
    </dgm:pt>
    <dgm:pt modelId="{0A5AB2D9-0A33-47A4-83C2-3990E2018CD9}" type="pres">
      <dgm:prSet presAssocID="{5805825E-3BC3-4961-910E-96065463977D}" presName="parTxOnly" presStyleLbl="node1" presStyleIdx="8" presStyleCnt="10">
        <dgm:presLayoutVars>
          <dgm:chMax val="0"/>
          <dgm:chPref val="0"/>
          <dgm:bulletEnabled val="1"/>
        </dgm:presLayoutVars>
      </dgm:prSet>
      <dgm:spPr/>
    </dgm:pt>
    <dgm:pt modelId="{5FE5E96A-0031-41D2-A1BE-2634D143793A}" type="pres">
      <dgm:prSet presAssocID="{B58F1702-0059-4F53-9A60-77242457BBFA}" presName="parTxOnlySpace" presStyleCnt="0"/>
      <dgm:spPr/>
    </dgm:pt>
    <dgm:pt modelId="{F2510710-7BA2-44B7-8AA7-1347717B483B}" type="pres">
      <dgm:prSet presAssocID="{2D51EAF0-C497-40E9-996D-2D0BC40F318C}" presName="parTxOnly" presStyleLbl="node1" presStyleIdx="9" presStyleCnt="10">
        <dgm:presLayoutVars>
          <dgm:chMax val="0"/>
          <dgm:chPref val="0"/>
          <dgm:bulletEnabled val="1"/>
        </dgm:presLayoutVars>
      </dgm:prSet>
      <dgm:spPr/>
    </dgm:pt>
  </dgm:ptLst>
  <dgm:cxnLst>
    <dgm:cxn modelId="{F8EA3703-CEE5-4162-AB46-CFFF8AC28B48}" srcId="{C782CD9B-2B4B-48D2-BF13-2B0D6056B78A}" destId="{B754C885-66E5-4615-BD33-B6EE917A035D}" srcOrd="1" destOrd="0" parTransId="{65812F9F-DD0E-4752-BF8B-D07282594751}" sibTransId="{79AAED35-18A8-4347-A2B8-6AAE8B34BA56}"/>
    <dgm:cxn modelId="{A2274315-F459-48F2-8905-2390688C0CBF}" type="presOf" srcId="{B754C885-66E5-4615-BD33-B6EE917A035D}" destId="{6C62160D-9EC9-4B84-8EFD-9C3E10FC055A}" srcOrd="0" destOrd="0" presId="urn:microsoft.com/office/officeart/2005/8/layout/chevron1"/>
    <dgm:cxn modelId="{7BC9B318-E7A6-41F3-853C-1D1DFB2050EF}" srcId="{C782CD9B-2B4B-48D2-BF13-2B0D6056B78A}" destId="{2D51EAF0-C497-40E9-996D-2D0BC40F318C}" srcOrd="9" destOrd="0" parTransId="{43C509B8-DD3A-429A-ADC4-232D55259B3D}" sibTransId="{66A12237-9546-42D0-81C0-2C324670B743}"/>
    <dgm:cxn modelId="{CC9E1F21-19F2-4EB7-99B6-600FBBF55E53}" type="presOf" srcId="{DFCF748E-4FA2-4C04-B1DF-85DA1021BE5D}" destId="{F7031506-3856-48AD-BFC1-89D9660F7FF7}" srcOrd="0" destOrd="0" presId="urn:microsoft.com/office/officeart/2005/8/layout/chevron1"/>
    <dgm:cxn modelId="{94A2B45D-2D69-4650-AFC3-C5574217F910}" srcId="{C782CD9B-2B4B-48D2-BF13-2B0D6056B78A}" destId="{9225496C-39D8-4F53-8BB5-1B069B40EB3E}" srcOrd="3" destOrd="0" parTransId="{D3A21DFB-000A-4FCE-9E9D-8516EBA4DD45}" sibTransId="{1E3F53DD-2537-4C67-AA71-87081D444A81}"/>
    <dgm:cxn modelId="{6FD2AE64-BDEB-482D-ACF3-1D5403180A1E}" srcId="{C782CD9B-2B4B-48D2-BF13-2B0D6056B78A}" destId="{2F442204-E894-4EB6-A3FA-953074E6D5F9}" srcOrd="4" destOrd="0" parTransId="{9E6A019B-6886-407A-A3BB-1A2A8D416818}" sibTransId="{07F51AA8-9070-4A56-AF24-8977CF9B6A80}"/>
    <dgm:cxn modelId="{39FA0565-7504-4C72-BE09-C10BB4688F40}" type="presOf" srcId="{C782CD9B-2B4B-48D2-BF13-2B0D6056B78A}" destId="{2069E263-CA68-447A-859F-7068DC9AF2B6}" srcOrd="0" destOrd="0" presId="urn:microsoft.com/office/officeart/2005/8/layout/chevron1"/>
    <dgm:cxn modelId="{C3471B65-DF6C-44D4-93A1-1591DCC402A1}" type="presOf" srcId="{2D51EAF0-C497-40E9-996D-2D0BC40F318C}" destId="{F2510710-7BA2-44B7-8AA7-1347717B483B}" srcOrd="0" destOrd="0" presId="urn:microsoft.com/office/officeart/2005/8/layout/chevron1"/>
    <dgm:cxn modelId="{BEDD267B-EA80-4783-A782-86B96AAC5B03}" srcId="{C782CD9B-2B4B-48D2-BF13-2B0D6056B78A}" destId="{7A5D9CDD-E10F-422D-808B-815C691EF2E8}" srcOrd="5" destOrd="0" parTransId="{089AE963-8402-4F38-908B-1CA814F78766}" sibTransId="{63A1392B-D9B4-4604-ACED-CDD4B7E19D6E}"/>
    <dgm:cxn modelId="{CB9E2191-20DF-46FE-AE71-ABAD0651F712}" type="presOf" srcId="{9225496C-39D8-4F53-8BB5-1B069B40EB3E}" destId="{6BB9B9CD-B911-4E33-8045-BE6A8D7C5B89}" srcOrd="0" destOrd="0" presId="urn:microsoft.com/office/officeart/2005/8/layout/chevron1"/>
    <dgm:cxn modelId="{0D68EA99-09B3-434D-96F1-BDF75B3412D9}" type="presOf" srcId="{72FFD339-6A5F-4ED7-B529-6155AF8C35BB}" destId="{636F50A3-8EFE-4C08-B6BE-284B03274F0B}" srcOrd="0" destOrd="0" presId="urn:microsoft.com/office/officeart/2005/8/layout/chevron1"/>
    <dgm:cxn modelId="{92751D9D-02E3-45C2-978C-737085227C42}" srcId="{C782CD9B-2B4B-48D2-BF13-2B0D6056B78A}" destId="{DFCF748E-4FA2-4C04-B1DF-85DA1021BE5D}" srcOrd="0" destOrd="0" parTransId="{7DAF1956-B700-4203-9672-92E4451DCC31}" sibTransId="{A0ED7260-8442-4FBF-80B4-500E49A4F3AF}"/>
    <dgm:cxn modelId="{FE5FBCA8-5D6F-44E5-8DFA-D24300AECCE8}" srcId="{C782CD9B-2B4B-48D2-BF13-2B0D6056B78A}" destId="{56EC974B-4690-4A6A-B143-36A5A9DDDB75}" srcOrd="6" destOrd="0" parTransId="{F24B2512-EFC3-4494-92F8-F4C2A580DD56}" sibTransId="{57612FAC-3D38-4A5A-9D54-8452999285F4}"/>
    <dgm:cxn modelId="{97B2C2B5-2B34-4A66-9AEF-85608564D297}" type="presOf" srcId="{2F442204-E894-4EB6-A3FA-953074E6D5F9}" destId="{A29D7AF6-34C9-459D-B160-0F8E7686BA2B}" srcOrd="0" destOrd="0" presId="urn:microsoft.com/office/officeart/2005/8/layout/chevron1"/>
    <dgm:cxn modelId="{8AD1D6BC-E984-4F79-A0E1-758EB814FC33}" type="presOf" srcId="{7A5D9CDD-E10F-422D-808B-815C691EF2E8}" destId="{A2199658-E72A-4294-AFD3-6892981EEB12}" srcOrd="0" destOrd="0" presId="urn:microsoft.com/office/officeart/2005/8/layout/chevron1"/>
    <dgm:cxn modelId="{863B26BE-E498-4A8D-B303-904F486C2D82}" type="presOf" srcId="{5805825E-3BC3-4961-910E-96065463977D}" destId="{0A5AB2D9-0A33-47A4-83C2-3990E2018CD9}" srcOrd="0" destOrd="0" presId="urn:microsoft.com/office/officeart/2005/8/layout/chevron1"/>
    <dgm:cxn modelId="{B6BBFCD5-6308-4DF5-910F-2946A847645C}" type="presOf" srcId="{56EC974B-4690-4A6A-B143-36A5A9DDDB75}" destId="{F9C55CAF-C1A3-4EFD-AD93-3CBF7E30E2FA}" srcOrd="0" destOrd="0" presId="urn:microsoft.com/office/officeart/2005/8/layout/chevron1"/>
    <dgm:cxn modelId="{D6C89AE1-00A8-492D-888B-1E3DDC006D86}" srcId="{C782CD9B-2B4B-48D2-BF13-2B0D6056B78A}" destId="{5805825E-3BC3-4961-910E-96065463977D}" srcOrd="8" destOrd="0" parTransId="{263FA899-3C2D-4809-A47A-DB65911293C7}" sibTransId="{B58F1702-0059-4F53-9A60-77242457BBFA}"/>
    <dgm:cxn modelId="{C381E8F4-D0AE-4AD0-B8F1-4BDFF55901DE}" srcId="{C782CD9B-2B4B-48D2-BF13-2B0D6056B78A}" destId="{72FFD339-6A5F-4ED7-B529-6155AF8C35BB}" srcOrd="2" destOrd="0" parTransId="{ECFEA23F-DCCD-42C6-8706-10917CE3C2B0}" sibTransId="{A3B7292F-5113-4C29-982F-BC1D14C7BE90}"/>
    <dgm:cxn modelId="{566A79FA-AEC0-4FEC-8593-51960BCAFAD3}" type="presOf" srcId="{A07A8528-D240-4AAE-BA81-005F6AD457F1}" destId="{8CED6B9D-804A-4009-A04D-D699125D11F0}" srcOrd="0" destOrd="0" presId="urn:microsoft.com/office/officeart/2005/8/layout/chevron1"/>
    <dgm:cxn modelId="{C9F268FB-CB20-4E78-9CDC-F035D61B7E09}" srcId="{C782CD9B-2B4B-48D2-BF13-2B0D6056B78A}" destId="{A07A8528-D240-4AAE-BA81-005F6AD457F1}" srcOrd="7" destOrd="0" parTransId="{3C15A388-1B3D-47E8-B2CB-E67F7E1AFFF1}" sibTransId="{7D0C416E-0310-43FE-A0D6-735CD62199B6}"/>
    <dgm:cxn modelId="{B3030C92-CEFE-408C-81E0-BF5D733DE5B8}" type="presParOf" srcId="{2069E263-CA68-447A-859F-7068DC9AF2B6}" destId="{F7031506-3856-48AD-BFC1-89D9660F7FF7}" srcOrd="0" destOrd="0" presId="urn:microsoft.com/office/officeart/2005/8/layout/chevron1"/>
    <dgm:cxn modelId="{243E1ADE-19D5-4D45-92B6-4B4BFB6DA4FB}" type="presParOf" srcId="{2069E263-CA68-447A-859F-7068DC9AF2B6}" destId="{420EBE6C-A91F-49B7-AF4C-29A127D6266A}" srcOrd="1" destOrd="0" presId="urn:microsoft.com/office/officeart/2005/8/layout/chevron1"/>
    <dgm:cxn modelId="{D84357AB-A3D5-4FEB-871C-59DA632F19C5}" type="presParOf" srcId="{2069E263-CA68-447A-859F-7068DC9AF2B6}" destId="{6C62160D-9EC9-4B84-8EFD-9C3E10FC055A}" srcOrd="2" destOrd="0" presId="urn:microsoft.com/office/officeart/2005/8/layout/chevron1"/>
    <dgm:cxn modelId="{2BC4F3CE-544C-45E3-AFDF-AA4DFD1C0B9E}" type="presParOf" srcId="{2069E263-CA68-447A-859F-7068DC9AF2B6}" destId="{6415A264-B3C7-41A6-9BA0-D0AD6AE1DACB}" srcOrd="3" destOrd="0" presId="urn:microsoft.com/office/officeart/2005/8/layout/chevron1"/>
    <dgm:cxn modelId="{1FDDAD74-ADDF-448D-B4AC-6BAD0DF5AB69}" type="presParOf" srcId="{2069E263-CA68-447A-859F-7068DC9AF2B6}" destId="{636F50A3-8EFE-4C08-B6BE-284B03274F0B}" srcOrd="4" destOrd="0" presId="urn:microsoft.com/office/officeart/2005/8/layout/chevron1"/>
    <dgm:cxn modelId="{AFD1E6A1-9CE6-4384-B8D8-43AEA296D562}" type="presParOf" srcId="{2069E263-CA68-447A-859F-7068DC9AF2B6}" destId="{B0C5D3FB-8180-4CC6-9F14-5042E96FD8E3}" srcOrd="5" destOrd="0" presId="urn:microsoft.com/office/officeart/2005/8/layout/chevron1"/>
    <dgm:cxn modelId="{74560666-99B3-4022-8817-729C2CC487DF}" type="presParOf" srcId="{2069E263-CA68-447A-859F-7068DC9AF2B6}" destId="{6BB9B9CD-B911-4E33-8045-BE6A8D7C5B89}" srcOrd="6" destOrd="0" presId="urn:microsoft.com/office/officeart/2005/8/layout/chevron1"/>
    <dgm:cxn modelId="{E35F3340-5492-49D8-B3A2-FF41476B8F83}" type="presParOf" srcId="{2069E263-CA68-447A-859F-7068DC9AF2B6}" destId="{60B2C4AD-8A0D-4CB2-93A9-16C6C0E4BD5B}" srcOrd="7" destOrd="0" presId="urn:microsoft.com/office/officeart/2005/8/layout/chevron1"/>
    <dgm:cxn modelId="{DABF9917-3A53-45B4-AEB2-30850A9816FB}" type="presParOf" srcId="{2069E263-CA68-447A-859F-7068DC9AF2B6}" destId="{A29D7AF6-34C9-459D-B160-0F8E7686BA2B}" srcOrd="8" destOrd="0" presId="urn:microsoft.com/office/officeart/2005/8/layout/chevron1"/>
    <dgm:cxn modelId="{178AE135-AE0D-4591-8543-83A3431DF007}" type="presParOf" srcId="{2069E263-CA68-447A-859F-7068DC9AF2B6}" destId="{7004503D-9639-442B-9C04-FB1247092C40}" srcOrd="9" destOrd="0" presId="urn:microsoft.com/office/officeart/2005/8/layout/chevron1"/>
    <dgm:cxn modelId="{2CC0527E-3829-4DF9-A7D1-0525B463F60C}" type="presParOf" srcId="{2069E263-CA68-447A-859F-7068DC9AF2B6}" destId="{A2199658-E72A-4294-AFD3-6892981EEB12}" srcOrd="10" destOrd="0" presId="urn:microsoft.com/office/officeart/2005/8/layout/chevron1"/>
    <dgm:cxn modelId="{B5DC1498-B5E5-43DB-91CE-D1D416400DBE}" type="presParOf" srcId="{2069E263-CA68-447A-859F-7068DC9AF2B6}" destId="{9B5C0F41-E4E2-4A3A-AA73-E3E4EB6ACD5E}" srcOrd="11" destOrd="0" presId="urn:microsoft.com/office/officeart/2005/8/layout/chevron1"/>
    <dgm:cxn modelId="{EF15B4AD-EEDA-4122-9DE2-36564EEDCEB5}" type="presParOf" srcId="{2069E263-CA68-447A-859F-7068DC9AF2B6}" destId="{F9C55CAF-C1A3-4EFD-AD93-3CBF7E30E2FA}" srcOrd="12" destOrd="0" presId="urn:microsoft.com/office/officeart/2005/8/layout/chevron1"/>
    <dgm:cxn modelId="{B0DEC693-A8A5-46C5-BFB9-DD474DB722DD}" type="presParOf" srcId="{2069E263-CA68-447A-859F-7068DC9AF2B6}" destId="{DDB26EDE-11AF-40B7-9C16-348181381393}" srcOrd="13" destOrd="0" presId="urn:microsoft.com/office/officeart/2005/8/layout/chevron1"/>
    <dgm:cxn modelId="{C74F0604-07DF-46AA-B2AE-FD9848E874C6}" type="presParOf" srcId="{2069E263-CA68-447A-859F-7068DC9AF2B6}" destId="{8CED6B9D-804A-4009-A04D-D699125D11F0}" srcOrd="14" destOrd="0" presId="urn:microsoft.com/office/officeart/2005/8/layout/chevron1"/>
    <dgm:cxn modelId="{5F679AE0-A1F9-49BE-A435-E2B33E4F2CC6}" type="presParOf" srcId="{2069E263-CA68-447A-859F-7068DC9AF2B6}" destId="{C3D8151F-F75F-49EC-B6A3-4B15A8912918}" srcOrd="15" destOrd="0" presId="urn:microsoft.com/office/officeart/2005/8/layout/chevron1"/>
    <dgm:cxn modelId="{8E0B401F-3379-412E-81B9-603DBC5EDBD0}" type="presParOf" srcId="{2069E263-CA68-447A-859F-7068DC9AF2B6}" destId="{0A5AB2D9-0A33-47A4-83C2-3990E2018CD9}" srcOrd="16" destOrd="0" presId="urn:microsoft.com/office/officeart/2005/8/layout/chevron1"/>
    <dgm:cxn modelId="{6010DD7C-E76C-4209-A5C6-63ED65E7F0CD}" type="presParOf" srcId="{2069E263-CA68-447A-859F-7068DC9AF2B6}" destId="{5FE5E96A-0031-41D2-A1BE-2634D143793A}" srcOrd="17" destOrd="0" presId="urn:microsoft.com/office/officeart/2005/8/layout/chevron1"/>
    <dgm:cxn modelId="{B9DDDD63-3F1E-4E1C-B9D6-058FFD6D5344}" type="presParOf" srcId="{2069E263-CA68-447A-859F-7068DC9AF2B6}" destId="{F2510710-7BA2-44B7-8AA7-1347717B483B}" srcOrd="18"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C782CD9B-2B4B-48D2-BF13-2B0D6056B78A}"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it-IT"/>
        </a:p>
      </dgm:t>
    </dgm:pt>
    <dgm:pt modelId="{DFCF748E-4FA2-4C04-B1DF-85DA1021BE5D}">
      <dgm:prSet phldrT="[Testo]"/>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Rete viaria complessiva</a:t>
          </a:r>
        </a:p>
      </dgm:t>
    </dgm:pt>
    <dgm:pt modelId="{7DAF1956-B700-4203-9672-92E4451DCC31}" type="parTrans" cxnId="{92751D9D-02E3-45C2-978C-737085227C42}">
      <dgm:prSet/>
      <dgm:spPr/>
      <dgm:t>
        <a:bodyPr/>
        <a:lstStyle/>
        <a:p>
          <a:endParaRPr lang="it-IT"/>
        </a:p>
      </dgm:t>
    </dgm:pt>
    <dgm:pt modelId="{A0ED7260-8442-4FBF-80B4-500E49A4F3AF}" type="sibTrans" cxnId="{92751D9D-02E3-45C2-978C-737085227C42}">
      <dgm:prSet/>
      <dgm:spPr/>
      <dgm:t>
        <a:bodyPr/>
        <a:lstStyle/>
        <a:p>
          <a:endParaRPr lang="it-IT"/>
        </a:p>
      </dgm:t>
    </dgm:pt>
    <dgm:pt modelId="{B754C885-66E5-4615-BD33-B6EE917A035D}">
      <dgm:prSet phldrT="[Testo]"/>
      <dgm:spPr>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dgm:spPr>
      <dgm:t>
        <a:bodyPr/>
        <a:lstStyle/>
        <a:p>
          <a:r>
            <a:rPr lang="it-IT" dirty="0"/>
            <a:t>Risorse</a:t>
          </a:r>
        </a:p>
      </dgm:t>
    </dgm:pt>
    <dgm:pt modelId="{65812F9F-DD0E-4752-BF8B-D07282594751}" type="parTrans" cxnId="{F8EA3703-CEE5-4162-AB46-CFFF8AC28B48}">
      <dgm:prSet/>
      <dgm:spPr/>
      <dgm:t>
        <a:bodyPr/>
        <a:lstStyle/>
        <a:p>
          <a:endParaRPr lang="it-IT"/>
        </a:p>
      </dgm:t>
    </dgm:pt>
    <dgm:pt modelId="{79AAED35-18A8-4347-A2B8-6AAE8B34BA56}" type="sibTrans" cxnId="{F8EA3703-CEE5-4162-AB46-CFFF8AC28B48}">
      <dgm:prSet/>
      <dgm:spPr/>
      <dgm:t>
        <a:bodyPr/>
        <a:lstStyle/>
        <a:p>
          <a:endParaRPr lang="it-IT"/>
        </a:p>
      </dgm:t>
    </dgm:pt>
    <dgm:pt modelId="{9225496C-39D8-4F53-8BB5-1B069B40EB3E}">
      <dgm:prSet phldrT="[Testo]"/>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Affidamenti</a:t>
          </a:r>
        </a:p>
      </dgm:t>
    </dgm:pt>
    <dgm:pt modelId="{D3A21DFB-000A-4FCE-9E9D-8516EBA4DD45}" type="parTrans" cxnId="{94A2B45D-2D69-4650-AFC3-C5574217F910}">
      <dgm:prSet/>
      <dgm:spPr/>
      <dgm:t>
        <a:bodyPr/>
        <a:lstStyle/>
        <a:p>
          <a:endParaRPr lang="it-IT"/>
        </a:p>
      </dgm:t>
    </dgm:pt>
    <dgm:pt modelId="{1E3F53DD-2537-4C67-AA71-87081D444A81}" type="sibTrans" cxnId="{94A2B45D-2D69-4650-AFC3-C5574217F910}">
      <dgm:prSet/>
      <dgm:spPr/>
      <dgm:t>
        <a:bodyPr/>
        <a:lstStyle/>
        <a:p>
          <a:endParaRPr lang="it-IT"/>
        </a:p>
      </dgm:t>
    </dgm:pt>
    <dgm:pt modelId="{2F442204-E894-4EB6-A3FA-953074E6D5F9}">
      <dgm:prSet phldrT="[Testo]" custT="1"/>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sz="700" dirty="0"/>
            <a:t>Investimenti e Produzione</a:t>
          </a:r>
        </a:p>
        <a:p>
          <a:r>
            <a:rPr lang="it-IT" sz="700" dirty="0"/>
            <a:t>MP</a:t>
          </a:r>
        </a:p>
      </dgm:t>
    </dgm:pt>
    <dgm:pt modelId="{9E6A019B-6886-407A-A3BB-1A2A8D416818}" type="parTrans" cxnId="{6FD2AE64-BDEB-482D-ACF3-1D5403180A1E}">
      <dgm:prSet/>
      <dgm:spPr/>
      <dgm:t>
        <a:bodyPr/>
        <a:lstStyle/>
        <a:p>
          <a:endParaRPr lang="it-IT"/>
        </a:p>
      </dgm:t>
    </dgm:pt>
    <dgm:pt modelId="{07F51AA8-9070-4A56-AF24-8977CF9B6A80}" type="sibTrans" cxnId="{6FD2AE64-BDEB-482D-ACF3-1D5403180A1E}">
      <dgm:prSet/>
      <dgm:spPr/>
      <dgm:t>
        <a:bodyPr/>
        <a:lstStyle/>
        <a:p>
          <a:endParaRPr lang="it-IT"/>
        </a:p>
      </dgm:t>
    </dgm:pt>
    <dgm:pt modelId="{2D51EAF0-C497-40E9-996D-2D0BC40F318C}">
      <dgm:prSet phldrT="[Testo]"/>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Pagamenti</a:t>
          </a:r>
        </a:p>
      </dgm:t>
    </dgm:pt>
    <dgm:pt modelId="{43C509B8-DD3A-429A-ADC4-232D55259B3D}" type="parTrans" cxnId="{7BC9B318-E7A6-41F3-853C-1D1DFB2050EF}">
      <dgm:prSet/>
      <dgm:spPr/>
      <dgm:t>
        <a:bodyPr/>
        <a:lstStyle/>
        <a:p>
          <a:endParaRPr lang="it-IT"/>
        </a:p>
      </dgm:t>
    </dgm:pt>
    <dgm:pt modelId="{66A12237-9546-42D0-81C0-2C324670B743}" type="sibTrans" cxnId="{7BC9B318-E7A6-41F3-853C-1D1DFB2050EF}">
      <dgm:prSet/>
      <dgm:spPr/>
      <dgm:t>
        <a:bodyPr/>
        <a:lstStyle/>
        <a:p>
          <a:endParaRPr lang="it-IT"/>
        </a:p>
      </dgm:t>
    </dgm:pt>
    <dgm:pt modelId="{72FFD339-6A5F-4ED7-B529-6155AF8C35BB}">
      <dgm:prSet/>
      <dgm:spPr>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dgm:spPr>
      <dgm:t>
        <a:bodyPr/>
        <a:lstStyle/>
        <a:p>
          <a:r>
            <a:rPr lang="it-IT" dirty="0" err="1"/>
            <a:t>soc</a:t>
          </a:r>
          <a:endParaRPr lang="it-IT" dirty="0"/>
        </a:p>
      </dgm:t>
    </dgm:pt>
    <dgm:pt modelId="{ECFEA23F-DCCD-42C6-8706-10917CE3C2B0}" type="parTrans" cxnId="{C381E8F4-D0AE-4AD0-B8F1-4BDFF55901DE}">
      <dgm:prSet/>
      <dgm:spPr/>
      <dgm:t>
        <a:bodyPr/>
        <a:lstStyle/>
        <a:p>
          <a:endParaRPr lang="it-IT"/>
        </a:p>
      </dgm:t>
    </dgm:pt>
    <dgm:pt modelId="{A3B7292F-5113-4C29-982F-BC1D14C7BE90}" type="sibTrans" cxnId="{C381E8F4-D0AE-4AD0-B8F1-4BDFF55901DE}">
      <dgm:prSet/>
      <dgm:spPr/>
      <dgm:t>
        <a:bodyPr/>
        <a:lstStyle/>
        <a:p>
          <a:endParaRPr lang="it-IT"/>
        </a:p>
      </dgm:t>
    </dgm:pt>
    <dgm:pt modelId="{A07A8528-D240-4AAE-BA81-005F6AD457F1}">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Ispezione Opere D’arte</a:t>
          </a:r>
        </a:p>
      </dgm:t>
    </dgm:pt>
    <dgm:pt modelId="{3C15A388-1B3D-47E8-B2CB-E67F7E1AFFF1}" type="parTrans" cxnId="{C9F268FB-CB20-4E78-9CDC-F035D61B7E09}">
      <dgm:prSet/>
      <dgm:spPr/>
      <dgm:t>
        <a:bodyPr/>
        <a:lstStyle/>
        <a:p>
          <a:endParaRPr lang="it-IT"/>
        </a:p>
      </dgm:t>
    </dgm:pt>
    <dgm:pt modelId="{7D0C416E-0310-43FE-A0D6-735CD62199B6}" type="sibTrans" cxnId="{C9F268FB-CB20-4E78-9CDC-F035D61B7E09}">
      <dgm:prSet/>
      <dgm:spPr/>
      <dgm:t>
        <a:bodyPr/>
        <a:lstStyle/>
        <a:p>
          <a:endParaRPr lang="it-IT"/>
        </a:p>
      </dgm:t>
    </dgm:pt>
    <dgm:pt modelId="{56EC974B-4690-4A6A-B143-36A5A9DDDB75}">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Supporto Tecnico</a:t>
          </a:r>
        </a:p>
      </dgm:t>
    </dgm:pt>
    <dgm:pt modelId="{F24B2512-EFC3-4494-92F8-F4C2A580DD56}" type="parTrans" cxnId="{FE5FBCA8-5D6F-44E5-8DFA-D24300AECCE8}">
      <dgm:prSet/>
      <dgm:spPr/>
      <dgm:t>
        <a:bodyPr/>
        <a:lstStyle/>
        <a:p>
          <a:endParaRPr lang="it-IT"/>
        </a:p>
      </dgm:t>
    </dgm:pt>
    <dgm:pt modelId="{57612FAC-3D38-4A5A-9D54-8452999285F4}" type="sibTrans" cxnId="{FE5FBCA8-5D6F-44E5-8DFA-D24300AECCE8}">
      <dgm:prSet/>
      <dgm:spPr/>
      <dgm:t>
        <a:bodyPr/>
        <a:lstStyle/>
        <a:p>
          <a:endParaRPr lang="it-IT"/>
        </a:p>
      </dgm:t>
    </dgm:pt>
    <dgm:pt modelId="{5805825E-3BC3-4961-910E-96065463977D}">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Interventi Rilevanti</a:t>
          </a:r>
        </a:p>
      </dgm:t>
    </dgm:pt>
    <dgm:pt modelId="{263FA899-3C2D-4809-A47A-DB65911293C7}" type="parTrans" cxnId="{D6C89AE1-00A8-492D-888B-1E3DDC006D86}">
      <dgm:prSet/>
      <dgm:spPr/>
      <dgm:t>
        <a:bodyPr/>
        <a:lstStyle/>
        <a:p>
          <a:endParaRPr lang="it-IT"/>
        </a:p>
      </dgm:t>
    </dgm:pt>
    <dgm:pt modelId="{B58F1702-0059-4F53-9A60-77242457BBFA}" type="sibTrans" cxnId="{D6C89AE1-00A8-492D-888B-1E3DDC006D86}">
      <dgm:prSet/>
      <dgm:spPr/>
      <dgm:t>
        <a:bodyPr/>
        <a:lstStyle/>
        <a:p>
          <a:endParaRPr lang="it-IT"/>
        </a:p>
      </dgm:t>
    </dgm:pt>
    <dgm:pt modelId="{7A5D9CDD-E10F-422D-808B-815C691EF2E8}">
      <dgm:prSet phldrT="[Testo]" custT="1"/>
      <dgm:spPr>
        <a:solidFill>
          <a:schemeClr val="tx2"/>
        </a:solidFill>
      </dgm:spPr>
      <dgm:t>
        <a:bodyPr/>
        <a:lstStyle/>
        <a:p>
          <a:r>
            <a:rPr lang="it-IT" sz="700" dirty="0"/>
            <a:t>Investimenti e Produzione</a:t>
          </a:r>
        </a:p>
        <a:p>
          <a:r>
            <a:rPr lang="it-IT" sz="700" dirty="0"/>
            <a:t>NO</a:t>
          </a:r>
        </a:p>
      </dgm:t>
    </dgm:pt>
    <dgm:pt modelId="{089AE963-8402-4F38-908B-1CA814F78766}" type="parTrans" cxnId="{BEDD267B-EA80-4783-A782-86B96AAC5B03}">
      <dgm:prSet/>
      <dgm:spPr/>
      <dgm:t>
        <a:bodyPr/>
        <a:lstStyle/>
        <a:p>
          <a:endParaRPr lang="it-IT"/>
        </a:p>
      </dgm:t>
    </dgm:pt>
    <dgm:pt modelId="{63A1392B-D9B4-4604-ACED-CDD4B7E19D6E}" type="sibTrans" cxnId="{BEDD267B-EA80-4783-A782-86B96AAC5B03}">
      <dgm:prSet/>
      <dgm:spPr/>
      <dgm:t>
        <a:bodyPr/>
        <a:lstStyle/>
        <a:p>
          <a:endParaRPr lang="it-IT"/>
        </a:p>
      </dgm:t>
    </dgm:pt>
    <dgm:pt modelId="{2069E263-CA68-447A-859F-7068DC9AF2B6}" type="pres">
      <dgm:prSet presAssocID="{C782CD9B-2B4B-48D2-BF13-2B0D6056B78A}" presName="Name0" presStyleCnt="0">
        <dgm:presLayoutVars>
          <dgm:dir/>
          <dgm:animLvl val="lvl"/>
          <dgm:resizeHandles val="exact"/>
        </dgm:presLayoutVars>
      </dgm:prSet>
      <dgm:spPr/>
    </dgm:pt>
    <dgm:pt modelId="{F7031506-3856-48AD-BFC1-89D9660F7FF7}" type="pres">
      <dgm:prSet presAssocID="{DFCF748E-4FA2-4C04-B1DF-85DA1021BE5D}" presName="parTxOnly" presStyleLbl="node1" presStyleIdx="0" presStyleCnt="10">
        <dgm:presLayoutVars>
          <dgm:chMax val="0"/>
          <dgm:chPref val="0"/>
          <dgm:bulletEnabled val="1"/>
        </dgm:presLayoutVars>
      </dgm:prSet>
      <dgm:spPr/>
    </dgm:pt>
    <dgm:pt modelId="{420EBE6C-A91F-49B7-AF4C-29A127D6266A}" type="pres">
      <dgm:prSet presAssocID="{A0ED7260-8442-4FBF-80B4-500E49A4F3AF}" presName="parTxOnlySpace" presStyleCnt="0"/>
      <dgm:spPr/>
    </dgm:pt>
    <dgm:pt modelId="{6C62160D-9EC9-4B84-8EFD-9C3E10FC055A}" type="pres">
      <dgm:prSet presAssocID="{B754C885-66E5-4615-BD33-B6EE917A035D}" presName="parTxOnly" presStyleLbl="node1" presStyleIdx="1" presStyleCnt="10">
        <dgm:presLayoutVars>
          <dgm:chMax val="0"/>
          <dgm:chPref val="0"/>
          <dgm:bulletEnabled val="1"/>
        </dgm:presLayoutVars>
      </dgm:prSet>
      <dgm:spPr/>
    </dgm:pt>
    <dgm:pt modelId="{6415A264-B3C7-41A6-9BA0-D0AD6AE1DACB}" type="pres">
      <dgm:prSet presAssocID="{79AAED35-18A8-4347-A2B8-6AAE8B34BA56}" presName="parTxOnlySpace" presStyleCnt="0"/>
      <dgm:spPr/>
    </dgm:pt>
    <dgm:pt modelId="{636F50A3-8EFE-4C08-B6BE-284B03274F0B}" type="pres">
      <dgm:prSet presAssocID="{72FFD339-6A5F-4ED7-B529-6155AF8C35BB}" presName="parTxOnly" presStyleLbl="node1" presStyleIdx="2" presStyleCnt="10">
        <dgm:presLayoutVars>
          <dgm:chMax val="0"/>
          <dgm:chPref val="0"/>
          <dgm:bulletEnabled val="1"/>
        </dgm:presLayoutVars>
      </dgm:prSet>
      <dgm:spPr/>
    </dgm:pt>
    <dgm:pt modelId="{B0C5D3FB-8180-4CC6-9F14-5042E96FD8E3}" type="pres">
      <dgm:prSet presAssocID="{A3B7292F-5113-4C29-982F-BC1D14C7BE90}" presName="parTxOnlySpace" presStyleCnt="0"/>
      <dgm:spPr/>
    </dgm:pt>
    <dgm:pt modelId="{6BB9B9CD-B911-4E33-8045-BE6A8D7C5B89}" type="pres">
      <dgm:prSet presAssocID="{9225496C-39D8-4F53-8BB5-1B069B40EB3E}" presName="parTxOnly" presStyleLbl="node1" presStyleIdx="3" presStyleCnt="10">
        <dgm:presLayoutVars>
          <dgm:chMax val="0"/>
          <dgm:chPref val="0"/>
          <dgm:bulletEnabled val="1"/>
        </dgm:presLayoutVars>
      </dgm:prSet>
      <dgm:spPr/>
    </dgm:pt>
    <dgm:pt modelId="{60B2C4AD-8A0D-4CB2-93A9-16C6C0E4BD5B}" type="pres">
      <dgm:prSet presAssocID="{1E3F53DD-2537-4C67-AA71-87081D444A81}" presName="parTxOnlySpace" presStyleCnt="0"/>
      <dgm:spPr/>
    </dgm:pt>
    <dgm:pt modelId="{A29D7AF6-34C9-459D-B160-0F8E7686BA2B}" type="pres">
      <dgm:prSet presAssocID="{2F442204-E894-4EB6-A3FA-953074E6D5F9}" presName="parTxOnly" presStyleLbl="node1" presStyleIdx="4" presStyleCnt="10">
        <dgm:presLayoutVars>
          <dgm:chMax val="0"/>
          <dgm:chPref val="0"/>
          <dgm:bulletEnabled val="1"/>
        </dgm:presLayoutVars>
      </dgm:prSet>
      <dgm:spPr/>
    </dgm:pt>
    <dgm:pt modelId="{7004503D-9639-442B-9C04-FB1247092C40}" type="pres">
      <dgm:prSet presAssocID="{07F51AA8-9070-4A56-AF24-8977CF9B6A80}" presName="parTxOnlySpace" presStyleCnt="0"/>
      <dgm:spPr/>
    </dgm:pt>
    <dgm:pt modelId="{A2199658-E72A-4294-AFD3-6892981EEB12}" type="pres">
      <dgm:prSet presAssocID="{7A5D9CDD-E10F-422D-808B-815C691EF2E8}" presName="parTxOnly" presStyleLbl="node1" presStyleIdx="5" presStyleCnt="10">
        <dgm:presLayoutVars>
          <dgm:chMax val="0"/>
          <dgm:chPref val="0"/>
          <dgm:bulletEnabled val="1"/>
        </dgm:presLayoutVars>
      </dgm:prSet>
      <dgm:spPr/>
    </dgm:pt>
    <dgm:pt modelId="{9B5C0F41-E4E2-4A3A-AA73-E3E4EB6ACD5E}" type="pres">
      <dgm:prSet presAssocID="{63A1392B-D9B4-4604-ACED-CDD4B7E19D6E}" presName="parTxOnlySpace" presStyleCnt="0"/>
      <dgm:spPr/>
    </dgm:pt>
    <dgm:pt modelId="{F9C55CAF-C1A3-4EFD-AD93-3CBF7E30E2FA}" type="pres">
      <dgm:prSet presAssocID="{56EC974B-4690-4A6A-B143-36A5A9DDDB75}" presName="parTxOnly" presStyleLbl="node1" presStyleIdx="6" presStyleCnt="10">
        <dgm:presLayoutVars>
          <dgm:chMax val="0"/>
          <dgm:chPref val="0"/>
          <dgm:bulletEnabled val="1"/>
        </dgm:presLayoutVars>
      </dgm:prSet>
      <dgm:spPr/>
    </dgm:pt>
    <dgm:pt modelId="{DDB26EDE-11AF-40B7-9C16-348181381393}" type="pres">
      <dgm:prSet presAssocID="{57612FAC-3D38-4A5A-9D54-8452999285F4}" presName="parTxOnlySpace" presStyleCnt="0"/>
      <dgm:spPr/>
    </dgm:pt>
    <dgm:pt modelId="{8CED6B9D-804A-4009-A04D-D699125D11F0}" type="pres">
      <dgm:prSet presAssocID="{A07A8528-D240-4AAE-BA81-005F6AD457F1}" presName="parTxOnly" presStyleLbl="node1" presStyleIdx="7" presStyleCnt="10">
        <dgm:presLayoutVars>
          <dgm:chMax val="0"/>
          <dgm:chPref val="0"/>
          <dgm:bulletEnabled val="1"/>
        </dgm:presLayoutVars>
      </dgm:prSet>
      <dgm:spPr/>
    </dgm:pt>
    <dgm:pt modelId="{C3D8151F-F75F-49EC-B6A3-4B15A8912918}" type="pres">
      <dgm:prSet presAssocID="{7D0C416E-0310-43FE-A0D6-735CD62199B6}" presName="parTxOnlySpace" presStyleCnt="0"/>
      <dgm:spPr/>
    </dgm:pt>
    <dgm:pt modelId="{0A5AB2D9-0A33-47A4-83C2-3990E2018CD9}" type="pres">
      <dgm:prSet presAssocID="{5805825E-3BC3-4961-910E-96065463977D}" presName="parTxOnly" presStyleLbl="node1" presStyleIdx="8" presStyleCnt="10">
        <dgm:presLayoutVars>
          <dgm:chMax val="0"/>
          <dgm:chPref val="0"/>
          <dgm:bulletEnabled val="1"/>
        </dgm:presLayoutVars>
      </dgm:prSet>
      <dgm:spPr/>
    </dgm:pt>
    <dgm:pt modelId="{5FE5E96A-0031-41D2-A1BE-2634D143793A}" type="pres">
      <dgm:prSet presAssocID="{B58F1702-0059-4F53-9A60-77242457BBFA}" presName="parTxOnlySpace" presStyleCnt="0"/>
      <dgm:spPr/>
    </dgm:pt>
    <dgm:pt modelId="{F2510710-7BA2-44B7-8AA7-1347717B483B}" type="pres">
      <dgm:prSet presAssocID="{2D51EAF0-C497-40E9-996D-2D0BC40F318C}" presName="parTxOnly" presStyleLbl="node1" presStyleIdx="9" presStyleCnt="10">
        <dgm:presLayoutVars>
          <dgm:chMax val="0"/>
          <dgm:chPref val="0"/>
          <dgm:bulletEnabled val="1"/>
        </dgm:presLayoutVars>
      </dgm:prSet>
      <dgm:spPr/>
    </dgm:pt>
  </dgm:ptLst>
  <dgm:cxnLst>
    <dgm:cxn modelId="{F8EA3703-CEE5-4162-AB46-CFFF8AC28B48}" srcId="{C782CD9B-2B4B-48D2-BF13-2B0D6056B78A}" destId="{B754C885-66E5-4615-BD33-B6EE917A035D}" srcOrd="1" destOrd="0" parTransId="{65812F9F-DD0E-4752-BF8B-D07282594751}" sibTransId="{79AAED35-18A8-4347-A2B8-6AAE8B34BA56}"/>
    <dgm:cxn modelId="{7BC9B318-E7A6-41F3-853C-1D1DFB2050EF}" srcId="{C782CD9B-2B4B-48D2-BF13-2B0D6056B78A}" destId="{2D51EAF0-C497-40E9-996D-2D0BC40F318C}" srcOrd="9" destOrd="0" parTransId="{43C509B8-DD3A-429A-ADC4-232D55259B3D}" sibTransId="{66A12237-9546-42D0-81C0-2C324670B743}"/>
    <dgm:cxn modelId="{B7D96D5D-C36A-4C64-8439-DF860C8D3AF5}" type="presOf" srcId="{DFCF748E-4FA2-4C04-B1DF-85DA1021BE5D}" destId="{F7031506-3856-48AD-BFC1-89D9660F7FF7}" srcOrd="0" destOrd="0" presId="urn:microsoft.com/office/officeart/2005/8/layout/chevron1"/>
    <dgm:cxn modelId="{94A2B45D-2D69-4650-AFC3-C5574217F910}" srcId="{C782CD9B-2B4B-48D2-BF13-2B0D6056B78A}" destId="{9225496C-39D8-4F53-8BB5-1B069B40EB3E}" srcOrd="3" destOrd="0" parTransId="{D3A21DFB-000A-4FCE-9E9D-8516EBA4DD45}" sibTransId="{1E3F53DD-2537-4C67-AA71-87081D444A81}"/>
    <dgm:cxn modelId="{9CCF3D61-A1DC-42E9-BA45-9E3FED292B03}" type="presOf" srcId="{2F442204-E894-4EB6-A3FA-953074E6D5F9}" destId="{A29D7AF6-34C9-459D-B160-0F8E7686BA2B}" srcOrd="0" destOrd="0" presId="urn:microsoft.com/office/officeart/2005/8/layout/chevron1"/>
    <dgm:cxn modelId="{6FD2AE64-BDEB-482D-ACF3-1D5403180A1E}" srcId="{C782CD9B-2B4B-48D2-BF13-2B0D6056B78A}" destId="{2F442204-E894-4EB6-A3FA-953074E6D5F9}" srcOrd="4" destOrd="0" parTransId="{9E6A019B-6886-407A-A3BB-1A2A8D416818}" sibTransId="{07F51AA8-9070-4A56-AF24-8977CF9B6A80}"/>
    <dgm:cxn modelId="{0557BD67-6FDF-424E-A646-3297AD2C76C0}" type="presOf" srcId="{56EC974B-4690-4A6A-B143-36A5A9DDDB75}" destId="{F9C55CAF-C1A3-4EFD-AD93-3CBF7E30E2FA}" srcOrd="0" destOrd="0" presId="urn:microsoft.com/office/officeart/2005/8/layout/chevron1"/>
    <dgm:cxn modelId="{FC60144A-8303-4EB2-9CF8-391F3BE55073}" type="presOf" srcId="{7A5D9CDD-E10F-422D-808B-815C691EF2E8}" destId="{A2199658-E72A-4294-AFD3-6892981EEB12}" srcOrd="0" destOrd="0" presId="urn:microsoft.com/office/officeart/2005/8/layout/chevron1"/>
    <dgm:cxn modelId="{85C2C470-6B7D-4794-AE74-55D01B043DF3}" type="presOf" srcId="{A07A8528-D240-4AAE-BA81-005F6AD457F1}" destId="{8CED6B9D-804A-4009-A04D-D699125D11F0}" srcOrd="0" destOrd="0" presId="urn:microsoft.com/office/officeart/2005/8/layout/chevron1"/>
    <dgm:cxn modelId="{96B81171-F787-42A5-8251-64982F7D2276}" type="presOf" srcId="{5805825E-3BC3-4961-910E-96065463977D}" destId="{0A5AB2D9-0A33-47A4-83C2-3990E2018CD9}" srcOrd="0" destOrd="0" presId="urn:microsoft.com/office/officeart/2005/8/layout/chevron1"/>
    <dgm:cxn modelId="{6EC6E854-1744-4690-8D2A-89B99465945F}" type="presOf" srcId="{B754C885-66E5-4615-BD33-B6EE917A035D}" destId="{6C62160D-9EC9-4B84-8EFD-9C3E10FC055A}" srcOrd="0" destOrd="0" presId="urn:microsoft.com/office/officeart/2005/8/layout/chevron1"/>
    <dgm:cxn modelId="{BEDD267B-EA80-4783-A782-86B96AAC5B03}" srcId="{C782CD9B-2B4B-48D2-BF13-2B0D6056B78A}" destId="{7A5D9CDD-E10F-422D-808B-815C691EF2E8}" srcOrd="5" destOrd="0" parTransId="{089AE963-8402-4F38-908B-1CA814F78766}" sibTransId="{63A1392B-D9B4-4604-ACED-CDD4B7E19D6E}"/>
    <dgm:cxn modelId="{0854CF9B-5ACA-477E-B2C8-71885FFF7757}" type="presOf" srcId="{72FFD339-6A5F-4ED7-B529-6155AF8C35BB}" destId="{636F50A3-8EFE-4C08-B6BE-284B03274F0B}" srcOrd="0" destOrd="0" presId="urn:microsoft.com/office/officeart/2005/8/layout/chevron1"/>
    <dgm:cxn modelId="{92751D9D-02E3-45C2-978C-737085227C42}" srcId="{C782CD9B-2B4B-48D2-BF13-2B0D6056B78A}" destId="{DFCF748E-4FA2-4C04-B1DF-85DA1021BE5D}" srcOrd="0" destOrd="0" parTransId="{7DAF1956-B700-4203-9672-92E4451DCC31}" sibTransId="{A0ED7260-8442-4FBF-80B4-500E49A4F3AF}"/>
    <dgm:cxn modelId="{FE5FBCA8-5D6F-44E5-8DFA-D24300AECCE8}" srcId="{C782CD9B-2B4B-48D2-BF13-2B0D6056B78A}" destId="{56EC974B-4690-4A6A-B143-36A5A9DDDB75}" srcOrd="6" destOrd="0" parTransId="{F24B2512-EFC3-4494-92F8-F4C2A580DD56}" sibTransId="{57612FAC-3D38-4A5A-9D54-8452999285F4}"/>
    <dgm:cxn modelId="{AB94A6CD-D062-4880-A858-77D5C33D796E}" type="presOf" srcId="{C782CD9B-2B4B-48D2-BF13-2B0D6056B78A}" destId="{2069E263-CA68-447A-859F-7068DC9AF2B6}" srcOrd="0" destOrd="0" presId="urn:microsoft.com/office/officeart/2005/8/layout/chevron1"/>
    <dgm:cxn modelId="{D6C89AE1-00A8-492D-888B-1E3DDC006D86}" srcId="{C782CD9B-2B4B-48D2-BF13-2B0D6056B78A}" destId="{5805825E-3BC3-4961-910E-96065463977D}" srcOrd="8" destOrd="0" parTransId="{263FA899-3C2D-4809-A47A-DB65911293C7}" sibTransId="{B58F1702-0059-4F53-9A60-77242457BBFA}"/>
    <dgm:cxn modelId="{A5A5CEE1-4851-4970-9090-E6CBA98761E2}" type="presOf" srcId="{9225496C-39D8-4F53-8BB5-1B069B40EB3E}" destId="{6BB9B9CD-B911-4E33-8045-BE6A8D7C5B89}" srcOrd="0" destOrd="0" presId="urn:microsoft.com/office/officeart/2005/8/layout/chevron1"/>
    <dgm:cxn modelId="{E507E2EA-7E86-4E6E-95E1-78003469A548}" type="presOf" srcId="{2D51EAF0-C497-40E9-996D-2D0BC40F318C}" destId="{F2510710-7BA2-44B7-8AA7-1347717B483B}" srcOrd="0" destOrd="0" presId="urn:microsoft.com/office/officeart/2005/8/layout/chevron1"/>
    <dgm:cxn modelId="{C381E8F4-D0AE-4AD0-B8F1-4BDFF55901DE}" srcId="{C782CD9B-2B4B-48D2-BF13-2B0D6056B78A}" destId="{72FFD339-6A5F-4ED7-B529-6155AF8C35BB}" srcOrd="2" destOrd="0" parTransId="{ECFEA23F-DCCD-42C6-8706-10917CE3C2B0}" sibTransId="{A3B7292F-5113-4C29-982F-BC1D14C7BE90}"/>
    <dgm:cxn modelId="{C9F268FB-CB20-4E78-9CDC-F035D61B7E09}" srcId="{C782CD9B-2B4B-48D2-BF13-2B0D6056B78A}" destId="{A07A8528-D240-4AAE-BA81-005F6AD457F1}" srcOrd="7" destOrd="0" parTransId="{3C15A388-1B3D-47E8-B2CB-E67F7E1AFFF1}" sibTransId="{7D0C416E-0310-43FE-A0D6-735CD62199B6}"/>
    <dgm:cxn modelId="{ABCBFD9E-9EAA-4D12-8E04-BFFF08B89079}" type="presParOf" srcId="{2069E263-CA68-447A-859F-7068DC9AF2B6}" destId="{F7031506-3856-48AD-BFC1-89D9660F7FF7}" srcOrd="0" destOrd="0" presId="urn:microsoft.com/office/officeart/2005/8/layout/chevron1"/>
    <dgm:cxn modelId="{7BCFA64A-4121-4A8E-BABC-37492FE2A731}" type="presParOf" srcId="{2069E263-CA68-447A-859F-7068DC9AF2B6}" destId="{420EBE6C-A91F-49B7-AF4C-29A127D6266A}" srcOrd="1" destOrd="0" presId="urn:microsoft.com/office/officeart/2005/8/layout/chevron1"/>
    <dgm:cxn modelId="{C5456EE1-57A7-4D28-B916-4DED75811E1B}" type="presParOf" srcId="{2069E263-CA68-447A-859F-7068DC9AF2B6}" destId="{6C62160D-9EC9-4B84-8EFD-9C3E10FC055A}" srcOrd="2" destOrd="0" presId="urn:microsoft.com/office/officeart/2005/8/layout/chevron1"/>
    <dgm:cxn modelId="{4ADDEFC0-F7F6-4CE1-AE0A-5BF46F1A0325}" type="presParOf" srcId="{2069E263-CA68-447A-859F-7068DC9AF2B6}" destId="{6415A264-B3C7-41A6-9BA0-D0AD6AE1DACB}" srcOrd="3" destOrd="0" presId="urn:microsoft.com/office/officeart/2005/8/layout/chevron1"/>
    <dgm:cxn modelId="{EDAAD657-1406-42FB-8716-ABE127F24654}" type="presParOf" srcId="{2069E263-CA68-447A-859F-7068DC9AF2B6}" destId="{636F50A3-8EFE-4C08-B6BE-284B03274F0B}" srcOrd="4" destOrd="0" presId="urn:microsoft.com/office/officeart/2005/8/layout/chevron1"/>
    <dgm:cxn modelId="{BB9004E5-327F-4E7A-A0FD-597D9D02F1F7}" type="presParOf" srcId="{2069E263-CA68-447A-859F-7068DC9AF2B6}" destId="{B0C5D3FB-8180-4CC6-9F14-5042E96FD8E3}" srcOrd="5" destOrd="0" presId="urn:microsoft.com/office/officeart/2005/8/layout/chevron1"/>
    <dgm:cxn modelId="{FDDBB7E5-E628-4B1E-AB1D-1CBFE490D1D0}" type="presParOf" srcId="{2069E263-CA68-447A-859F-7068DC9AF2B6}" destId="{6BB9B9CD-B911-4E33-8045-BE6A8D7C5B89}" srcOrd="6" destOrd="0" presId="urn:microsoft.com/office/officeart/2005/8/layout/chevron1"/>
    <dgm:cxn modelId="{9E7D83AE-A0AC-4704-9017-61B48731EE47}" type="presParOf" srcId="{2069E263-CA68-447A-859F-7068DC9AF2B6}" destId="{60B2C4AD-8A0D-4CB2-93A9-16C6C0E4BD5B}" srcOrd="7" destOrd="0" presId="urn:microsoft.com/office/officeart/2005/8/layout/chevron1"/>
    <dgm:cxn modelId="{959958E3-5D49-43C6-9CC1-C198552D5F25}" type="presParOf" srcId="{2069E263-CA68-447A-859F-7068DC9AF2B6}" destId="{A29D7AF6-34C9-459D-B160-0F8E7686BA2B}" srcOrd="8" destOrd="0" presId="urn:microsoft.com/office/officeart/2005/8/layout/chevron1"/>
    <dgm:cxn modelId="{DFABEA84-FC2F-47A8-A6C5-9447569C5D52}" type="presParOf" srcId="{2069E263-CA68-447A-859F-7068DC9AF2B6}" destId="{7004503D-9639-442B-9C04-FB1247092C40}" srcOrd="9" destOrd="0" presId="urn:microsoft.com/office/officeart/2005/8/layout/chevron1"/>
    <dgm:cxn modelId="{4948E211-57E6-4BBD-B23A-69DEE8E9B2BB}" type="presParOf" srcId="{2069E263-CA68-447A-859F-7068DC9AF2B6}" destId="{A2199658-E72A-4294-AFD3-6892981EEB12}" srcOrd="10" destOrd="0" presId="urn:microsoft.com/office/officeart/2005/8/layout/chevron1"/>
    <dgm:cxn modelId="{62E53450-6BF4-45BA-9E12-87D4179E9CE8}" type="presParOf" srcId="{2069E263-CA68-447A-859F-7068DC9AF2B6}" destId="{9B5C0F41-E4E2-4A3A-AA73-E3E4EB6ACD5E}" srcOrd="11" destOrd="0" presId="urn:microsoft.com/office/officeart/2005/8/layout/chevron1"/>
    <dgm:cxn modelId="{D49E32C9-047A-4537-A590-B02ED67EE26D}" type="presParOf" srcId="{2069E263-CA68-447A-859F-7068DC9AF2B6}" destId="{F9C55CAF-C1A3-4EFD-AD93-3CBF7E30E2FA}" srcOrd="12" destOrd="0" presId="urn:microsoft.com/office/officeart/2005/8/layout/chevron1"/>
    <dgm:cxn modelId="{D7E64421-7F96-4E17-8EE7-D58D6C857099}" type="presParOf" srcId="{2069E263-CA68-447A-859F-7068DC9AF2B6}" destId="{DDB26EDE-11AF-40B7-9C16-348181381393}" srcOrd="13" destOrd="0" presId="urn:microsoft.com/office/officeart/2005/8/layout/chevron1"/>
    <dgm:cxn modelId="{BE37D44F-9AF5-48AA-9D6E-8765DB05001D}" type="presParOf" srcId="{2069E263-CA68-447A-859F-7068DC9AF2B6}" destId="{8CED6B9D-804A-4009-A04D-D699125D11F0}" srcOrd="14" destOrd="0" presId="urn:microsoft.com/office/officeart/2005/8/layout/chevron1"/>
    <dgm:cxn modelId="{650F6C7F-D6C8-428C-A321-B27D6F01E7EE}" type="presParOf" srcId="{2069E263-CA68-447A-859F-7068DC9AF2B6}" destId="{C3D8151F-F75F-49EC-B6A3-4B15A8912918}" srcOrd="15" destOrd="0" presId="urn:microsoft.com/office/officeart/2005/8/layout/chevron1"/>
    <dgm:cxn modelId="{532FDF51-C59D-441E-A709-7228DBA69881}" type="presParOf" srcId="{2069E263-CA68-447A-859F-7068DC9AF2B6}" destId="{0A5AB2D9-0A33-47A4-83C2-3990E2018CD9}" srcOrd="16" destOrd="0" presId="urn:microsoft.com/office/officeart/2005/8/layout/chevron1"/>
    <dgm:cxn modelId="{87243C61-5B4C-4044-BF2D-8E31BCCFD2EA}" type="presParOf" srcId="{2069E263-CA68-447A-859F-7068DC9AF2B6}" destId="{5FE5E96A-0031-41D2-A1BE-2634D143793A}" srcOrd="17" destOrd="0" presId="urn:microsoft.com/office/officeart/2005/8/layout/chevron1"/>
    <dgm:cxn modelId="{66592FB7-A405-4295-8942-D34832B71F96}" type="presParOf" srcId="{2069E263-CA68-447A-859F-7068DC9AF2B6}" destId="{F2510710-7BA2-44B7-8AA7-1347717B483B}" srcOrd="18"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C782CD9B-2B4B-48D2-BF13-2B0D6056B78A}"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it-IT"/>
        </a:p>
      </dgm:t>
    </dgm:pt>
    <dgm:pt modelId="{DFCF748E-4FA2-4C04-B1DF-85DA1021BE5D}">
      <dgm:prSet phldrT="[Testo]"/>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Rete viaria complessiva</a:t>
          </a:r>
        </a:p>
      </dgm:t>
    </dgm:pt>
    <dgm:pt modelId="{7DAF1956-B700-4203-9672-92E4451DCC31}" type="parTrans" cxnId="{92751D9D-02E3-45C2-978C-737085227C42}">
      <dgm:prSet/>
      <dgm:spPr/>
      <dgm:t>
        <a:bodyPr/>
        <a:lstStyle/>
        <a:p>
          <a:endParaRPr lang="it-IT"/>
        </a:p>
      </dgm:t>
    </dgm:pt>
    <dgm:pt modelId="{A0ED7260-8442-4FBF-80B4-500E49A4F3AF}" type="sibTrans" cxnId="{92751D9D-02E3-45C2-978C-737085227C42}">
      <dgm:prSet/>
      <dgm:spPr/>
      <dgm:t>
        <a:bodyPr/>
        <a:lstStyle/>
        <a:p>
          <a:endParaRPr lang="it-IT"/>
        </a:p>
      </dgm:t>
    </dgm:pt>
    <dgm:pt modelId="{B754C885-66E5-4615-BD33-B6EE917A035D}">
      <dgm:prSet phldrT="[Testo]"/>
      <dgm:spPr>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dgm:spPr>
      <dgm:t>
        <a:bodyPr/>
        <a:lstStyle/>
        <a:p>
          <a:r>
            <a:rPr lang="it-IT" dirty="0"/>
            <a:t>Risorse</a:t>
          </a:r>
        </a:p>
      </dgm:t>
    </dgm:pt>
    <dgm:pt modelId="{65812F9F-DD0E-4752-BF8B-D07282594751}" type="parTrans" cxnId="{F8EA3703-CEE5-4162-AB46-CFFF8AC28B48}">
      <dgm:prSet/>
      <dgm:spPr/>
      <dgm:t>
        <a:bodyPr/>
        <a:lstStyle/>
        <a:p>
          <a:endParaRPr lang="it-IT"/>
        </a:p>
      </dgm:t>
    </dgm:pt>
    <dgm:pt modelId="{79AAED35-18A8-4347-A2B8-6AAE8B34BA56}" type="sibTrans" cxnId="{F8EA3703-CEE5-4162-AB46-CFFF8AC28B48}">
      <dgm:prSet/>
      <dgm:spPr/>
      <dgm:t>
        <a:bodyPr/>
        <a:lstStyle/>
        <a:p>
          <a:endParaRPr lang="it-IT"/>
        </a:p>
      </dgm:t>
    </dgm:pt>
    <dgm:pt modelId="{9225496C-39D8-4F53-8BB5-1B069B40EB3E}">
      <dgm:prSet phldrT="[Testo]"/>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Affidamenti</a:t>
          </a:r>
        </a:p>
      </dgm:t>
    </dgm:pt>
    <dgm:pt modelId="{D3A21DFB-000A-4FCE-9E9D-8516EBA4DD45}" type="parTrans" cxnId="{94A2B45D-2D69-4650-AFC3-C5574217F910}">
      <dgm:prSet/>
      <dgm:spPr/>
      <dgm:t>
        <a:bodyPr/>
        <a:lstStyle/>
        <a:p>
          <a:endParaRPr lang="it-IT"/>
        </a:p>
      </dgm:t>
    </dgm:pt>
    <dgm:pt modelId="{1E3F53DD-2537-4C67-AA71-87081D444A81}" type="sibTrans" cxnId="{94A2B45D-2D69-4650-AFC3-C5574217F910}">
      <dgm:prSet/>
      <dgm:spPr/>
      <dgm:t>
        <a:bodyPr/>
        <a:lstStyle/>
        <a:p>
          <a:endParaRPr lang="it-IT"/>
        </a:p>
      </dgm:t>
    </dgm:pt>
    <dgm:pt modelId="{2F442204-E894-4EB6-A3FA-953074E6D5F9}">
      <dgm:prSet phldrT="[Testo]" custT="1"/>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sz="700" dirty="0"/>
            <a:t>Investimenti e Produzione</a:t>
          </a:r>
        </a:p>
        <a:p>
          <a:r>
            <a:rPr lang="it-IT" sz="700" dirty="0"/>
            <a:t>MP</a:t>
          </a:r>
        </a:p>
      </dgm:t>
    </dgm:pt>
    <dgm:pt modelId="{9E6A019B-6886-407A-A3BB-1A2A8D416818}" type="parTrans" cxnId="{6FD2AE64-BDEB-482D-ACF3-1D5403180A1E}">
      <dgm:prSet/>
      <dgm:spPr/>
      <dgm:t>
        <a:bodyPr/>
        <a:lstStyle/>
        <a:p>
          <a:endParaRPr lang="it-IT"/>
        </a:p>
      </dgm:t>
    </dgm:pt>
    <dgm:pt modelId="{07F51AA8-9070-4A56-AF24-8977CF9B6A80}" type="sibTrans" cxnId="{6FD2AE64-BDEB-482D-ACF3-1D5403180A1E}">
      <dgm:prSet/>
      <dgm:spPr/>
      <dgm:t>
        <a:bodyPr/>
        <a:lstStyle/>
        <a:p>
          <a:endParaRPr lang="it-IT"/>
        </a:p>
      </dgm:t>
    </dgm:pt>
    <dgm:pt modelId="{2D51EAF0-C497-40E9-996D-2D0BC40F318C}">
      <dgm:prSet phldrT="[Testo]"/>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Pagamenti</a:t>
          </a:r>
        </a:p>
      </dgm:t>
    </dgm:pt>
    <dgm:pt modelId="{43C509B8-DD3A-429A-ADC4-232D55259B3D}" type="parTrans" cxnId="{7BC9B318-E7A6-41F3-853C-1D1DFB2050EF}">
      <dgm:prSet/>
      <dgm:spPr/>
      <dgm:t>
        <a:bodyPr/>
        <a:lstStyle/>
        <a:p>
          <a:endParaRPr lang="it-IT"/>
        </a:p>
      </dgm:t>
    </dgm:pt>
    <dgm:pt modelId="{66A12237-9546-42D0-81C0-2C324670B743}" type="sibTrans" cxnId="{7BC9B318-E7A6-41F3-853C-1D1DFB2050EF}">
      <dgm:prSet/>
      <dgm:spPr/>
      <dgm:t>
        <a:bodyPr/>
        <a:lstStyle/>
        <a:p>
          <a:endParaRPr lang="it-IT"/>
        </a:p>
      </dgm:t>
    </dgm:pt>
    <dgm:pt modelId="{72FFD339-6A5F-4ED7-B529-6155AF8C35BB}">
      <dgm:prSet/>
      <dgm:spPr>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dgm:spPr>
      <dgm:t>
        <a:bodyPr/>
        <a:lstStyle/>
        <a:p>
          <a:r>
            <a:rPr lang="it-IT" dirty="0" err="1"/>
            <a:t>soc</a:t>
          </a:r>
          <a:endParaRPr lang="it-IT" dirty="0"/>
        </a:p>
      </dgm:t>
    </dgm:pt>
    <dgm:pt modelId="{ECFEA23F-DCCD-42C6-8706-10917CE3C2B0}" type="parTrans" cxnId="{C381E8F4-D0AE-4AD0-B8F1-4BDFF55901DE}">
      <dgm:prSet/>
      <dgm:spPr/>
      <dgm:t>
        <a:bodyPr/>
        <a:lstStyle/>
        <a:p>
          <a:endParaRPr lang="it-IT"/>
        </a:p>
      </dgm:t>
    </dgm:pt>
    <dgm:pt modelId="{A3B7292F-5113-4C29-982F-BC1D14C7BE90}" type="sibTrans" cxnId="{C381E8F4-D0AE-4AD0-B8F1-4BDFF55901DE}">
      <dgm:prSet/>
      <dgm:spPr/>
      <dgm:t>
        <a:bodyPr/>
        <a:lstStyle/>
        <a:p>
          <a:endParaRPr lang="it-IT"/>
        </a:p>
      </dgm:t>
    </dgm:pt>
    <dgm:pt modelId="{A07A8528-D240-4AAE-BA81-005F6AD457F1}">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Ispezione Opere D’arte</a:t>
          </a:r>
        </a:p>
      </dgm:t>
    </dgm:pt>
    <dgm:pt modelId="{3C15A388-1B3D-47E8-B2CB-E67F7E1AFFF1}" type="parTrans" cxnId="{C9F268FB-CB20-4E78-9CDC-F035D61B7E09}">
      <dgm:prSet/>
      <dgm:spPr/>
      <dgm:t>
        <a:bodyPr/>
        <a:lstStyle/>
        <a:p>
          <a:endParaRPr lang="it-IT"/>
        </a:p>
      </dgm:t>
    </dgm:pt>
    <dgm:pt modelId="{7D0C416E-0310-43FE-A0D6-735CD62199B6}" type="sibTrans" cxnId="{C9F268FB-CB20-4E78-9CDC-F035D61B7E09}">
      <dgm:prSet/>
      <dgm:spPr/>
      <dgm:t>
        <a:bodyPr/>
        <a:lstStyle/>
        <a:p>
          <a:endParaRPr lang="it-IT"/>
        </a:p>
      </dgm:t>
    </dgm:pt>
    <dgm:pt modelId="{56EC974B-4690-4A6A-B143-36A5A9DDDB75}">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Supporto Tecnico</a:t>
          </a:r>
        </a:p>
      </dgm:t>
    </dgm:pt>
    <dgm:pt modelId="{F24B2512-EFC3-4494-92F8-F4C2A580DD56}" type="parTrans" cxnId="{FE5FBCA8-5D6F-44E5-8DFA-D24300AECCE8}">
      <dgm:prSet/>
      <dgm:spPr/>
      <dgm:t>
        <a:bodyPr/>
        <a:lstStyle/>
        <a:p>
          <a:endParaRPr lang="it-IT"/>
        </a:p>
      </dgm:t>
    </dgm:pt>
    <dgm:pt modelId="{57612FAC-3D38-4A5A-9D54-8452999285F4}" type="sibTrans" cxnId="{FE5FBCA8-5D6F-44E5-8DFA-D24300AECCE8}">
      <dgm:prSet/>
      <dgm:spPr/>
      <dgm:t>
        <a:bodyPr/>
        <a:lstStyle/>
        <a:p>
          <a:endParaRPr lang="it-IT"/>
        </a:p>
      </dgm:t>
    </dgm:pt>
    <dgm:pt modelId="{5805825E-3BC3-4961-910E-96065463977D}">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Interventi Rilevanti</a:t>
          </a:r>
        </a:p>
      </dgm:t>
    </dgm:pt>
    <dgm:pt modelId="{263FA899-3C2D-4809-A47A-DB65911293C7}" type="parTrans" cxnId="{D6C89AE1-00A8-492D-888B-1E3DDC006D86}">
      <dgm:prSet/>
      <dgm:spPr/>
      <dgm:t>
        <a:bodyPr/>
        <a:lstStyle/>
        <a:p>
          <a:endParaRPr lang="it-IT"/>
        </a:p>
      </dgm:t>
    </dgm:pt>
    <dgm:pt modelId="{B58F1702-0059-4F53-9A60-77242457BBFA}" type="sibTrans" cxnId="{D6C89AE1-00A8-492D-888B-1E3DDC006D86}">
      <dgm:prSet/>
      <dgm:spPr/>
      <dgm:t>
        <a:bodyPr/>
        <a:lstStyle/>
        <a:p>
          <a:endParaRPr lang="it-IT"/>
        </a:p>
      </dgm:t>
    </dgm:pt>
    <dgm:pt modelId="{7A5D9CDD-E10F-422D-808B-815C691EF2E8}">
      <dgm:prSet phldrT="[Testo]" custT="1"/>
      <dgm:spPr>
        <a:solidFill>
          <a:schemeClr val="tx2"/>
        </a:solidFill>
      </dgm:spPr>
      <dgm:t>
        <a:bodyPr/>
        <a:lstStyle/>
        <a:p>
          <a:r>
            <a:rPr lang="it-IT" sz="700" dirty="0"/>
            <a:t>Investimenti e Produzione</a:t>
          </a:r>
        </a:p>
        <a:p>
          <a:r>
            <a:rPr lang="it-IT" sz="700" dirty="0"/>
            <a:t>NO</a:t>
          </a:r>
        </a:p>
      </dgm:t>
    </dgm:pt>
    <dgm:pt modelId="{089AE963-8402-4F38-908B-1CA814F78766}" type="parTrans" cxnId="{BEDD267B-EA80-4783-A782-86B96AAC5B03}">
      <dgm:prSet/>
      <dgm:spPr/>
      <dgm:t>
        <a:bodyPr/>
        <a:lstStyle/>
        <a:p>
          <a:endParaRPr lang="it-IT"/>
        </a:p>
      </dgm:t>
    </dgm:pt>
    <dgm:pt modelId="{63A1392B-D9B4-4604-ACED-CDD4B7E19D6E}" type="sibTrans" cxnId="{BEDD267B-EA80-4783-A782-86B96AAC5B03}">
      <dgm:prSet/>
      <dgm:spPr/>
      <dgm:t>
        <a:bodyPr/>
        <a:lstStyle/>
        <a:p>
          <a:endParaRPr lang="it-IT"/>
        </a:p>
      </dgm:t>
    </dgm:pt>
    <dgm:pt modelId="{2069E263-CA68-447A-859F-7068DC9AF2B6}" type="pres">
      <dgm:prSet presAssocID="{C782CD9B-2B4B-48D2-BF13-2B0D6056B78A}" presName="Name0" presStyleCnt="0">
        <dgm:presLayoutVars>
          <dgm:dir/>
          <dgm:animLvl val="lvl"/>
          <dgm:resizeHandles val="exact"/>
        </dgm:presLayoutVars>
      </dgm:prSet>
      <dgm:spPr/>
    </dgm:pt>
    <dgm:pt modelId="{F7031506-3856-48AD-BFC1-89D9660F7FF7}" type="pres">
      <dgm:prSet presAssocID="{DFCF748E-4FA2-4C04-B1DF-85DA1021BE5D}" presName="parTxOnly" presStyleLbl="node1" presStyleIdx="0" presStyleCnt="10">
        <dgm:presLayoutVars>
          <dgm:chMax val="0"/>
          <dgm:chPref val="0"/>
          <dgm:bulletEnabled val="1"/>
        </dgm:presLayoutVars>
      </dgm:prSet>
      <dgm:spPr/>
    </dgm:pt>
    <dgm:pt modelId="{420EBE6C-A91F-49B7-AF4C-29A127D6266A}" type="pres">
      <dgm:prSet presAssocID="{A0ED7260-8442-4FBF-80B4-500E49A4F3AF}" presName="parTxOnlySpace" presStyleCnt="0"/>
      <dgm:spPr/>
    </dgm:pt>
    <dgm:pt modelId="{6C62160D-9EC9-4B84-8EFD-9C3E10FC055A}" type="pres">
      <dgm:prSet presAssocID="{B754C885-66E5-4615-BD33-B6EE917A035D}" presName="parTxOnly" presStyleLbl="node1" presStyleIdx="1" presStyleCnt="10">
        <dgm:presLayoutVars>
          <dgm:chMax val="0"/>
          <dgm:chPref val="0"/>
          <dgm:bulletEnabled val="1"/>
        </dgm:presLayoutVars>
      </dgm:prSet>
      <dgm:spPr/>
    </dgm:pt>
    <dgm:pt modelId="{6415A264-B3C7-41A6-9BA0-D0AD6AE1DACB}" type="pres">
      <dgm:prSet presAssocID="{79AAED35-18A8-4347-A2B8-6AAE8B34BA56}" presName="parTxOnlySpace" presStyleCnt="0"/>
      <dgm:spPr/>
    </dgm:pt>
    <dgm:pt modelId="{636F50A3-8EFE-4C08-B6BE-284B03274F0B}" type="pres">
      <dgm:prSet presAssocID="{72FFD339-6A5F-4ED7-B529-6155AF8C35BB}" presName="parTxOnly" presStyleLbl="node1" presStyleIdx="2" presStyleCnt="10">
        <dgm:presLayoutVars>
          <dgm:chMax val="0"/>
          <dgm:chPref val="0"/>
          <dgm:bulletEnabled val="1"/>
        </dgm:presLayoutVars>
      </dgm:prSet>
      <dgm:spPr/>
    </dgm:pt>
    <dgm:pt modelId="{B0C5D3FB-8180-4CC6-9F14-5042E96FD8E3}" type="pres">
      <dgm:prSet presAssocID="{A3B7292F-5113-4C29-982F-BC1D14C7BE90}" presName="parTxOnlySpace" presStyleCnt="0"/>
      <dgm:spPr/>
    </dgm:pt>
    <dgm:pt modelId="{6BB9B9CD-B911-4E33-8045-BE6A8D7C5B89}" type="pres">
      <dgm:prSet presAssocID="{9225496C-39D8-4F53-8BB5-1B069B40EB3E}" presName="parTxOnly" presStyleLbl="node1" presStyleIdx="3" presStyleCnt="10">
        <dgm:presLayoutVars>
          <dgm:chMax val="0"/>
          <dgm:chPref val="0"/>
          <dgm:bulletEnabled val="1"/>
        </dgm:presLayoutVars>
      </dgm:prSet>
      <dgm:spPr/>
    </dgm:pt>
    <dgm:pt modelId="{60B2C4AD-8A0D-4CB2-93A9-16C6C0E4BD5B}" type="pres">
      <dgm:prSet presAssocID="{1E3F53DD-2537-4C67-AA71-87081D444A81}" presName="parTxOnlySpace" presStyleCnt="0"/>
      <dgm:spPr/>
    </dgm:pt>
    <dgm:pt modelId="{A29D7AF6-34C9-459D-B160-0F8E7686BA2B}" type="pres">
      <dgm:prSet presAssocID="{2F442204-E894-4EB6-A3FA-953074E6D5F9}" presName="parTxOnly" presStyleLbl="node1" presStyleIdx="4" presStyleCnt="10">
        <dgm:presLayoutVars>
          <dgm:chMax val="0"/>
          <dgm:chPref val="0"/>
          <dgm:bulletEnabled val="1"/>
        </dgm:presLayoutVars>
      </dgm:prSet>
      <dgm:spPr/>
    </dgm:pt>
    <dgm:pt modelId="{7004503D-9639-442B-9C04-FB1247092C40}" type="pres">
      <dgm:prSet presAssocID="{07F51AA8-9070-4A56-AF24-8977CF9B6A80}" presName="parTxOnlySpace" presStyleCnt="0"/>
      <dgm:spPr/>
    </dgm:pt>
    <dgm:pt modelId="{A2199658-E72A-4294-AFD3-6892981EEB12}" type="pres">
      <dgm:prSet presAssocID="{7A5D9CDD-E10F-422D-808B-815C691EF2E8}" presName="parTxOnly" presStyleLbl="node1" presStyleIdx="5" presStyleCnt="10">
        <dgm:presLayoutVars>
          <dgm:chMax val="0"/>
          <dgm:chPref val="0"/>
          <dgm:bulletEnabled val="1"/>
        </dgm:presLayoutVars>
      </dgm:prSet>
      <dgm:spPr/>
    </dgm:pt>
    <dgm:pt modelId="{9B5C0F41-E4E2-4A3A-AA73-E3E4EB6ACD5E}" type="pres">
      <dgm:prSet presAssocID="{63A1392B-D9B4-4604-ACED-CDD4B7E19D6E}" presName="parTxOnlySpace" presStyleCnt="0"/>
      <dgm:spPr/>
    </dgm:pt>
    <dgm:pt modelId="{F9C55CAF-C1A3-4EFD-AD93-3CBF7E30E2FA}" type="pres">
      <dgm:prSet presAssocID="{56EC974B-4690-4A6A-B143-36A5A9DDDB75}" presName="parTxOnly" presStyleLbl="node1" presStyleIdx="6" presStyleCnt="10">
        <dgm:presLayoutVars>
          <dgm:chMax val="0"/>
          <dgm:chPref val="0"/>
          <dgm:bulletEnabled val="1"/>
        </dgm:presLayoutVars>
      </dgm:prSet>
      <dgm:spPr/>
    </dgm:pt>
    <dgm:pt modelId="{DDB26EDE-11AF-40B7-9C16-348181381393}" type="pres">
      <dgm:prSet presAssocID="{57612FAC-3D38-4A5A-9D54-8452999285F4}" presName="parTxOnlySpace" presStyleCnt="0"/>
      <dgm:spPr/>
    </dgm:pt>
    <dgm:pt modelId="{8CED6B9D-804A-4009-A04D-D699125D11F0}" type="pres">
      <dgm:prSet presAssocID="{A07A8528-D240-4AAE-BA81-005F6AD457F1}" presName="parTxOnly" presStyleLbl="node1" presStyleIdx="7" presStyleCnt="10">
        <dgm:presLayoutVars>
          <dgm:chMax val="0"/>
          <dgm:chPref val="0"/>
          <dgm:bulletEnabled val="1"/>
        </dgm:presLayoutVars>
      </dgm:prSet>
      <dgm:spPr/>
    </dgm:pt>
    <dgm:pt modelId="{C3D8151F-F75F-49EC-B6A3-4B15A8912918}" type="pres">
      <dgm:prSet presAssocID="{7D0C416E-0310-43FE-A0D6-735CD62199B6}" presName="parTxOnlySpace" presStyleCnt="0"/>
      <dgm:spPr/>
    </dgm:pt>
    <dgm:pt modelId="{0A5AB2D9-0A33-47A4-83C2-3990E2018CD9}" type="pres">
      <dgm:prSet presAssocID="{5805825E-3BC3-4961-910E-96065463977D}" presName="parTxOnly" presStyleLbl="node1" presStyleIdx="8" presStyleCnt="10">
        <dgm:presLayoutVars>
          <dgm:chMax val="0"/>
          <dgm:chPref val="0"/>
          <dgm:bulletEnabled val="1"/>
        </dgm:presLayoutVars>
      </dgm:prSet>
      <dgm:spPr/>
    </dgm:pt>
    <dgm:pt modelId="{5FE5E96A-0031-41D2-A1BE-2634D143793A}" type="pres">
      <dgm:prSet presAssocID="{B58F1702-0059-4F53-9A60-77242457BBFA}" presName="parTxOnlySpace" presStyleCnt="0"/>
      <dgm:spPr/>
    </dgm:pt>
    <dgm:pt modelId="{F2510710-7BA2-44B7-8AA7-1347717B483B}" type="pres">
      <dgm:prSet presAssocID="{2D51EAF0-C497-40E9-996D-2D0BC40F318C}" presName="parTxOnly" presStyleLbl="node1" presStyleIdx="9" presStyleCnt="10">
        <dgm:presLayoutVars>
          <dgm:chMax val="0"/>
          <dgm:chPref val="0"/>
          <dgm:bulletEnabled val="1"/>
        </dgm:presLayoutVars>
      </dgm:prSet>
      <dgm:spPr/>
    </dgm:pt>
  </dgm:ptLst>
  <dgm:cxnLst>
    <dgm:cxn modelId="{F8EA3703-CEE5-4162-AB46-CFFF8AC28B48}" srcId="{C782CD9B-2B4B-48D2-BF13-2B0D6056B78A}" destId="{B754C885-66E5-4615-BD33-B6EE917A035D}" srcOrd="1" destOrd="0" parTransId="{65812F9F-DD0E-4752-BF8B-D07282594751}" sibTransId="{79AAED35-18A8-4347-A2B8-6AAE8B34BA56}"/>
    <dgm:cxn modelId="{F8B20C15-3DE8-43CC-B4EF-72BDE37F389F}" type="presOf" srcId="{5805825E-3BC3-4961-910E-96065463977D}" destId="{0A5AB2D9-0A33-47A4-83C2-3990E2018CD9}" srcOrd="0" destOrd="0" presId="urn:microsoft.com/office/officeart/2005/8/layout/chevron1"/>
    <dgm:cxn modelId="{7BC9B318-E7A6-41F3-853C-1D1DFB2050EF}" srcId="{C782CD9B-2B4B-48D2-BF13-2B0D6056B78A}" destId="{2D51EAF0-C497-40E9-996D-2D0BC40F318C}" srcOrd="9" destOrd="0" parTransId="{43C509B8-DD3A-429A-ADC4-232D55259B3D}" sibTransId="{66A12237-9546-42D0-81C0-2C324670B743}"/>
    <dgm:cxn modelId="{A4CE2B23-3F73-4B45-B60D-1E301FD3D1E7}" type="presOf" srcId="{DFCF748E-4FA2-4C04-B1DF-85DA1021BE5D}" destId="{F7031506-3856-48AD-BFC1-89D9660F7FF7}" srcOrd="0" destOrd="0" presId="urn:microsoft.com/office/officeart/2005/8/layout/chevron1"/>
    <dgm:cxn modelId="{A1149228-0358-4EB1-823E-65B88EB538D7}" type="presOf" srcId="{A07A8528-D240-4AAE-BA81-005F6AD457F1}" destId="{8CED6B9D-804A-4009-A04D-D699125D11F0}" srcOrd="0" destOrd="0" presId="urn:microsoft.com/office/officeart/2005/8/layout/chevron1"/>
    <dgm:cxn modelId="{71BA385B-E435-4540-9040-196C9E7A85E7}" type="presOf" srcId="{2D51EAF0-C497-40E9-996D-2D0BC40F318C}" destId="{F2510710-7BA2-44B7-8AA7-1347717B483B}" srcOrd="0" destOrd="0" presId="urn:microsoft.com/office/officeart/2005/8/layout/chevron1"/>
    <dgm:cxn modelId="{94A2B45D-2D69-4650-AFC3-C5574217F910}" srcId="{C782CD9B-2B4B-48D2-BF13-2B0D6056B78A}" destId="{9225496C-39D8-4F53-8BB5-1B069B40EB3E}" srcOrd="3" destOrd="0" parTransId="{D3A21DFB-000A-4FCE-9E9D-8516EBA4DD45}" sibTransId="{1E3F53DD-2537-4C67-AA71-87081D444A81}"/>
    <dgm:cxn modelId="{1976C660-9B2B-4A68-BFD8-05FAE5B61730}" type="presOf" srcId="{C782CD9B-2B4B-48D2-BF13-2B0D6056B78A}" destId="{2069E263-CA68-447A-859F-7068DC9AF2B6}" srcOrd="0" destOrd="0" presId="urn:microsoft.com/office/officeart/2005/8/layout/chevron1"/>
    <dgm:cxn modelId="{1AAB5B44-9394-42C5-8BB6-F6580A4DA50D}" type="presOf" srcId="{B754C885-66E5-4615-BD33-B6EE917A035D}" destId="{6C62160D-9EC9-4B84-8EFD-9C3E10FC055A}" srcOrd="0" destOrd="0" presId="urn:microsoft.com/office/officeart/2005/8/layout/chevron1"/>
    <dgm:cxn modelId="{A5BA9444-C51F-4C68-8E4B-573B77A54461}" type="presOf" srcId="{2F442204-E894-4EB6-A3FA-953074E6D5F9}" destId="{A29D7AF6-34C9-459D-B160-0F8E7686BA2B}" srcOrd="0" destOrd="0" presId="urn:microsoft.com/office/officeart/2005/8/layout/chevron1"/>
    <dgm:cxn modelId="{6FD2AE64-BDEB-482D-ACF3-1D5403180A1E}" srcId="{C782CD9B-2B4B-48D2-BF13-2B0D6056B78A}" destId="{2F442204-E894-4EB6-A3FA-953074E6D5F9}" srcOrd="4" destOrd="0" parTransId="{9E6A019B-6886-407A-A3BB-1A2A8D416818}" sibTransId="{07F51AA8-9070-4A56-AF24-8977CF9B6A80}"/>
    <dgm:cxn modelId="{F228A06E-632D-47CC-9900-1DD369F87093}" type="presOf" srcId="{56EC974B-4690-4A6A-B143-36A5A9DDDB75}" destId="{F9C55CAF-C1A3-4EFD-AD93-3CBF7E30E2FA}" srcOrd="0" destOrd="0" presId="urn:microsoft.com/office/officeart/2005/8/layout/chevron1"/>
    <dgm:cxn modelId="{BEDD267B-EA80-4783-A782-86B96AAC5B03}" srcId="{C782CD9B-2B4B-48D2-BF13-2B0D6056B78A}" destId="{7A5D9CDD-E10F-422D-808B-815C691EF2E8}" srcOrd="5" destOrd="0" parTransId="{089AE963-8402-4F38-908B-1CA814F78766}" sibTransId="{63A1392B-D9B4-4604-ACED-CDD4B7E19D6E}"/>
    <dgm:cxn modelId="{92751D9D-02E3-45C2-978C-737085227C42}" srcId="{C782CD9B-2B4B-48D2-BF13-2B0D6056B78A}" destId="{DFCF748E-4FA2-4C04-B1DF-85DA1021BE5D}" srcOrd="0" destOrd="0" parTransId="{7DAF1956-B700-4203-9672-92E4451DCC31}" sibTransId="{A0ED7260-8442-4FBF-80B4-500E49A4F3AF}"/>
    <dgm:cxn modelId="{BE13DF9D-8E5F-4074-922E-7E9D91E2D27B}" type="presOf" srcId="{72FFD339-6A5F-4ED7-B529-6155AF8C35BB}" destId="{636F50A3-8EFE-4C08-B6BE-284B03274F0B}" srcOrd="0" destOrd="0" presId="urn:microsoft.com/office/officeart/2005/8/layout/chevron1"/>
    <dgm:cxn modelId="{A4664E9F-4B44-4C2F-BCD4-6B94485D857B}" type="presOf" srcId="{9225496C-39D8-4F53-8BB5-1B069B40EB3E}" destId="{6BB9B9CD-B911-4E33-8045-BE6A8D7C5B89}" srcOrd="0" destOrd="0" presId="urn:microsoft.com/office/officeart/2005/8/layout/chevron1"/>
    <dgm:cxn modelId="{FE5FBCA8-5D6F-44E5-8DFA-D24300AECCE8}" srcId="{C782CD9B-2B4B-48D2-BF13-2B0D6056B78A}" destId="{56EC974B-4690-4A6A-B143-36A5A9DDDB75}" srcOrd="6" destOrd="0" parTransId="{F24B2512-EFC3-4494-92F8-F4C2A580DD56}" sibTransId="{57612FAC-3D38-4A5A-9D54-8452999285F4}"/>
    <dgm:cxn modelId="{363210B6-F6CC-4DE7-8B9F-C4F44722A70C}" type="presOf" srcId="{7A5D9CDD-E10F-422D-808B-815C691EF2E8}" destId="{A2199658-E72A-4294-AFD3-6892981EEB12}" srcOrd="0" destOrd="0" presId="urn:microsoft.com/office/officeart/2005/8/layout/chevron1"/>
    <dgm:cxn modelId="{D6C89AE1-00A8-492D-888B-1E3DDC006D86}" srcId="{C782CD9B-2B4B-48D2-BF13-2B0D6056B78A}" destId="{5805825E-3BC3-4961-910E-96065463977D}" srcOrd="8" destOrd="0" parTransId="{263FA899-3C2D-4809-A47A-DB65911293C7}" sibTransId="{B58F1702-0059-4F53-9A60-77242457BBFA}"/>
    <dgm:cxn modelId="{C381E8F4-D0AE-4AD0-B8F1-4BDFF55901DE}" srcId="{C782CD9B-2B4B-48D2-BF13-2B0D6056B78A}" destId="{72FFD339-6A5F-4ED7-B529-6155AF8C35BB}" srcOrd="2" destOrd="0" parTransId="{ECFEA23F-DCCD-42C6-8706-10917CE3C2B0}" sibTransId="{A3B7292F-5113-4C29-982F-BC1D14C7BE90}"/>
    <dgm:cxn modelId="{C9F268FB-CB20-4E78-9CDC-F035D61B7E09}" srcId="{C782CD9B-2B4B-48D2-BF13-2B0D6056B78A}" destId="{A07A8528-D240-4AAE-BA81-005F6AD457F1}" srcOrd="7" destOrd="0" parTransId="{3C15A388-1B3D-47E8-B2CB-E67F7E1AFFF1}" sibTransId="{7D0C416E-0310-43FE-A0D6-735CD62199B6}"/>
    <dgm:cxn modelId="{9C011752-789B-49D2-B720-5E33F7E828B8}" type="presParOf" srcId="{2069E263-CA68-447A-859F-7068DC9AF2B6}" destId="{F7031506-3856-48AD-BFC1-89D9660F7FF7}" srcOrd="0" destOrd="0" presId="urn:microsoft.com/office/officeart/2005/8/layout/chevron1"/>
    <dgm:cxn modelId="{A8874994-F0CA-485C-A796-B7C243571383}" type="presParOf" srcId="{2069E263-CA68-447A-859F-7068DC9AF2B6}" destId="{420EBE6C-A91F-49B7-AF4C-29A127D6266A}" srcOrd="1" destOrd="0" presId="urn:microsoft.com/office/officeart/2005/8/layout/chevron1"/>
    <dgm:cxn modelId="{8FE71510-D75A-41D8-99F1-073910F3DE56}" type="presParOf" srcId="{2069E263-CA68-447A-859F-7068DC9AF2B6}" destId="{6C62160D-9EC9-4B84-8EFD-9C3E10FC055A}" srcOrd="2" destOrd="0" presId="urn:microsoft.com/office/officeart/2005/8/layout/chevron1"/>
    <dgm:cxn modelId="{C59467FC-1C7B-4FE1-8ACE-9457E2AB1421}" type="presParOf" srcId="{2069E263-CA68-447A-859F-7068DC9AF2B6}" destId="{6415A264-B3C7-41A6-9BA0-D0AD6AE1DACB}" srcOrd="3" destOrd="0" presId="urn:microsoft.com/office/officeart/2005/8/layout/chevron1"/>
    <dgm:cxn modelId="{ECF93975-35EC-4BD6-ADE0-5CF47B117CF4}" type="presParOf" srcId="{2069E263-CA68-447A-859F-7068DC9AF2B6}" destId="{636F50A3-8EFE-4C08-B6BE-284B03274F0B}" srcOrd="4" destOrd="0" presId="urn:microsoft.com/office/officeart/2005/8/layout/chevron1"/>
    <dgm:cxn modelId="{7F3DEF9A-5D80-4870-B12B-17B9E1A151ED}" type="presParOf" srcId="{2069E263-CA68-447A-859F-7068DC9AF2B6}" destId="{B0C5D3FB-8180-4CC6-9F14-5042E96FD8E3}" srcOrd="5" destOrd="0" presId="urn:microsoft.com/office/officeart/2005/8/layout/chevron1"/>
    <dgm:cxn modelId="{963FDA1C-E6C8-4E44-8132-BF5129FE83C5}" type="presParOf" srcId="{2069E263-CA68-447A-859F-7068DC9AF2B6}" destId="{6BB9B9CD-B911-4E33-8045-BE6A8D7C5B89}" srcOrd="6" destOrd="0" presId="urn:microsoft.com/office/officeart/2005/8/layout/chevron1"/>
    <dgm:cxn modelId="{28714D2F-519F-43D9-B28D-DB70E06125F4}" type="presParOf" srcId="{2069E263-CA68-447A-859F-7068DC9AF2B6}" destId="{60B2C4AD-8A0D-4CB2-93A9-16C6C0E4BD5B}" srcOrd="7" destOrd="0" presId="urn:microsoft.com/office/officeart/2005/8/layout/chevron1"/>
    <dgm:cxn modelId="{5B247022-4C0C-49E8-A8C5-D4E6758537BA}" type="presParOf" srcId="{2069E263-CA68-447A-859F-7068DC9AF2B6}" destId="{A29D7AF6-34C9-459D-B160-0F8E7686BA2B}" srcOrd="8" destOrd="0" presId="urn:microsoft.com/office/officeart/2005/8/layout/chevron1"/>
    <dgm:cxn modelId="{9C0214D3-3474-448D-83DE-3F5467E3D009}" type="presParOf" srcId="{2069E263-CA68-447A-859F-7068DC9AF2B6}" destId="{7004503D-9639-442B-9C04-FB1247092C40}" srcOrd="9" destOrd="0" presId="urn:microsoft.com/office/officeart/2005/8/layout/chevron1"/>
    <dgm:cxn modelId="{A037F87D-5BBE-4378-B688-CBE1AEB6CAEA}" type="presParOf" srcId="{2069E263-CA68-447A-859F-7068DC9AF2B6}" destId="{A2199658-E72A-4294-AFD3-6892981EEB12}" srcOrd="10" destOrd="0" presId="urn:microsoft.com/office/officeart/2005/8/layout/chevron1"/>
    <dgm:cxn modelId="{90660AA7-1DEB-46EB-9D01-DFA964989693}" type="presParOf" srcId="{2069E263-CA68-447A-859F-7068DC9AF2B6}" destId="{9B5C0F41-E4E2-4A3A-AA73-E3E4EB6ACD5E}" srcOrd="11" destOrd="0" presId="urn:microsoft.com/office/officeart/2005/8/layout/chevron1"/>
    <dgm:cxn modelId="{AFB33529-B99A-4CD3-BDEB-2E69E169E5C9}" type="presParOf" srcId="{2069E263-CA68-447A-859F-7068DC9AF2B6}" destId="{F9C55CAF-C1A3-4EFD-AD93-3CBF7E30E2FA}" srcOrd="12" destOrd="0" presId="urn:microsoft.com/office/officeart/2005/8/layout/chevron1"/>
    <dgm:cxn modelId="{F78B15F1-86BD-4799-A85E-AF4685401E07}" type="presParOf" srcId="{2069E263-CA68-447A-859F-7068DC9AF2B6}" destId="{DDB26EDE-11AF-40B7-9C16-348181381393}" srcOrd="13" destOrd="0" presId="urn:microsoft.com/office/officeart/2005/8/layout/chevron1"/>
    <dgm:cxn modelId="{0DAC1CC0-3255-4E3A-B25B-6E13FD83067C}" type="presParOf" srcId="{2069E263-CA68-447A-859F-7068DC9AF2B6}" destId="{8CED6B9D-804A-4009-A04D-D699125D11F0}" srcOrd="14" destOrd="0" presId="urn:microsoft.com/office/officeart/2005/8/layout/chevron1"/>
    <dgm:cxn modelId="{59B5ACAA-768D-496D-B098-EAD415EC8104}" type="presParOf" srcId="{2069E263-CA68-447A-859F-7068DC9AF2B6}" destId="{C3D8151F-F75F-49EC-B6A3-4B15A8912918}" srcOrd="15" destOrd="0" presId="urn:microsoft.com/office/officeart/2005/8/layout/chevron1"/>
    <dgm:cxn modelId="{605B7CAC-200B-40E0-802D-845CCE74AD8A}" type="presParOf" srcId="{2069E263-CA68-447A-859F-7068DC9AF2B6}" destId="{0A5AB2D9-0A33-47A4-83C2-3990E2018CD9}" srcOrd="16" destOrd="0" presId="urn:microsoft.com/office/officeart/2005/8/layout/chevron1"/>
    <dgm:cxn modelId="{AA3DEA87-6D6E-4BB6-8D21-6F617B30D80A}" type="presParOf" srcId="{2069E263-CA68-447A-859F-7068DC9AF2B6}" destId="{5FE5E96A-0031-41D2-A1BE-2634D143793A}" srcOrd="17" destOrd="0" presId="urn:microsoft.com/office/officeart/2005/8/layout/chevron1"/>
    <dgm:cxn modelId="{D373C406-0299-4413-89E2-8CB99B9DFAB7}" type="presParOf" srcId="{2069E263-CA68-447A-859F-7068DC9AF2B6}" destId="{F2510710-7BA2-44B7-8AA7-1347717B483B}" srcOrd="18"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C782CD9B-2B4B-48D2-BF13-2B0D6056B78A}"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it-IT"/>
        </a:p>
      </dgm:t>
    </dgm:pt>
    <dgm:pt modelId="{DFCF748E-4FA2-4C04-B1DF-85DA1021BE5D}">
      <dgm:prSet phldrT="[Testo]"/>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Rete viaria complessiva</a:t>
          </a:r>
        </a:p>
      </dgm:t>
    </dgm:pt>
    <dgm:pt modelId="{7DAF1956-B700-4203-9672-92E4451DCC31}" type="parTrans" cxnId="{92751D9D-02E3-45C2-978C-737085227C42}">
      <dgm:prSet/>
      <dgm:spPr/>
      <dgm:t>
        <a:bodyPr/>
        <a:lstStyle/>
        <a:p>
          <a:endParaRPr lang="it-IT"/>
        </a:p>
      </dgm:t>
    </dgm:pt>
    <dgm:pt modelId="{A0ED7260-8442-4FBF-80B4-500E49A4F3AF}" type="sibTrans" cxnId="{92751D9D-02E3-45C2-978C-737085227C42}">
      <dgm:prSet/>
      <dgm:spPr/>
      <dgm:t>
        <a:bodyPr/>
        <a:lstStyle/>
        <a:p>
          <a:endParaRPr lang="it-IT"/>
        </a:p>
      </dgm:t>
    </dgm:pt>
    <dgm:pt modelId="{B754C885-66E5-4615-BD33-B6EE917A035D}">
      <dgm:prSet phldrT="[Testo]"/>
      <dgm:spPr>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dgm:spPr>
      <dgm:t>
        <a:bodyPr/>
        <a:lstStyle/>
        <a:p>
          <a:r>
            <a:rPr lang="it-IT" dirty="0"/>
            <a:t>Risorse</a:t>
          </a:r>
        </a:p>
      </dgm:t>
    </dgm:pt>
    <dgm:pt modelId="{65812F9F-DD0E-4752-BF8B-D07282594751}" type="parTrans" cxnId="{F8EA3703-CEE5-4162-AB46-CFFF8AC28B48}">
      <dgm:prSet/>
      <dgm:spPr/>
      <dgm:t>
        <a:bodyPr/>
        <a:lstStyle/>
        <a:p>
          <a:endParaRPr lang="it-IT"/>
        </a:p>
      </dgm:t>
    </dgm:pt>
    <dgm:pt modelId="{79AAED35-18A8-4347-A2B8-6AAE8B34BA56}" type="sibTrans" cxnId="{F8EA3703-CEE5-4162-AB46-CFFF8AC28B48}">
      <dgm:prSet/>
      <dgm:spPr/>
      <dgm:t>
        <a:bodyPr/>
        <a:lstStyle/>
        <a:p>
          <a:endParaRPr lang="it-IT"/>
        </a:p>
      </dgm:t>
    </dgm:pt>
    <dgm:pt modelId="{9225496C-39D8-4F53-8BB5-1B069B40EB3E}">
      <dgm:prSet phldrT="[Testo]"/>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Affidamenti</a:t>
          </a:r>
        </a:p>
      </dgm:t>
    </dgm:pt>
    <dgm:pt modelId="{D3A21DFB-000A-4FCE-9E9D-8516EBA4DD45}" type="parTrans" cxnId="{94A2B45D-2D69-4650-AFC3-C5574217F910}">
      <dgm:prSet/>
      <dgm:spPr/>
      <dgm:t>
        <a:bodyPr/>
        <a:lstStyle/>
        <a:p>
          <a:endParaRPr lang="it-IT"/>
        </a:p>
      </dgm:t>
    </dgm:pt>
    <dgm:pt modelId="{1E3F53DD-2537-4C67-AA71-87081D444A81}" type="sibTrans" cxnId="{94A2B45D-2D69-4650-AFC3-C5574217F910}">
      <dgm:prSet/>
      <dgm:spPr/>
      <dgm:t>
        <a:bodyPr/>
        <a:lstStyle/>
        <a:p>
          <a:endParaRPr lang="it-IT"/>
        </a:p>
      </dgm:t>
    </dgm:pt>
    <dgm:pt modelId="{2F442204-E894-4EB6-A3FA-953074E6D5F9}">
      <dgm:prSet phldrT="[Testo]" custT="1"/>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sz="700" dirty="0"/>
            <a:t>Investimenti e Produzione</a:t>
          </a:r>
        </a:p>
        <a:p>
          <a:r>
            <a:rPr lang="it-IT" sz="700" dirty="0"/>
            <a:t>MP</a:t>
          </a:r>
        </a:p>
      </dgm:t>
    </dgm:pt>
    <dgm:pt modelId="{9E6A019B-6886-407A-A3BB-1A2A8D416818}" type="parTrans" cxnId="{6FD2AE64-BDEB-482D-ACF3-1D5403180A1E}">
      <dgm:prSet/>
      <dgm:spPr/>
      <dgm:t>
        <a:bodyPr/>
        <a:lstStyle/>
        <a:p>
          <a:endParaRPr lang="it-IT"/>
        </a:p>
      </dgm:t>
    </dgm:pt>
    <dgm:pt modelId="{07F51AA8-9070-4A56-AF24-8977CF9B6A80}" type="sibTrans" cxnId="{6FD2AE64-BDEB-482D-ACF3-1D5403180A1E}">
      <dgm:prSet/>
      <dgm:spPr/>
      <dgm:t>
        <a:bodyPr/>
        <a:lstStyle/>
        <a:p>
          <a:endParaRPr lang="it-IT"/>
        </a:p>
      </dgm:t>
    </dgm:pt>
    <dgm:pt modelId="{2D51EAF0-C497-40E9-996D-2D0BC40F318C}">
      <dgm:prSet phldrT="[Testo]"/>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Pagamenti</a:t>
          </a:r>
        </a:p>
      </dgm:t>
    </dgm:pt>
    <dgm:pt modelId="{43C509B8-DD3A-429A-ADC4-232D55259B3D}" type="parTrans" cxnId="{7BC9B318-E7A6-41F3-853C-1D1DFB2050EF}">
      <dgm:prSet/>
      <dgm:spPr/>
      <dgm:t>
        <a:bodyPr/>
        <a:lstStyle/>
        <a:p>
          <a:endParaRPr lang="it-IT"/>
        </a:p>
      </dgm:t>
    </dgm:pt>
    <dgm:pt modelId="{66A12237-9546-42D0-81C0-2C324670B743}" type="sibTrans" cxnId="{7BC9B318-E7A6-41F3-853C-1D1DFB2050EF}">
      <dgm:prSet/>
      <dgm:spPr/>
      <dgm:t>
        <a:bodyPr/>
        <a:lstStyle/>
        <a:p>
          <a:endParaRPr lang="it-IT"/>
        </a:p>
      </dgm:t>
    </dgm:pt>
    <dgm:pt modelId="{72FFD339-6A5F-4ED7-B529-6155AF8C35BB}">
      <dgm:prSet/>
      <dgm:spPr>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dgm:spPr>
      <dgm:t>
        <a:bodyPr/>
        <a:lstStyle/>
        <a:p>
          <a:r>
            <a:rPr lang="it-IT" dirty="0" err="1"/>
            <a:t>soc</a:t>
          </a:r>
          <a:endParaRPr lang="it-IT" dirty="0"/>
        </a:p>
      </dgm:t>
    </dgm:pt>
    <dgm:pt modelId="{ECFEA23F-DCCD-42C6-8706-10917CE3C2B0}" type="parTrans" cxnId="{C381E8F4-D0AE-4AD0-B8F1-4BDFF55901DE}">
      <dgm:prSet/>
      <dgm:spPr/>
      <dgm:t>
        <a:bodyPr/>
        <a:lstStyle/>
        <a:p>
          <a:endParaRPr lang="it-IT"/>
        </a:p>
      </dgm:t>
    </dgm:pt>
    <dgm:pt modelId="{A3B7292F-5113-4C29-982F-BC1D14C7BE90}" type="sibTrans" cxnId="{C381E8F4-D0AE-4AD0-B8F1-4BDFF55901DE}">
      <dgm:prSet/>
      <dgm:spPr/>
      <dgm:t>
        <a:bodyPr/>
        <a:lstStyle/>
        <a:p>
          <a:endParaRPr lang="it-IT"/>
        </a:p>
      </dgm:t>
    </dgm:pt>
    <dgm:pt modelId="{A07A8528-D240-4AAE-BA81-005F6AD457F1}">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Ispezione Opere D’arte</a:t>
          </a:r>
        </a:p>
      </dgm:t>
    </dgm:pt>
    <dgm:pt modelId="{3C15A388-1B3D-47E8-B2CB-E67F7E1AFFF1}" type="parTrans" cxnId="{C9F268FB-CB20-4E78-9CDC-F035D61B7E09}">
      <dgm:prSet/>
      <dgm:spPr/>
      <dgm:t>
        <a:bodyPr/>
        <a:lstStyle/>
        <a:p>
          <a:endParaRPr lang="it-IT"/>
        </a:p>
      </dgm:t>
    </dgm:pt>
    <dgm:pt modelId="{7D0C416E-0310-43FE-A0D6-735CD62199B6}" type="sibTrans" cxnId="{C9F268FB-CB20-4E78-9CDC-F035D61B7E09}">
      <dgm:prSet/>
      <dgm:spPr/>
      <dgm:t>
        <a:bodyPr/>
        <a:lstStyle/>
        <a:p>
          <a:endParaRPr lang="it-IT"/>
        </a:p>
      </dgm:t>
    </dgm:pt>
    <dgm:pt modelId="{56EC974B-4690-4A6A-B143-36A5A9DDDB75}">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Supporto Tecnico</a:t>
          </a:r>
        </a:p>
      </dgm:t>
    </dgm:pt>
    <dgm:pt modelId="{F24B2512-EFC3-4494-92F8-F4C2A580DD56}" type="parTrans" cxnId="{FE5FBCA8-5D6F-44E5-8DFA-D24300AECCE8}">
      <dgm:prSet/>
      <dgm:spPr/>
      <dgm:t>
        <a:bodyPr/>
        <a:lstStyle/>
        <a:p>
          <a:endParaRPr lang="it-IT"/>
        </a:p>
      </dgm:t>
    </dgm:pt>
    <dgm:pt modelId="{57612FAC-3D38-4A5A-9D54-8452999285F4}" type="sibTrans" cxnId="{FE5FBCA8-5D6F-44E5-8DFA-D24300AECCE8}">
      <dgm:prSet/>
      <dgm:spPr/>
      <dgm:t>
        <a:bodyPr/>
        <a:lstStyle/>
        <a:p>
          <a:endParaRPr lang="it-IT"/>
        </a:p>
      </dgm:t>
    </dgm:pt>
    <dgm:pt modelId="{5805825E-3BC3-4961-910E-96065463977D}">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Interventi Rilevanti</a:t>
          </a:r>
        </a:p>
      </dgm:t>
    </dgm:pt>
    <dgm:pt modelId="{263FA899-3C2D-4809-A47A-DB65911293C7}" type="parTrans" cxnId="{D6C89AE1-00A8-492D-888B-1E3DDC006D86}">
      <dgm:prSet/>
      <dgm:spPr/>
      <dgm:t>
        <a:bodyPr/>
        <a:lstStyle/>
        <a:p>
          <a:endParaRPr lang="it-IT"/>
        </a:p>
      </dgm:t>
    </dgm:pt>
    <dgm:pt modelId="{B58F1702-0059-4F53-9A60-77242457BBFA}" type="sibTrans" cxnId="{D6C89AE1-00A8-492D-888B-1E3DDC006D86}">
      <dgm:prSet/>
      <dgm:spPr/>
      <dgm:t>
        <a:bodyPr/>
        <a:lstStyle/>
        <a:p>
          <a:endParaRPr lang="it-IT"/>
        </a:p>
      </dgm:t>
    </dgm:pt>
    <dgm:pt modelId="{7A5D9CDD-E10F-422D-808B-815C691EF2E8}">
      <dgm:prSet phldrT="[Testo]" custT="1"/>
      <dgm:spPr>
        <a:solidFill>
          <a:schemeClr val="tx2"/>
        </a:solidFill>
      </dgm:spPr>
      <dgm:t>
        <a:bodyPr/>
        <a:lstStyle/>
        <a:p>
          <a:r>
            <a:rPr lang="it-IT" sz="700" dirty="0"/>
            <a:t>Investimenti e Produzione</a:t>
          </a:r>
        </a:p>
        <a:p>
          <a:r>
            <a:rPr lang="it-IT" sz="700" dirty="0"/>
            <a:t>NO</a:t>
          </a:r>
        </a:p>
      </dgm:t>
    </dgm:pt>
    <dgm:pt modelId="{089AE963-8402-4F38-908B-1CA814F78766}" type="parTrans" cxnId="{BEDD267B-EA80-4783-A782-86B96AAC5B03}">
      <dgm:prSet/>
      <dgm:spPr/>
      <dgm:t>
        <a:bodyPr/>
        <a:lstStyle/>
        <a:p>
          <a:endParaRPr lang="it-IT"/>
        </a:p>
      </dgm:t>
    </dgm:pt>
    <dgm:pt modelId="{63A1392B-D9B4-4604-ACED-CDD4B7E19D6E}" type="sibTrans" cxnId="{BEDD267B-EA80-4783-A782-86B96AAC5B03}">
      <dgm:prSet/>
      <dgm:spPr/>
      <dgm:t>
        <a:bodyPr/>
        <a:lstStyle/>
        <a:p>
          <a:endParaRPr lang="it-IT"/>
        </a:p>
      </dgm:t>
    </dgm:pt>
    <dgm:pt modelId="{2069E263-CA68-447A-859F-7068DC9AF2B6}" type="pres">
      <dgm:prSet presAssocID="{C782CD9B-2B4B-48D2-BF13-2B0D6056B78A}" presName="Name0" presStyleCnt="0">
        <dgm:presLayoutVars>
          <dgm:dir/>
          <dgm:animLvl val="lvl"/>
          <dgm:resizeHandles val="exact"/>
        </dgm:presLayoutVars>
      </dgm:prSet>
      <dgm:spPr/>
    </dgm:pt>
    <dgm:pt modelId="{F7031506-3856-48AD-BFC1-89D9660F7FF7}" type="pres">
      <dgm:prSet presAssocID="{DFCF748E-4FA2-4C04-B1DF-85DA1021BE5D}" presName="parTxOnly" presStyleLbl="node1" presStyleIdx="0" presStyleCnt="10">
        <dgm:presLayoutVars>
          <dgm:chMax val="0"/>
          <dgm:chPref val="0"/>
          <dgm:bulletEnabled val="1"/>
        </dgm:presLayoutVars>
      </dgm:prSet>
      <dgm:spPr/>
    </dgm:pt>
    <dgm:pt modelId="{420EBE6C-A91F-49B7-AF4C-29A127D6266A}" type="pres">
      <dgm:prSet presAssocID="{A0ED7260-8442-4FBF-80B4-500E49A4F3AF}" presName="parTxOnlySpace" presStyleCnt="0"/>
      <dgm:spPr/>
    </dgm:pt>
    <dgm:pt modelId="{6C62160D-9EC9-4B84-8EFD-9C3E10FC055A}" type="pres">
      <dgm:prSet presAssocID="{B754C885-66E5-4615-BD33-B6EE917A035D}" presName="parTxOnly" presStyleLbl="node1" presStyleIdx="1" presStyleCnt="10">
        <dgm:presLayoutVars>
          <dgm:chMax val="0"/>
          <dgm:chPref val="0"/>
          <dgm:bulletEnabled val="1"/>
        </dgm:presLayoutVars>
      </dgm:prSet>
      <dgm:spPr/>
    </dgm:pt>
    <dgm:pt modelId="{6415A264-B3C7-41A6-9BA0-D0AD6AE1DACB}" type="pres">
      <dgm:prSet presAssocID="{79AAED35-18A8-4347-A2B8-6AAE8B34BA56}" presName="parTxOnlySpace" presStyleCnt="0"/>
      <dgm:spPr/>
    </dgm:pt>
    <dgm:pt modelId="{636F50A3-8EFE-4C08-B6BE-284B03274F0B}" type="pres">
      <dgm:prSet presAssocID="{72FFD339-6A5F-4ED7-B529-6155AF8C35BB}" presName="parTxOnly" presStyleLbl="node1" presStyleIdx="2" presStyleCnt="10">
        <dgm:presLayoutVars>
          <dgm:chMax val="0"/>
          <dgm:chPref val="0"/>
          <dgm:bulletEnabled val="1"/>
        </dgm:presLayoutVars>
      </dgm:prSet>
      <dgm:spPr/>
    </dgm:pt>
    <dgm:pt modelId="{B0C5D3FB-8180-4CC6-9F14-5042E96FD8E3}" type="pres">
      <dgm:prSet presAssocID="{A3B7292F-5113-4C29-982F-BC1D14C7BE90}" presName="parTxOnlySpace" presStyleCnt="0"/>
      <dgm:spPr/>
    </dgm:pt>
    <dgm:pt modelId="{6BB9B9CD-B911-4E33-8045-BE6A8D7C5B89}" type="pres">
      <dgm:prSet presAssocID="{9225496C-39D8-4F53-8BB5-1B069B40EB3E}" presName="parTxOnly" presStyleLbl="node1" presStyleIdx="3" presStyleCnt="10">
        <dgm:presLayoutVars>
          <dgm:chMax val="0"/>
          <dgm:chPref val="0"/>
          <dgm:bulletEnabled val="1"/>
        </dgm:presLayoutVars>
      </dgm:prSet>
      <dgm:spPr/>
    </dgm:pt>
    <dgm:pt modelId="{60B2C4AD-8A0D-4CB2-93A9-16C6C0E4BD5B}" type="pres">
      <dgm:prSet presAssocID="{1E3F53DD-2537-4C67-AA71-87081D444A81}" presName="parTxOnlySpace" presStyleCnt="0"/>
      <dgm:spPr/>
    </dgm:pt>
    <dgm:pt modelId="{A29D7AF6-34C9-459D-B160-0F8E7686BA2B}" type="pres">
      <dgm:prSet presAssocID="{2F442204-E894-4EB6-A3FA-953074E6D5F9}" presName="parTxOnly" presStyleLbl="node1" presStyleIdx="4" presStyleCnt="10">
        <dgm:presLayoutVars>
          <dgm:chMax val="0"/>
          <dgm:chPref val="0"/>
          <dgm:bulletEnabled val="1"/>
        </dgm:presLayoutVars>
      </dgm:prSet>
      <dgm:spPr/>
    </dgm:pt>
    <dgm:pt modelId="{7004503D-9639-442B-9C04-FB1247092C40}" type="pres">
      <dgm:prSet presAssocID="{07F51AA8-9070-4A56-AF24-8977CF9B6A80}" presName="parTxOnlySpace" presStyleCnt="0"/>
      <dgm:spPr/>
    </dgm:pt>
    <dgm:pt modelId="{A2199658-E72A-4294-AFD3-6892981EEB12}" type="pres">
      <dgm:prSet presAssocID="{7A5D9CDD-E10F-422D-808B-815C691EF2E8}" presName="parTxOnly" presStyleLbl="node1" presStyleIdx="5" presStyleCnt="10">
        <dgm:presLayoutVars>
          <dgm:chMax val="0"/>
          <dgm:chPref val="0"/>
          <dgm:bulletEnabled val="1"/>
        </dgm:presLayoutVars>
      </dgm:prSet>
      <dgm:spPr/>
    </dgm:pt>
    <dgm:pt modelId="{9B5C0F41-E4E2-4A3A-AA73-E3E4EB6ACD5E}" type="pres">
      <dgm:prSet presAssocID="{63A1392B-D9B4-4604-ACED-CDD4B7E19D6E}" presName="parTxOnlySpace" presStyleCnt="0"/>
      <dgm:spPr/>
    </dgm:pt>
    <dgm:pt modelId="{F9C55CAF-C1A3-4EFD-AD93-3CBF7E30E2FA}" type="pres">
      <dgm:prSet presAssocID="{56EC974B-4690-4A6A-B143-36A5A9DDDB75}" presName="parTxOnly" presStyleLbl="node1" presStyleIdx="6" presStyleCnt="10">
        <dgm:presLayoutVars>
          <dgm:chMax val="0"/>
          <dgm:chPref val="0"/>
          <dgm:bulletEnabled val="1"/>
        </dgm:presLayoutVars>
      </dgm:prSet>
      <dgm:spPr/>
    </dgm:pt>
    <dgm:pt modelId="{DDB26EDE-11AF-40B7-9C16-348181381393}" type="pres">
      <dgm:prSet presAssocID="{57612FAC-3D38-4A5A-9D54-8452999285F4}" presName="parTxOnlySpace" presStyleCnt="0"/>
      <dgm:spPr/>
    </dgm:pt>
    <dgm:pt modelId="{8CED6B9D-804A-4009-A04D-D699125D11F0}" type="pres">
      <dgm:prSet presAssocID="{A07A8528-D240-4AAE-BA81-005F6AD457F1}" presName="parTxOnly" presStyleLbl="node1" presStyleIdx="7" presStyleCnt="10">
        <dgm:presLayoutVars>
          <dgm:chMax val="0"/>
          <dgm:chPref val="0"/>
          <dgm:bulletEnabled val="1"/>
        </dgm:presLayoutVars>
      </dgm:prSet>
      <dgm:spPr/>
    </dgm:pt>
    <dgm:pt modelId="{C3D8151F-F75F-49EC-B6A3-4B15A8912918}" type="pres">
      <dgm:prSet presAssocID="{7D0C416E-0310-43FE-A0D6-735CD62199B6}" presName="parTxOnlySpace" presStyleCnt="0"/>
      <dgm:spPr/>
    </dgm:pt>
    <dgm:pt modelId="{0A5AB2D9-0A33-47A4-83C2-3990E2018CD9}" type="pres">
      <dgm:prSet presAssocID="{5805825E-3BC3-4961-910E-96065463977D}" presName="parTxOnly" presStyleLbl="node1" presStyleIdx="8" presStyleCnt="10">
        <dgm:presLayoutVars>
          <dgm:chMax val="0"/>
          <dgm:chPref val="0"/>
          <dgm:bulletEnabled val="1"/>
        </dgm:presLayoutVars>
      </dgm:prSet>
      <dgm:spPr/>
    </dgm:pt>
    <dgm:pt modelId="{5FE5E96A-0031-41D2-A1BE-2634D143793A}" type="pres">
      <dgm:prSet presAssocID="{B58F1702-0059-4F53-9A60-77242457BBFA}" presName="parTxOnlySpace" presStyleCnt="0"/>
      <dgm:spPr/>
    </dgm:pt>
    <dgm:pt modelId="{F2510710-7BA2-44B7-8AA7-1347717B483B}" type="pres">
      <dgm:prSet presAssocID="{2D51EAF0-C497-40E9-996D-2D0BC40F318C}" presName="parTxOnly" presStyleLbl="node1" presStyleIdx="9" presStyleCnt="10">
        <dgm:presLayoutVars>
          <dgm:chMax val="0"/>
          <dgm:chPref val="0"/>
          <dgm:bulletEnabled val="1"/>
        </dgm:presLayoutVars>
      </dgm:prSet>
      <dgm:spPr/>
    </dgm:pt>
  </dgm:ptLst>
  <dgm:cxnLst>
    <dgm:cxn modelId="{F8EA3703-CEE5-4162-AB46-CFFF8AC28B48}" srcId="{C782CD9B-2B4B-48D2-BF13-2B0D6056B78A}" destId="{B754C885-66E5-4615-BD33-B6EE917A035D}" srcOrd="1" destOrd="0" parTransId="{65812F9F-DD0E-4752-BF8B-D07282594751}" sibTransId="{79AAED35-18A8-4347-A2B8-6AAE8B34BA56}"/>
    <dgm:cxn modelId="{7BC9B318-E7A6-41F3-853C-1D1DFB2050EF}" srcId="{C782CD9B-2B4B-48D2-BF13-2B0D6056B78A}" destId="{2D51EAF0-C497-40E9-996D-2D0BC40F318C}" srcOrd="9" destOrd="0" parTransId="{43C509B8-DD3A-429A-ADC4-232D55259B3D}" sibTransId="{66A12237-9546-42D0-81C0-2C324670B743}"/>
    <dgm:cxn modelId="{076D9919-3A0B-46AD-A196-EC758419B623}" type="presOf" srcId="{2F442204-E894-4EB6-A3FA-953074E6D5F9}" destId="{A29D7AF6-34C9-459D-B160-0F8E7686BA2B}" srcOrd="0" destOrd="0" presId="urn:microsoft.com/office/officeart/2005/8/layout/chevron1"/>
    <dgm:cxn modelId="{D486BC1C-2863-4662-85F7-598D0AD96559}" type="presOf" srcId="{DFCF748E-4FA2-4C04-B1DF-85DA1021BE5D}" destId="{F7031506-3856-48AD-BFC1-89D9660F7FF7}" srcOrd="0" destOrd="0" presId="urn:microsoft.com/office/officeart/2005/8/layout/chevron1"/>
    <dgm:cxn modelId="{1FAF4325-306F-437C-9A54-9E8965C4BC63}" type="presOf" srcId="{72FFD339-6A5F-4ED7-B529-6155AF8C35BB}" destId="{636F50A3-8EFE-4C08-B6BE-284B03274F0B}" srcOrd="0" destOrd="0" presId="urn:microsoft.com/office/officeart/2005/8/layout/chevron1"/>
    <dgm:cxn modelId="{46D69A5D-0C97-4BDC-9674-D4D5B4360281}" type="presOf" srcId="{B754C885-66E5-4615-BD33-B6EE917A035D}" destId="{6C62160D-9EC9-4B84-8EFD-9C3E10FC055A}" srcOrd="0" destOrd="0" presId="urn:microsoft.com/office/officeart/2005/8/layout/chevron1"/>
    <dgm:cxn modelId="{94A2B45D-2D69-4650-AFC3-C5574217F910}" srcId="{C782CD9B-2B4B-48D2-BF13-2B0D6056B78A}" destId="{9225496C-39D8-4F53-8BB5-1B069B40EB3E}" srcOrd="3" destOrd="0" parTransId="{D3A21DFB-000A-4FCE-9E9D-8516EBA4DD45}" sibTransId="{1E3F53DD-2537-4C67-AA71-87081D444A81}"/>
    <dgm:cxn modelId="{6FD2AE64-BDEB-482D-ACF3-1D5403180A1E}" srcId="{C782CD9B-2B4B-48D2-BF13-2B0D6056B78A}" destId="{2F442204-E894-4EB6-A3FA-953074E6D5F9}" srcOrd="4" destOrd="0" parTransId="{9E6A019B-6886-407A-A3BB-1A2A8D416818}" sibTransId="{07F51AA8-9070-4A56-AF24-8977CF9B6A80}"/>
    <dgm:cxn modelId="{EEF98470-7E35-4727-AE11-1A207AD55354}" type="presOf" srcId="{7A5D9CDD-E10F-422D-808B-815C691EF2E8}" destId="{A2199658-E72A-4294-AFD3-6892981EEB12}" srcOrd="0" destOrd="0" presId="urn:microsoft.com/office/officeart/2005/8/layout/chevron1"/>
    <dgm:cxn modelId="{C0B1CD75-FACF-4D74-B39A-25DD904668CB}" type="presOf" srcId="{2D51EAF0-C497-40E9-996D-2D0BC40F318C}" destId="{F2510710-7BA2-44B7-8AA7-1347717B483B}" srcOrd="0" destOrd="0" presId="urn:microsoft.com/office/officeart/2005/8/layout/chevron1"/>
    <dgm:cxn modelId="{8E2BFD76-E09C-4FB8-BE98-8B35DACCF36D}" type="presOf" srcId="{56EC974B-4690-4A6A-B143-36A5A9DDDB75}" destId="{F9C55CAF-C1A3-4EFD-AD93-3CBF7E30E2FA}" srcOrd="0" destOrd="0" presId="urn:microsoft.com/office/officeart/2005/8/layout/chevron1"/>
    <dgm:cxn modelId="{BEDD267B-EA80-4783-A782-86B96AAC5B03}" srcId="{C782CD9B-2B4B-48D2-BF13-2B0D6056B78A}" destId="{7A5D9CDD-E10F-422D-808B-815C691EF2E8}" srcOrd="5" destOrd="0" parTransId="{089AE963-8402-4F38-908B-1CA814F78766}" sibTransId="{63A1392B-D9B4-4604-ACED-CDD4B7E19D6E}"/>
    <dgm:cxn modelId="{A90F2785-3DCA-4E86-998C-EA0F648790DA}" type="presOf" srcId="{A07A8528-D240-4AAE-BA81-005F6AD457F1}" destId="{8CED6B9D-804A-4009-A04D-D699125D11F0}" srcOrd="0" destOrd="0" presId="urn:microsoft.com/office/officeart/2005/8/layout/chevron1"/>
    <dgm:cxn modelId="{92751D9D-02E3-45C2-978C-737085227C42}" srcId="{C782CD9B-2B4B-48D2-BF13-2B0D6056B78A}" destId="{DFCF748E-4FA2-4C04-B1DF-85DA1021BE5D}" srcOrd="0" destOrd="0" parTransId="{7DAF1956-B700-4203-9672-92E4451DCC31}" sibTransId="{A0ED7260-8442-4FBF-80B4-500E49A4F3AF}"/>
    <dgm:cxn modelId="{7A7C00A5-0377-45AB-8CF8-2772244052E4}" type="presOf" srcId="{5805825E-3BC3-4961-910E-96065463977D}" destId="{0A5AB2D9-0A33-47A4-83C2-3990E2018CD9}" srcOrd="0" destOrd="0" presId="urn:microsoft.com/office/officeart/2005/8/layout/chevron1"/>
    <dgm:cxn modelId="{FE5FBCA8-5D6F-44E5-8DFA-D24300AECCE8}" srcId="{C782CD9B-2B4B-48D2-BF13-2B0D6056B78A}" destId="{56EC974B-4690-4A6A-B143-36A5A9DDDB75}" srcOrd="6" destOrd="0" parTransId="{F24B2512-EFC3-4494-92F8-F4C2A580DD56}" sibTransId="{57612FAC-3D38-4A5A-9D54-8452999285F4}"/>
    <dgm:cxn modelId="{D6C89AE1-00A8-492D-888B-1E3DDC006D86}" srcId="{C782CD9B-2B4B-48D2-BF13-2B0D6056B78A}" destId="{5805825E-3BC3-4961-910E-96065463977D}" srcOrd="8" destOrd="0" parTransId="{263FA899-3C2D-4809-A47A-DB65911293C7}" sibTransId="{B58F1702-0059-4F53-9A60-77242457BBFA}"/>
    <dgm:cxn modelId="{65E3AEF0-4074-4345-A0E5-EFCBEA336809}" type="presOf" srcId="{C782CD9B-2B4B-48D2-BF13-2B0D6056B78A}" destId="{2069E263-CA68-447A-859F-7068DC9AF2B6}" srcOrd="0" destOrd="0" presId="urn:microsoft.com/office/officeart/2005/8/layout/chevron1"/>
    <dgm:cxn modelId="{C381E8F4-D0AE-4AD0-B8F1-4BDFF55901DE}" srcId="{C782CD9B-2B4B-48D2-BF13-2B0D6056B78A}" destId="{72FFD339-6A5F-4ED7-B529-6155AF8C35BB}" srcOrd="2" destOrd="0" parTransId="{ECFEA23F-DCCD-42C6-8706-10917CE3C2B0}" sibTransId="{A3B7292F-5113-4C29-982F-BC1D14C7BE90}"/>
    <dgm:cxn modelId="{C9F268FB-CB20-4E78-9CDC-F035D61B7E09}" srcId="{C782CD9B-2B4B-48D2-BF13-2B0D6056B78A}" destId="{A07A8528-D240-4AAE-BA81-005F6AD457F1}" srcOrd="7" destOrd="0" parTransId="{3C15A388-1B3D-47E8-B2CB-E67F7E1AFFF1}" sibTransId="{7D0C416E-0310-43FE-A0D6-735CD62199B6}"/>
    <dgm:cxn modelId="{867B72FC-3155-4CDD-8EA7-B48BE3E571FE}" type="presOf" srcId="{9225496C-39D8-4F53-8BB5-1B069B40EB3E}" destId="{6BB9B9CD-B911-4E33-8045-BE6A8D7C5B89}" srcOrd="0" destOrd="0" presId="urn:microsoft.com/office/officeart/2005/8/layout/chevron1"/>
    <dgm:cxn modelId="{C022567B-50C2-4CAE-89CA-7F01AEF5DCB9}" type="presParOf" srcId="{2069E263-CA68-447A-859F-7068DC9AF2B6}" destId="{F7031506-3856-48AD-BFC1-89D9660F7FF7}" srcOrd="0" destOrd="0" presId="urn:microsoft.com/office/officeart/2005/8/layout/chevron1"/>
    <dgm:cxn modelId="{8C90D710-3D6F-4C98-8A30-E3A5F1B12BD5}" type="presParOf" srcId="{2069E263-CA68-447A-859F-7068DC9AF2B6}" destId="{420EBE6C-A91F-49B7-AF4C-29A127D6266A}" srcOrd="1" destOrd="0" presId="urn:microsoft.com/office/officeart/2005/8/layout/chevron1"/>
    <dgm:cxn modelId="{5C70C8A0-DAF9-43AE-8264-A65AC4F31FD8}" type="presParOf" srcId="{2069E263-CA68-447A-859F-7068DC9AF2B6}" destId="{6C62160D-9EC9-4B84-8EFD-9C3E10FC055A}" srcOrd="2" destOrd="0" presId="urn:microsoft.com/office/officeart/2005/8/layout/chevron1"/>
    <dgm:cxn modelId="{EBCE6F3A-3B15-4478-B2B0-C1D6FC70EEBB}" type="presParOf" srcId="{2069E263-CA68-447A-859F-7068DC9AF2B6}" destId="{6415A264-B3C7-41A6-9BA0-D0AD6AE1DACB}" srcOrd="3" destOrd="0" presId="urn:microsoft.com/office/officeart/2005/8/layout/chevron1"/>
    <dgm:cxn modelId="{E83801B9-40E3-4C62-B973-6F5F5367E7C6}" type="presParOf" srcId="{2069E263-CA68-447A-859F-7068DC9AF2B6}" destId="{636F50A3-8EFE-4C08-B6BE-284B03274F0B}" srcOrd="4" destOrd="0" presId="urn:microsoft.com/office/officeart/2005/8/layout/chevron1"/>
    <dgm:cxn modelId="{2F308BBD-85BD-4C00-8F93-13933FA0BB38}" type="presParOf" srcId="{2069E263-CA68-447A-859F-7068DC9AF2B6}" destId="{B0C5D3FB-8180-4CC6-9F14-5042E96FD8E3}" srcOrd="5" destOrd="0" presId="urn:microsoft.com/office/officeart/2005/8/layout/chevron1"/>
    <dgm:cxn modelId="{149CDFD9-0256-4B2F-B7E1-2A12D29344AC}" type="presParOf" srcId="{2069E263-CA68-447A-859F-7068DC9AF2B6}" destId="{6BB9B9CD-B911-4E33-8045-BE6A8D7C5B89}" srcOrd="6" destOrd="0" presId="urn:microsoft.com/office/officeart/2005/8/layout/chevron1"/>
    <dgm:cxn modelId="{3FBC82CA-3DCF-4F8E-A71A-0C9A3993B642}" type="presParOf" srcId="{2069E263-CA68-447A-859F-7068DC9AF2B6}" destId="{60B2C4AD-8A0D-4CB2-93A9-16C6C0E4BD5B}" srcOrd="7" destOrd="0" presId="urn:microsoft.com/office/officeart/2005/8/layout/chevron1"/>
    <dgm:cxn modelId="{899D08D8-93F5-4672-8586-B5CC708C7DDD}" type="presParOf" srcId="{2069E263-CA68-447A-859F-7068DC9AF2B6}" destId="{A29D7AF6-34C9-459D-B160-0F8E7686BA2B}" srcOrd="8" destOrd="0" presId="urn:microsoft.com/office/officeart/2005/8/layout/chevron1"/>
    <dgm:cxn modelId="{30C2279D-B4A2-4A0B-A2D0-6C4A01258D6E}" type="presParOf" srcId="{2069E263-CA68-447A-859F-7068DC9AF2B6}" destId="{7004503D-9639-442B-9C04-FB1247092C40}" srcOrd="9" destOrd="0" presId="urn:microsoft.com/office/officeart/2005/8/layout/chevron1"/>
    <dgm:cxn modelId="{DAC38CE6-C8AB-4D54-A729-2A3D99DBF129}" type="presParOf" srcId="{2069E263-CA68-447A-859F-7068DC9AF2B6}" destId="{A2199658-E72A-4294-AFD3-6892981EEB12}" srcOrd="10" destOrd="0" presId="urn:microsoft.com/office/officeart/2005/8/layout/chevron1"/>
    <dgm:cxn modelId="{F93BB641-1628-41C9-A3AF-C8A0C6D6056C}" type="presParOf" srcId="{2069E263-CA68-447A-859F-7068DC9AF2B6}" destId="{9B5C0F41-E4E2-4A3A-AA73-E3E4EB6ACD5E}" srcOrd="11" destOrd="0" presId="urn:microsoft.com/office/officeart/2005/8/layout/chevron1"/>
    <dgm:cxn modelId="{F1935B20-FB7E-4F03-A12A-30A79CAA3894}" type="presParOf" srcId="{2069E263-CA68-447A-859F-7068DC9AF2B6}" destId="{F9C55CAF-C1A3-4EFD-AD93-3CBF7E30E2FA}" srcOrd="12" destOrd="0" presId="urn:microsoft.com/office/officeart/2005/8/layout/chevron1"/>
    <dgm:cxn modelId="{C40AFE8E-623D-4C3F-AAD6-E90BAE9D1421}" type="presParOf" srcId="{2069E263-CA68-447A-859F-7068DC9AF2B6}" destId="{DDB26EDE-11AF-40B7-9C16-348181381393}" srcOrd="13" destOrd="0" presId="urn:microsoft.com/office/officeart/2005/8/layout/chevron1"/>
    <dgm:cxn modelId="{87D400F5-88E7-4AEC-8873-2BF4831ED633}" type="presParOf" srcId="{2069E263-CA68-447A-859F-7068DC9AF2B6}" destId="{8CED6B9D-804A-4009-A04D-D699125D11F0}" srcOrd="14" destOrd="0" presId="urn:microsoft.com/office/officeart/2005/8/layout/chevron1"/>
    <dgm:cxn modelId="{246B1361-59B5-4E0C-8047-3AB780139A9A}" type="presParOf" srcId="{2069E263-CA68-447A-859F-7068DC9AF2B6}" destId="{C3D8151F-F75F-49EC-B6A3-4B15A8912918}" srcOrd="15" destOrd="0" presId="urn:microsoft.com/office/officeart/2005/8/layout/chevron1"/>
    <dgm:cxn modelId="{E0AAD049-32C8-46BA-8EB5-55FD5BCA1215}" type="presParOf" srcId="{2069E263-CA68-447A-859F-7068DC9AF2B6}" destId="{0A5AB2D9-0A33-47A4-83C2-3990E2018CD9}" srcOrd="16" destOrd="0" presId="urn:microsoft.com/office/officeart/2005/8/layout/chevron1"/>
    <dgm:cxn modelId="{15F99BD8-4355-4E94-89DE-460801B2E45B}" type="presParOf" srcId="{2069E263-CA68-447A-859F-7068DC9AF2B6}" destId="{5FE5E96A-0031-41D2-A1BE-2634D143793A}" srcOrd="17" destOrd="0" presId="urn:microsoft.com/office/officeart/2005/8/layout/chevron1"/>
    <dgm:cxn modelId="{C6845F8F-7477-4C35-B1C5-0C5107D469B2}" type="presParOf" srcId="{2069E263-CA68-447A-859F-7068DC9AF2B6}" destId="{F2510710-7BA2-44B7-8AA7-1347717B483B}" srcOrd="18"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782CD9B-2B4B-48D2-BF13-2B0D6056B78A}" type="doc">
      <dgm:prSet loTypeId="urn:microsoft.com/office/officeart/2005/8/layout/chevron1" loCatId="process" qsTypeId="urn:microsoft.com/office/officeart/2005/8/quickstyle/simple1" qsCatId="simple" csTypeId="urn:microsoft.com/office/officeart/2005/8/colors/accent1_2" csCatId="accent1" phldr="1"/>
      <dgm:spPr/>
    </dgm:pt>
    <dgm:pt modelId="{2069E263-CA68-447A-859F-7068DC9AF2B6}" type="pres">
      <dgm:prSet presAssocID="{C782CD9B-2B4B-48D2-BF13-2B0D6056B78A}" presName="Name0" presStyleCnt="0">
        <dgm:presLayoutVars>
          <dgm:dir/>
          <dgm:animLvl val="lvl"/>
          <dgm:resizeHandles val="exact"/>
        </dgm:presLayoutVars>
      </dgm:prSet>
      <dgm:spPr/>
    </dgm:pt>
  </dgm:ptLst>
  <dgm:cxnLst>
    <dgm:cxn modelId="{C9E0375C-B784-47A2-8441-609CE1CFB408}" type="presOf" srcId="{C782CD9B-2B4B-48D2-BF13-2B0D6056B78A}" destId="{2069E263-CA68-447A-859F-7068DC9AF2B6}" srcOrd="0" destOrd="0" presId="urn:microsoft.com/office/officeart/2005/8/layout/chevron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C782CD9B-2B4B-48D2-BF13-2B0D6056B78A}"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it-IT"/>
        </a:p>
      </dgm:t>
    </dgm:pt>
    <dgm:pt modelId="{DFCF748E-4FA2-4C04-B1DF-85DA1021BE5D}">
      <dgm:prSet phldrT="[Testo]"/>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Rete viaria complessiva</a:t>
          </a:r>
        </a:p>
      </dgm:t>
    </dgm:pt>
    <dgm:pt modelId="{7DAF1956-B700-4203-9672-92E4451DCC31}" type="parTrans" cxnId="{92751D9D-02E3-45C2-978C-737085227C42}">
      <dgm:prSet/>
      <dgm:spPr/>
      <dgm:t>
        <a:bodyPr/>
        <a:lstStyle/>
        <a:p>
          <a:endParaRPr lang="it-IT"/>
        </a:p>
      </dgm:t>
    </dgm:pt>
    <dgm:pt modelId="{A0ED7260-8442-4FBF-80B4-500E49A4F3AF}" type="sibTrans" cxnId="{92751D9D-02E3-45C2-978C-737085227C42}">
      <dgm:prSet/>
      <dgm:spPr/>
      <dgm:t>
        <a:bodyPr/>
        <a:lstStyle/>
        <a:p>
          <a:endParaRPr lang="it-IT"/>
        </a:p>
      </dgm:t>
    </dgm:pt>
    <dgm:pt modelId="{B754C885-66E5-4615-BD33-B6EE917A035D}">
      <dgm:prSet phldrT="[Testo]"/>
      <dgm:spPr>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dgm:spPr>
      <dgm:t>
        <a:bodyPr/>
        <a:lstStyle/>
        <a:p>
          <a:r>
            <a:rPr lang="it-IT" dirty="0"/>
            <a:t>Risorse</a:t>
          </a:r>
        </a:p>
      </dgm:t>
    </dgm:pt>
    <dgm:pt modelId="{65812F9F-DD0E-4752-BF8B-D07282594751}" type="parTrans" cxnId="{F8EA3703-CEE5-4162-AB46-CFFF8AC28B48}">
      <dgm:prSet/>
      <dgm:spPr/>
      <dgm:t>
        <a:bodyPr/>
        <a:lstStyle/>
        <a:p>
          <a:endParaRPr lang="it-IT"/>
        </a:p>
      </dgm:t>
    </dgm:pt>
    <dgm:pt modelId="{79AAED35-18A8-4347-A2B8-6AAE8B34BA56}" type="sibTrans" cxnId="{F8EA3703-CEE5-4162-AB46-CFFF8AC28B48}">
      <dgm:prSet/>
      <dgm:spPr/>
      <dgm:t>
        <a:bodyPr/>
        <a:lstStyle/>
        <a:p>
          <a:endParaRPr lang="it-IT"/>
        </a:p>
      </dgm:t>
    </dgm:pt>
    <dgm:pt modelId="{9225496C-39D8-4F53-8BB5-1B069B40EB3E}">
      <dgm:prSet phldrT="[Testo]"/>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Affidamenti</a:t>
          </a:r>
        </a:p>
      </dgm:t>
    </dgm:pt>
    <dgm:pt modelId="{D3A21DFB-000A-4FCE-9E9D-8516EBA4DD45}" type="parTrans" cxnId="{94A2B45D-2D69-4650-AFC3-C5574217F910}">
      <dgm:prSet/>
      <dgm:spPr/>
      <dgm:t>
        <a:bodyPr/>
        <a:lstStyle/>
        <a:p>
          <a:endParaRPr lang="it-IT"/>
        </a:p>
      </dgm:t>
    </dgm:pt>
    <dgm:pt modelId="{1E3F53DD-2537-4C67-AA71-87081D444A81}" type="sibTrans" cxnId="{94A2B45D-2D69-4650-AFC3-C5574217F910}">
      <dgm:prSet/>
      <dgm:spPr/>
      <dgm:t>
        <a:bodyPr/>
        <a:lstStyle/>
        <a:p>
          <a:endParaRPr lang="it-IT"/>
        </a:p>
      </dgm:t>
    </dgm:pt>
    <dgm:pt modelId="{2F442204-E894-4EB6-A3FA-953074E6D5F9}">
      <dgm:prSet phldrT="[Testo]" custT="1"/>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sz="700" dirty="0"/>
            <a:t>Investimenti e Produzione</a:t>
          </a:r>
        </a:p>
        <a:p>
          <a:r>
            <a:rPr lang="it-IT" sz="700" dirty="0"/>
            <a:t>MP</a:t>
          </a:r>
        </a:p>
      </dgm:t>
    </dgm:pt>
    <dgm:pt modelId="{9E6A019B-6886-407A-A3BB-1A2A8D416818}" type="parTrans" cxnId="{6FD2AE64-BDEB-482D-ACF3-1D5403180A1E}">
      <dgm:prSet/>
      <dgm:spPr/>
      <dgm:t>
        <a:bodyPr/>
        <a:lstStyle/>
        <a:p>
          <a:endParaRPr lang="it-IT"/>
        </a:p>
      </dgm:t>
    </dgm:pt>
    <dgm:pt modelId="{07F51AA8-9070-4A56-AF24-8977CF9B6A80}" type="sibTrans" cxnId="{6FD2AE64-BDEB-482D-ACF3-1D5403180A1E}">
      <dgm:prSet/>
      <dgm:spPr/>
      <dgm:t>
        <a:bodyPr/>
        <a:lstStyle/>
        <a:p>
          <a:endParaRPr lang="it-IT"/>
        </a:p>
      </dgm:t>
    </dgm:pt>
    <dgm:pt modelId="{2D51EAF0-C497-40E9-996D-2D0BC40F318C}">
      <dgm:prSet phldrT="[Testo]"/>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Pagamenti</a:t>
          </a:r>
        </a:p>
      </dgm:t>
    </dgm:pt>
    <dgm:pt modelId="{43C509B8-DD3A-429A-ADC4-232D55259B3D}" type="parTrans" cxnId="{7BC9B318-E7A6-41F3-853C-1D1DFB2050EF}">
      <dgm:prSet/>
      <dgm:spPr/>
      <dgm:t>
        <a:bodyPr/>
        <a:lstStyle/>
        <a:p>
          <a:endParaRPr lang="it-IT"/>
        </a:p>
      </dgm:t>
    </dgm:pt>
    <dgm:pt modelId="{66A12237-9546-42D0-81C0-2C324670B743}" type="sibTrans" cxnId="{7BC9B318-E7A6-41F3-853C-1D1DFB2050EF}">
      <dgm:prSet/>
      <dgm:spPr/>
      <dgm:t>
        <a:bodyPr/>
        <a:lstStyle/>
        <a:p>
          <a:endParaRPr lang="it-IT"/>
        </a:p>
      </dgm:t>
    </dgm:pt>
    <dgm:pt modelId="{72FFD339-6A5F-4ED7-B529-6155AF8C35BB}">
      <dgm:prSet/>
      <dgm:spPr>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dgm:spPr>
      <dgm:t>
        <a:bodyPr/>
        <a:lstStyle/>
        <a:p>
          <a:r>
            <a:rPr lang="it-IT" dirty="0" err="1"/>
            <a:t>soc</a:t>
          </a:r>
          <a:endParaRPr lang="it-IT" dirty="0"/>
        </a:p>
      </dgm:t>
    </dgm:pt>
    <dgm:pt modelId="{ECFEA23F-DCCD-42C6-8706-10917CE3C2B0}" type="parTrans" cxnId="{C381E8F4-D0AE-4AD0-B8F1-4BDFF55901DE}">
      <dgm:prSet/>
      <dgm:spPr/>
      <dgm:t>
        <a:bodyPr/>
        <a:lstStyle/>
        <a:p>
          <a:endParaRPr lang="it-IT"/>
        </a:p>
      </dgm:t>
    </dgm:pt>
    <dgm:pt modelId="{A3B7292F-5113-4C29-982F-BC1D14C7BE90}" type="sibTrans" cxnId="{C381E8F4-D0AE-4AD0-B8F1-4BDFF55901DE}">
      <dgm:prSet/>
      <dgm:spPr/>
      <dgm:t>
        <a:bodyPr/>
        <a:lstStyle/>
        <a:p>
          <a:endParaRPr lang="it-IT"/>
        </a:p>
      </dgm:t>
    </dgm:pt>
    <dgm:pt modelId="{A07A8528-D240-4AAE-BA81-005F6AD457F1}">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Ispezione Opere D’arte</a:t>
          </a:r>
        </a:p>
      </dgm:t>
    </dgm:pt>
    <dgm:pt modelId="{3C15A388-1B3D-47E8-B2CB-E67F7E1AFFF1}" type="parTrans" cxnId="{C9F268FB-CB20-4E78-9CDC-F035D61B7E09}">
      <dgm:prSet/>
      <dgm:spPr/>
      <dgm:t>
        <a:bodyPr/>
        <a:lstStyle/>
        <a:p>
          <a:endParaRPr lang="it-IT"/>
        </a:p>
      </dgm:t>
    </dgm:pt>
    <dgm:pt modelId="{7D0C416E-0310-43FE-A0D6-735CD62199B6}" type="sibTrans" cxnId="{C9F268FB-CB20-4E78-9CDC-F035D61B7E09}">
      <dgm:prSet/>
      <dgm:spPr/>
      <dgm:t>
        <a:bodyPr/>
        <a:lstStyle/>
        <a:p>
          <a:endParaRPr lang="it-IT"/>
        </a:p>
      </dgm:t>
    </dgm:pt>
    <dgm:pt modelId="{56EC974B-4690-4A6A-B143-36A5A9DDDB75}">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Supporto Tecnico</a:t>
          </a:r>
        </a:p>
      </dgm:t>
    </dgm:pt>
    <dgm:pt modelId="{F24B2512-EFC3-4494-92F8-F4C2A580DD56}" type="parTrans" cxnId="{FE5FBCA8-5D6F-44E5-8DFA-D24300AECCE8}">
      <dgm:prSet/>
      <dgm:spPr/>
      <dgm:t>
        <a:bodyPr/>
        <a:lstStyle/>
        <a:p>
          <a:endParaRPr lang="it-IT"/>
        </a:p>
      </dgm:t>
    </dgm:pt>
    <dgm:pt modelId="{57612FAC-3D38-4A5A-9D54-8452999285F4}" type="sibTrans" cxnId="{FE5FBCA8-5D6F-44E5-8DFA-D24300AECCE8}">
      <dgm:prSet/>
      <dgm:spPr/>
      <dgm:t>
        <a:bodyPr/>
        <a:lstStyle/>
        <a:p>
          <a:endParaRPr lang="it-IT"/>
        </a:p>
      </dgm:t>
    </dgm:pt>
    <dgm:pt modelId="{5805825E-3BC3-4961-910E-96065463977D}">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Interventi Rilevanti</a:t>
          </a:r>
        </a:p>
      </dgm:t>
    </dgm:pt>
    <dgm:pt modelId="{263FA899-3C2D-4809-A47A-DB65911293C7}" type="parTrans" cxnId="{D6C89AE1-00A8-492D-888B-1E3DDC006D86}">
      <dgm:prSet/>
      <dgm:spPr/>
      <dgm:t>
        <a:bodyPr/>
        <a:lstStyle/>
        <a:p>
          <a:endParaRPr lang="it-IT"/>
        </a:p>
      </dgm:t>
    </dgm:pt>
    <dgm:pt modelId="{B58F1702-0059-4F53-9A60-77242457BBFA}" type="sibTrans" cxnId="{D6C89AE1-00A8-492D-888B-1E3DDC006D86}">
      <dgm:prSet/>
      <dgm:spPr/>
      <dgm:t>
        <a:bodyPr/>
        <a:lstStyle/>
        <a:p>
          <a:endParaRPr lang="it-IT"/>
        </a:p>
      </dgm:t>
    </dgm:pt>
    <dgm:pt modelId="{7A5D9CDD-E10F-422D-808B-815C691EF2E8}">
      <dgm:prSet phldrT="[Testo]" custT="1"/>
      <dgm:spPr>
        <a:solidFill>
          <a:schemeClr val="tx2"/>
        </a:solidFill>
      </dgm:spPr>
      <dgm:t>
        <a:bodyPr/>
        <a:lstStyle/>
        <a:p>
          <a:r>
            <a:rPr lang="it-IT" sz="700" dirty="0"/>
            <a:t>Investimenti e Produzione</a:t>
          </a:r>
        </a:p>
        <a:p>
          <a:r>
            <a:rPr lang="it-IT" sz="700" dirty="0"/>
            <a:t>NO</a:t>
          </a:r>
        </a:p>
      </dgm:t>
    </dgm:pt>
    <dgm:pt modelId="{089AE963-8402-4F38-908B-1CA814F78766}" type="parTrans" cxnId="{BEDD267B-EA80-4783-A782-86B96AAC5B03}">
      <dgm:prSet/>
      <dgm:spPr/>
      <dgm:t>
        <a:bodyPr/>
        <a:lstStyle/>
        <a:p>
          <a:endParaRPr lang="it-IT"/>
        </a:p>
      </dgm:t>
    </dgm:pt>
    <dgm:pt modelId="{63A1392B-D9B4-4604-ACED-CDD4B7E19D6E}" type="sibTrans" cxnId="{BEDD267B-EA80-4783-A782-86B96AAC5B03}">
      <dgm:prSet/>
      <dgm:spPr/>
      <dgm:t>
        <a:bodyPr/>
        <a:lstStyle/>
        <a:p>
          <a:endParaRPr lang="it-IT"/>
        </a:p>
      </dgm:t>
    </dgm:pt>
    <dgm:pt modelId="{2069E263-CA68-447A-859F-7068DC9AF2B6}" type="pres">
      <dgm:prSet presAssocID="{C782CD9B-2B4B-48D2-BF13-2B0D6056B78A}" presName="Name0" presStyleCnt="0">
        <dgm:presLayoutVars>
          <dgm:dir/>
          <dgm:animLvl val="lvl"/>
          <dgm:resizeHandles val="exact"/>
        </dgm:presLayoutVars>
      </dgm:prSet>
      <dgm:spPr/>
    </dgm:pt>
    <dgm:pt modelId="{F7031506-3856-48AD-BFC1-89D9660F7FF7}" type="pres">
      <dgm:prSet presAssocID="{DFCF748E-4FA2-4C04-B1DF-85DA1021BE5D}" presName="parTxOnly" presStyleLbl="node1" presStyleIdx="0" presStyleCnt="10">
        <dgm:presLayoutVars>
          <dgm:chMax val="0"/>
          <dgm:chPref val="0"/>
          <dgm:bulletEnabled val="1"/>
        </dgm:presLayoutVars>
      </dgm:prSet>
      <dgm:spPr/>
    </dgm:pt>
    <dgm:pt modelId="{420EBE6C-A91F-49B7-AF4C-29A127D6266A}" type="pres">
      <dgm:prSet presAssocID="{A0ED7260-8442-4FBF-80B4-500E49A4F3AF}" presName="parTxOnlySpace" presStyleCnt="0"/>
      <dgm:spPr/>
    </dgm:pt>
    <dgm:pt modelId="{6C62160D-9EC9-4B84-8EFD-9C3E10FC055A}" type="pres">
      <dgm:prSet presAssocID="{B754C885-66E5-4615-BD33-B6EE917A035D}" presName="parTxOnly" presStyleLbl="node1" presStyleIdx="1" presStyleCnt="10">
        <dgm:presLayoutVars>
          <dgm:chMax val="0"/>
          <dgm:chPref val="0"/>
          <dgm:bulletEnabled val="1"/>
        </dgm:presLayoutVars>
      </dgm:prSet>
      <dgm:spPr/>
    </dgm:pt>
    <dgm:pt modelId="{6415A264-B3C7-41A6-9BA0-D0AD6AE1DACB}" type="pres">
      <dgm:prSet presAssocID="{79AAED35-18A8-4347-A2B8-6AAE8B34BA56}" presName="parTxOnlySpace" presStyleCnt="0"/>
      <dgm:spPr/>
    </dgm:pt>
    <dgm:pt modelId="{636F50A3-8EFE-4C08-B6BE-284B03274F0B}" type="pres">
      <dgm:prSet presAssocID="{72FFD339-6A5F-4ED7-B529-6155AF8C35BB}" presName="parTxOnly" presStyleLbl="node1" presStyleIdx="2" presStyleCnt="10">
        <dgm:presLayoutVars>
          <dgm:chMax val="0"/>
          <dgm:chPref val="0"/>
          <dgm:bulletEnabled val="1"/>
        </dgm:presLayoutVars>
      </dgm:prSet>
      <dgm:spPr/>
    </dgm:pt>
    <dgm:pt modelId="{B0C5D3FB-8180-4CC6-9F14-5042E96FD8E3}" type="pres">
      <dgm:prSet presAssocID="{A3B7292F-5113-4C29-982F-BC1D14C7BE90}" presName="parTxOnlySpace" presStyleCnt="0"/>
      <dgm:spPr/>
    </dgm:pt>
    <dgm:pt modelId="{6BB9B9CD-B911-4E33-8045-BE6A8D7C5B89}" type="pres">
      <dgm:prSet presAssocID="{9225496C-39D8-4F53-8BB5-1B069B40EB3E}" presName="parTxOnly" presStyleLbl="node1" presStyleIdx="3" presStyleCnt="10">
        <dgm:presLayoutVars>
          <dgm:chMax val="0"/>
          <dgm:chPref val="0"/>
          <dgm:bulletEnabled val="1"/>
        </dgm:presLayoutVars>
      </dgm:prSet>
      <dgm:spPr/>
    </dgm:pt>
    <dgm:pt modelId="{60B2C4AD-8A0D-4CB2-93A9-16C6C0E4BD5B}" type="pres">
      <dgm:prSet presAssocID="{1E3F53DD-2537-4C67-AA71-87081D444A81}" presName="parTxOnlySpace" presStyleCnt="0"/>
      <dgm:spPr/>
    </dgm:pt>
    <dgm:pt modelId="{A29D7AF6-34C9-459D-B160-0F8E7686BA2B}" type="pres">
      <dgm:prSet presAssocID="{2F442204-E894-4EB6-A3FA-953074E6D5F9}" presName="parTxOnly" presStyleLbl="node1" presStyleIdx="4" presStyleCnt="10">
        <dgm:presLayoutVars>
          <dgm:chMax val="0"/>
          <dgm:chPref val="0"/>
          <dgm:bulletEnabled val="1"/>
        </dgm:presLayoutVars>
      </dgm:prSet>
      <dgm:spPr/>
    </dgm:pt>
    <dgm:pt modelId="{7004503D-9639-442B-9C04-FB1247092C40}" type="pres">
      <dgm:prSet presAssocID="{07F51AA8-9070-4A56-AF24-8977CF9B6A80}" presName="parTxOnlySpace" presStyleCnt="0"/>
      <dgm:spPr/>
    </dgm:pt>
    <dgm:pt modelId="{A2199658-E72A-4294-AFD3-6892981EEB12}" type="pres">
      <dgm:prSet presAssocID="{7A5D9CDD-E10F-422D-808B-815C691EF2E8}" presName="parTxOnly" presStyleLbl="node1" presStyleIdx="5" presStyleCnt="10">
        <dgm:presLayoutVars>
          <dgm:chMax val="0"/>
          <dgm:chPref val="0"/>
          <dgm:bulletEnabled val="1"/>
        </dgm:presLayoutVars>
      </dgm:prSet>
      <dgm:spPr/>
    </dgm:pt>
    <dgm:pt modelId="{9B5C0F41-E4E2-4A3A-AA73-E3E4EB6ACD5E}" type="pres">
      <dgm:prSet presAssocID="{63A1392B-D9B4-4604-ACED-CDD4B7E19D6E}" presName="parTxOnlySpace" presStyleCnt="0"/>
      <dgm:spPr/>
    </dgm:pt>
    <dgm:pt modelId="{F9C55CAF-C1A3-4EFD-AD93-3CBF7E30E2FA}" type="pres">
      <dgm:prSet presAssocID="{56EC974B-4690-4A6A-B143-36A5A9DDDB75}" presName="parTxOnly" presStyleLbl="node1" presStyleIdx="6" presStyleCnt="10">
        <dgm:presLayoutVars>
          <dgm:chMax val="0"/>
          <dgm:chPref val="0"/>
          <dgm:bulletEnabled val="1"/>
        </dgm:presLayoutVars>
      </dgm:prSet>
      <dgm:spPr/>
    </dgm:pt>
    <dgm:pt modelId="{DDB26EDE-11AF-40B7-9C16-348181381393}" type="pres">
      <dgm:prSet presAssocID="{57612FAC-3D38-4A5A-9D54-8452999285F4}" presName="parTxOnlySpace" presStyleCnt="0"/>
      <dgm:spPr/>
    </dgm:pt>
    <dgm:pt modelId="{8CED6B9D-804A-4009-A04D-D699125D11F0}" type="pres">
      <dgm:prSet presAssocID="{A07A8528-D240-4AAE-BA81-005F6AD457F1}" presName="parTxOnly" presStyleLbl="node1" presStyleIdx="7" presStyleCnt="10">
        <dgm:presLayoutVars>
          <dgm:chMax val="0"/>
          <dgm:chPref val="0"/>
          <dgm:bulletEnabled val="1"/>
        </dgm:presLayoutVars>
      </dgm:prSet>
      <dgm:spPr/>
    </dgm:pt>
    <dgm:pt modelId="{C3D8151F-F75F-49EC-B6A3-4B15A8912918}" type="pres">
      <dgm:prSet presAssocID="{7D0C416E-0310-43FE-A0D6-735CD62199B6}" presName="parTxOnlySpace" presStyleCnt="0"/>
      <dgm:spPr/>
    </dgm:pt>
    <dgm:pt modelId="{0A5AB2D9-0A33-47A4-83C2-3990E2018CD9}" type="pres">
      <dgm:prSet presAssocID="{5805825E-3BC3-4961-910E-96065463977D}" presName="parTxOnly" presStyleLbl="node1" presStyleIdx="8" presStyleCnt="10">
        <dgm:presLayoutVars>
          <dgm:chMax val="0"/>
          <dgm:chPref val="0"/>
          <dgm:bulletEnabled val="1"/>
        </dgm:presLayoutVars>
      </dgm:prSet>
      <dgm:spPr/>
    </dgm:pt>
    <dgm:pt modelId="{5FE5E96A-0031-41D2-A1BE-2634D143793A}" type="pres">
      <dgm:prSet presAssocID="{B58F1702-0059-4F53-9A60-77242457BBFA}" presName="parTxOnlySpace" presStyleCnt="0"/>
      <dgm:spPr/>
    </dgm:pt>
    <dgm:pt modelId="{F2510710-7BA2-44B7-8AA7-1347717B483B}" type="pres">
      <dgm:prSet presAssocID="{2D51EAF0-C497-40E9-996D-2D0BC40F318C}" presName="parTxOnly" presStyleLbl="node1" presStyleIdx="9" presStyleCnt="10">
        <dgm:presLayoutVars>
          <dgm:chMax val="0"/>
          <dgm:chPref val="0"/>
          <dgm:bulletEnabled val="1"/>
        </dgm:presLayoutVars>
      </dgm:prSet>
      <dgm:spPr/>
    </dgm:pt>
  </dgm:ptLst>
  <dgm:cxnLst>
    <dgm:cxn modelId="{F8EA3703-CEE5-4162-AB46-CFFF8AC28B48}" srcId="{C782CD9B-2B4B-48D2-BF13-2B0D6056B78A}" destId="{B754C885-66E5-4615-BD33-B6EE917A035D}" srcOrd="1" destOrd="0" parTransId="{65812F9F-DD0E-4752-BF8B-D07282594751}" sibTransId="{79AAED35-18A8-4347-A2B8-6AAE8B34BA56}"/>
    <dgm:cxn modelId="{88ADB605-7F8F-42C8-8A77-A929321F24DB}" type="presOf" srcId="{A07A8528-D240-4AAE-BA81-005F6AD457F1}" destId="{8CED6B9D-804A-4009-A04D-D699125D11F0}" srcOrd="0" destOrd="0" presId="urn:microsoft.com/office/officeart/2005/8/layout/chevron1"/>
    <dgm:cxn modelId="{7BC9B318-E7A6-41F3-853C-1D1DFB2050EF}" srcId="{C782CD9B-2B4B-48D2-BF13-2B0D6056B78A}" destId="{2D51EAF0-C497-40E9-996D-2D0BC40F318C}" srcOrd="9" destOrd="0" parTransId="{43C509B8-DD3A-429A-ADC4-232D55259B3D}" sibTransId="{66A12237-9546-42D0-81C0-2C324670B743}"/>
    <dgm:cxn modelId="{94A2B45D-2D69-4650-AFC3-C5574217F910}" srcId="{C782CD9B-2B4B-48D2-BF13-2B0D6056B78A}" destId="{9225496C-39D8-4F53-8BB5-1B069B40EB3E}" srcOrd="3" destOrd="0" parTransId="{D3A21DFB-000A-4FCE-9E9D-8516EBA4DD45}" sibTransId="{1E3F53DD-2537-4C67-AA71-87081D444A81}"/>
    <dgm:cxn modelId="{6FD2AE64-BDEB-482D-ACF3-1D5403180A1E}" srcId="{C782CD9B-2B4B-48D2-BF13-2B0D6056B78A}" destId="{2F442204-E894-4EB6-A3FA-953074E6D5F9}" srcOrd="4" destOrd="0" parTransId="{9E6A019B-6886-407A-A3BB-1A2A8D416818}" sibTransId="{07F51AA8-9070-4A56-AF24-8977CF9B6A80}"/>
    <dgm:cxn modelId="{B6856349-123F-4EA5-A141-0E404FD99578}" type="presOf" srcId="{2F442204-E894-4EB6-A3FA-953074E6D5F9}" destId="{A29D7AF6-34C9-459D-B160-0F8E7686BA2B}" srcOrd="0" destOrd="0" presId="urn:microsoft.com/office/officeart/2005/8/layout/chevron1"/>
    <dgm:cxn modelId="{2C52324B-3982-4FC3-8680-E92431AAE931}" type="presOf" srcId="{C782CD9B-2B4B-48D2-BF13-2B0D6056B78A}" destId="{2069E263-CA68-447A-859F-7068DC9AF2B6}" srcOrd="0" destOrd="0" presId="urn:microsoft.com/office/officeart/2005/8/layout/chevron1"/>
    <dgm:cxn modelId="{468E3251-C29B-47D6-B840-23CCA67CC5C4}" type="presOf" srcId="{7A5D9CDD-E10F-422D-808B-815C691EF2E8}" destId="{A2199658-E72A-4294-AFD3-6892981EEB12}" srcOrd="0" destOrd="0" presId="urn:microsoft.com/office/officeart/2005/8/layout/chevron1"/>
    <dgm:cxn modelId="{BEDD267B-EA80-4783-A782-86B96AAC5B03}" srcId="{C782CD9B-2B4B-48D2-BF13-2B0D6056B78A}" destId="{7A5D9CDD-E10F-422D-808B-815C691EF2E8}" srcOrd="5" destOrd="0" parTransId="{089AE963-8402-4F38-908B-1CA814F78766}" sibTransId="{63A1392B-D9B4-4604-ACED-CDD4B7E19D6E}"/>
    <dgm:cxn modelId="{44A4957B-98E0-4314-820A-F7064C7F1107}" type="presOf" srcId="{5805825E-3BC3-4961-910E-96065463977D}" destId="{0A5AB2D9-0A33-47A4-83C2-3990E2018CD9}" srcOrd="0" destOrd="0" presId="urn:microsoft.com/office/officeart/2005/8/layout/chevron1"/>
    <dgm:cxn modelId="{92751D9D-02E3-45C2-978C-737085227C42}" srcId="{C782CD9B-2B4B-48D2-BF13-2B0D6056B78A}" destId="{DFCF748E-4FA2-4C04-B1DF-85DA1021BE5D}" srcOrd="0" destOrd="0" parTransId="{7DAF1956-B700-4203-9672-92E4451DCC31}" sibTransId="{A0ED7260-8442-4FBF-80B4-500E49A4F3AF}"/>
    <dgm:cxn modelId="{62C0649E-6437-4111-BB56-BC0687B8A814}" type="presOf" srcId="{B754C885-66E5-4615-BD33-B6EE917A035D}" destId="{6C62160D-9EC9-4B84-8EFD-9C3E10FC055A}" srcOrd="0" destOrd="0" presId="urn:microsoft.com/office/officeart/2005/8/layout/chevron1"/>
    <dgm:cxn modelId="{FE5FBCA8-5D6F-44E5-8DFA-D24300AECCE8}" srcId="{C782CD9B-2B4B-48D2-BF13-2B0D6056B78A}" destId="{56EC974B-4690-4A6A-B143-36A5A9DDDB75}" srcOrd="6" destOrd="0" parTransId="{F24B2512-EFC3-4494-92F8-F4C2A580DD56}" sibTransId="{57612FAC-3D38-4A5A-9D54-8452999285F4}"/>
    <dgm:cxn modelId="{0EAFADAD-7031-4798-A4D8-A4E8064F6290}" type="presOf" srcId="{2D51EAF0-C497-40E9-996D-2D0BC40F318C}" destId="{F2510710-7BA2-44B7-8AA7-1347717B483B}" srcOrd="0" destOrd="0" presId="urn:microsoft.com/office/officeart/2005/8/layout/chevron1"/>
    <dgm:cxn modelId="{B5D7B7B2-0B59-48EC-B961-F0035AEE6184}" type="presOf" srcId="{DFCF748E-4FA2-4C04-B1DF-85DA1021BE5D}" destId="{F7031506-3856-48AD-BFC1-89D9660F7FF7}" srcOrd="0" destOrd="0" presId="urn:microsoft.com/office/officeart/2005/8/layout/chevron1"/>
    <dgm:cxn modelId="{020F37C8-9E54-4148-87F7-98B7AE0BB19E}" type="presOf" srcId="{9225496C-39D8-4F53-8BB5-1B069B40EB3E}" destId="{6BB9B9CD-B911-4E33-8045-BE6A8D7C5B89}" srcOrd="0" destOrd="0" presId="urn:microsoft.com/office/officeart/2005/8/layout/chevron1"/>
    <dgm:cxn modelId="{D6C89AE1-00A8-492D-888B-1E3DDC006D86}" srcId="{C782CD9B-2B4B-48D2-BF13-2B0D6056B78A}" destId="{5805825E-3BC3-4961-910E-96065463977D}" srcOrd="8" destOrd="0" parTransId="{263FA899-3C2D-4809-A47A-DB65911293C7}" sibTransId="{B58F1702-0059-4F53-9A60-77242457BBFA}"/>
    <dgm:cxn modelId="{624317F4-781D-48CE-AD6C-40B9BFBB002B}" type="presOf" srcId="{56EC974B-4690-4A6A-B143-36A5A9DDDB75}" destId="{F9C55CAF-C1A3-4EFD-AD93-3CBF7E30E2FA}" srcOrd="0" destOrd="0" presId="urn:microsoft.com/office/officeart/2005/8/layout/chevron1"/>
    <dgm:cxn modelId="{C381E8F4-D0AE-4AD0-B8F1-4BDFF55901DE}" srcId="{C782CD9B-2B4B-48D2-BF13-2B0D6056B78A}" destId="{72FFD339-6A5F-4ED7-B529-6155AF8C35BB}" srcOrd="2" destOrd="0" parTransId="{ECFEA23F-DCCD-42C6-8706-10917CE3C2B0}" sibTransId="{A3B7292F-5113-4C29-982F-BC1D14C7BE90}"/>
    <dgm:cxn modelId="{C9F268FB-CB20-4E78-9CDC-F035D61B7E09}" srcId="{C782CD9B-2B4B-48D2-BF13-2B0D6056B78A}" destId="{A07A8528-D240-4AAE-BA81-005F6AD457F1}" srcOrd="7" destOrd="0" parTransId="{3C15A388-1B3D-47E8-B2CB-E67F7E1AFFF1}" sibTransId="{7D0C416E-0310-43FE-A0D6-735CD62199B6}"/>
    <dgm:cxn modelId="{5E5131FF-24B5-4745-A3EC-0F788B1BC78F}" type="presOf" srcId="{72FFD339-6A5F-4ED7-B529-6155AF8C35BB}" destId="{636F50A3-8EFE-4C08-B6BE-284B03274F0B}" srcOrd="0" destOrd="0" presId="urn:microsoft.com/office/officeart/2005/8/layout/chevron1"/>
    <dgm:cxn modelId="{7EF299CD-C532-4B43-84DF-2CF681DF27EB}" type="presParOf" srcId="{2069E263-CA68-447A-859F-7068DC9AF2B6}" destId="{F7031506-3856-48AD-BFC1-89D9660F7FF7}" srcOrd="0" destOrd="0" presId="urn:microsoft.com/office/officeart/2005/8/layout/chevron1"/>
    <dgm:cxn modelId="{384379F2-4644-416B-98F4-2EDBD840BE99}" type="presParOf" srcId="{2069E263-CA68-447A-859F-7068DC9AF2B6}" destId="{420EBE6C-A91F-49B7-AF4C-29A127D6266A}" srcOrd="1" destOrd="0" presId="urn:microsoft.com/office/officeart/2005/8/layout/chevron1"/>
    <dgm:cxn modelId="{E762038C-6D13-4AC4-8298-AA7F5820A74E}" type="presParOf" srcId="{2069E263-CA68-447A-859F-7068DC9AF2B6}" destId="{6C62160D-9EC9-4B84-8EFD-9C3E10FC055A}" srcOrd="2" destOrd="0" presId="urn:microsoft.com/office/officeart/2005/8/layout/chevron1"/>
    <dgm:cxn modelId="{9D8E3A92-D3E7-413D-B94F-A7D810A29FE7}" type="presParOf" srcId="{2069E263-CA68-447A-859F-7068DC9AF2B6}" destId="{6415A264-B3C7-41A6-9BA0-D0AD6AE1DACB}" srcOrd="3" destOrd="0" presId="urn:microsoft.com/office/officeart/2005/8/layout/chevron1"/>
    <dgm:cxn modelId="{E1EC464E-5D5B-42E1-91CF-9A99D0ECA6BE}" type="presParOf" srcId="{2069E263-CA68-447A-859F-7068DC9AF2B6}" destId="{636F50A3-8EFE-4C08-B6BE-284B03274F0B}" srcOrd="4" destOrd="0" presId="urn:microsoft.com/office/officeart/2005/8/layout/chevron1"/>
    <dgm:cxn modelId="{CCA6BCBC-EE1E-4456-841E-5C1B08F6E21B}" type="presParOf" srcId="{2069E263-CA68-447A-859F-7068DC9AF2B6}" destId="{B0C5D3FB-8180-4CC6-9F14-5042E96FD8E3}" srcOrd="5" destOrd="0" presId="urn:microsoft.com/office/officeart/2005/8/layout/chevron1"/>
    <dgm:cxn modelId="{15C328DE-579E-489F-97D0-0008B05C4D78}" type="presParOf" srcId="{2069E263-CA68-447A-859F-7068DC9AF2B6}" destId="{6BB9B9CD-B911-4E33-8045-BE6A8D7C5B89}" srcOrd="6" destOrd="0" presId="urn:microsoft.com/office/officeart/2005/8/layout/chevron1"/>
    <dgm:cxn modelId="{4794BB6D-A645-4194-82A7-64EB5E2907BC}" type="presParOf" srcId="{2069E263-CA68-447A-859F-7068DC9AF2B6}" destId="{60B2C4AD-8A0D-4CB2-93A9-16C6C0E4BD5B}" srcOrd="7" destOrd="0" presId="urn:microsoft.com/office/officeart/2005/8/layout/chevron1"/>
    <dgm:cxn modelId="{54C79ECE-A09D-4DE6-959D-01596224B04B}" type="presParOf" srcId="{2069E263-CA68-447A-859F-7068DC9AF2B6}" destId="{A29D7AF6-34C9-459D-B160-0F8E7686BA2B}" srcOrd="8" destOrd="0" presId="urn:microsoft.com/office/officeart/2005/8/layout/chevron1"/>
    <dgm:cxn modelId="{D964C1EE-CC11-4B0C-A592-5EA5E1FFB9C6}" type="presParOf" srcId="{2069E263-CA68-447A-859F-7068DC9AF2B6}" destId="{7004503D-9639-442B-9C04-FB1247092C40}" srcOrd="9" destOrd="0" presId="urn:microsoft.com/office/officeart/2005/8/layout/chevron1"/>
    <dgm:cxn modelId="{ED583E04-1F3B-49B9-A7F8-34E76B9C495B}" type="presParOf" srcId="{2069E263-CA68-447A-859F-7068DC9AF2B6}" destId="{A2199658-E72A-4294-AFD3-6892981EEB12}" srcOrd="10" destOrd="0" presId="urn:microsoft.com/office/officeart/2005/8/layout/chevron1"/>
    <dgm:cxn modelId="{D64739CA-F7B8-4825-A4BE-5D83B877DE69}" type="presParOf" srcId="{2069E263-CA68-447A-859F-7068DC9AF2B6}" destId="{9B5C0F41-E4E2-4A3A-AA73-E3E4EB6ACD5E}" srcOrd="11" destOrd="0" presId="urn:microsoft.com/office/officeart/2005/8/layout/chevron1"/>
    <dgm:cxn modelId="{1F7BE60D-6832-488E-91D0-5E8C2285DA90}" type="presParOf" srcId="{2069E263-CA68-447A-859F-7068DC9AF2B6}" destId="{F9C55CAF-C1A3-4EFD-AD93-3CBF7E30E2FA}" srcOrd="12" destOrd="0" presId="urn:microsoft.com/office/officeart/2005/8/layout/chevron1"/>
    <dgm:cxn modelId="{B35B3F0D-0D0F-4998-99B5-6CC3F6F4C66A}" type="presParOf" srcId="{2069E263-CA68-447A-859F-7068DC9AF2B6}" destId="{DDB26EDE-11AF-40B7-9C16-348181381393}" srcOrd="13" destOrd="0" presId="urn:microsoft.com/office/officeart/2005/8/layout/chevron1"/>
    <dgm:cxn modelId="{E385169B-B5EB-4428-A5B9-45DD70B25E38}" type="presParOf" srcId="{2069E263-CA68-447A-859F-7068DC9AF2B6}" destId="{8CED6B9D-804A-4009-A04D-D699125D11F0}" srcOrd="14" destOrd="0" presId="urn:microsoft.com/office/officeart/2005/8/layout/chevron1"/>
    <dgm:cxn modelId="{23B782ED-B7C1-450A-8432-85B012265308}" type="presParOf" srcId="{2069E263-CA68-447A-859F-7068DC9AF2B6}" destId="{C3D8151F-F75F-49EC-B6A3-4B15A8912918}" srcOrd="15" destOrd="0" presId="urn:microsoft.com/office/officeart/2005/8/layout/chevron1"/>
    <dgm:cxn modelId="{DAFDFE3B-6330-4B09-9740-6ED53027306C}" type="presParOf" srcId="{2069E263-CA68-447A-859F-7068DC9AF2B6}" destId="{0A5AB2D9-0A33-47A4-83C2-3990E2018CD9}" srcOrd="16" destOrd="0" presId="urn:microsoft.com/office/officeart/2005/8/layout/chevron1"/>
    <dgm:cxn modelId="{B82390A2-C11C-4DC5-B4D7-51F7A14738E3}" type="presParOf" srcId="{2069E263-CA68-447A-859F-7068DC9AF2B6}" destId="{5FE5E96A-0031-41D2-A1BE-2634D143793A}" srcOrd="17" destOrd="0" presId="urn:microsoft.com/office/officeart/2005/8/layout/chevron1"/>
    <dgm:cxn modelId="{9A2BB680-F8F8-41E7-B85A-4D9523623E69}" type="presParOf" srcId="{2069E263-CA68-447A-859F-7068DC9AF2B6}" destId="{F2510710-7BA2-44B7-8AA7-1347717B483B}" srcOrd="18"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C782CD9B-2B4B-48D2-BF13-2B0D6056B78A}"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it-IT"/>
        </a:p>
      </dgm:t>
    </dgm:pt>
    <dgm:pt modelId="{DFCF748E-4FA2-4C04-B1DF-85DA1021BE5D}">
      <dgm:prSet phldrT="[Testo]"/>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Rete viaria complessiva</a:t>
          </a:r>
        </a:p>
      </dgm:t>
    </dgm:pt>
    <dgm:pt modelId="{7DAF1956-B700-4203-9672-92E4451DCC31}" type="parTrans" cxnId="{92751D9D-02E3-45C2-978C-737085227C42}">
      <dgm:prSet/>
      <dgm:spPr/>
      <dgm:t>
        <a:bodyPr/>
        <a:lstStyle/>
        <a:p>
          <a:endParaRPr lang="it-IT"/>
        </a:p>
      </dgm:t>
    </dgm:pt>
    <dgm:pt modelId="{A0ED7260-8442-4FBF-80B4-500E49A4F3AF}" type="sibTrans" cxnId="{92751D9D-02E3-45C2-978C-737085227C42}">
      <dgm:prSet/>
      <dgm:spPr/>
      <dgm:t>
        <a:bodyPr/>
        <a:lstStyle/>
        <a:p>
          <a:endParaRPr lang="it-IT"/>
        </a:p>
      </dgm:t>
    </dgm:pt>
    <dgm:pt modelId="{B754C885-66E5-4615-BD33-B6EE917A035D}">
      <dgm:prSet phldrT="[Testo]"/>
      <dgm:spPr>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dgm:spPr>
      <dgm:t>
        <a:bodyPr/>
        <a:lstStyle/>
        <a:p>
          <a:r>
            <a:rPr lang="it-IT" dirty="0"/>
            <a:t>Risorse</a:t>
          </a:r>
        </a:p>
      </dgm:t>
    </dgm:pt>
    <dgm:pt modelId="{65812F9F-DD0E-4752-BF8B-D07282594751}" type="parTrans" cxnId="{F8EA3703-CEE5-4162-AB46-CFFF8AC28B48}">
      <dgm:prSet/>
      <dgm:spPr/>
      <dgm:t>
        <a:bodyPr/>
        <a:lstStyle/>
        <a:p>
          <a:endParaRPr lang="it-IT"/>
        </a:p>
      </dgm:t>
    </dgm:pt>
    <dgm:pt modelId="{79AAED35-18A8-4347-A2B8-6AAE8B34BA56}" type="sibTrans" cxnId="{F8EA3703-CEE5-4162-AB46-CFFF8AC28B48}">
      <dgm:prSet/>
      <dgm:spPr/>
      <dgm:t>
        <a:bodyPr/>
        <a:lstStyle/>
        <a:p>
          <a:endParaRPr lang="it-IT"/>
        </a:p>
      </dgm:t>
    </dgm:pt>
    <dgm:pt modelId="{9225496C-39D8-4F53-8BB5-1B069B40EB3E}">
      <dgm:prSet phldrT="[Testo]"/>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Affidamenti</a:t>
          </a:r>
        </a:p>
      </dgm:t>
    </dgm:pt>
    <dgm:pt modelId="{D3A21DFB-000A-4FCE-9E9D-8516EBA4DD45}" type="parTrans" cxnId="{94A2B45D-2D69-4650-AFC3-C5574217F910}">
      <dgm:prSet/>
      <dgm:spPr/>
      <dgm:t>
        <a:bodyPr/>
        <a:lstStyle/>
        <a:p>
          <a:endParaRPr lang="it-IT"/>
        </a:p>
      </dgm:t>
    </dgm:pt>
    <dgm:pt modelId="{1E3F53DD-2537-4C67-AA71-87081D444A81}" type="sibTrans" cxnId="{94A2B45D-2D69-4650-AFC3-C5574217F910}">
      <dgm:prSet/>
      <dgm:spPr/>
      <dgm:t>
        <a:bodyPr/>
        <a:lstStyle/>
        <a:p>
          <a:endParaRPr lang="it-IT"/>
        </a:p>
      </dgm:t>
    </dgm:pt>
    <dgm:pt modelId="{2F442204-E894-4EB6-A3FA-953074E6D5F9}">
      <dgm:prSet phldrT="[Testo]" custT="1"/>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sz="700" dirty="0"/>
            <a:t>Investimenti e Produzione</a:t>
          </a:r>
        </a:p>
        <a:p>
          <a:r>
            <a:rPr lang="it-IT" sz="700" dirty="0"/>
            <a:t>MP</a:t>
          </a:r>
        </a:p>
      </dgm:t>
    </dgm:pt>
    <dgm:pt modelId="{9E6A019B-6886-407A-A3BB-1A2A8D416818}" type="parTrans" cxnId="{6FD2AE64-BDEB-482D-ACF3-1D5403180A1E}">
      <dgm:prSet/>
      <dgm:spPr/>
      <dgm:t>
        <a:bodyPr/>
        <a:lstStyle/>
        <a:p>
          <a:endParaRPr lang="it-IT"/>
        </a:p>
      </dgm:t>
    </dgm:pt>
    <dgm:pt modelId="{07F51AA8-9070-4A56-AF24-8977CF9B6A80}" type="sibTrans" cxnId="{6FD2AE64-BDEB-482D-ACF3-1D5403180A1E}">
      <dgm:prSet/>
      <dgm:spPr/>
      <dgm:t>
        <a:bodyPr/>
        <a:lstStyle/>
        <a:p>
          <a:endParaRPr lang="it-IT"/>
        </a:p>
      </dgm:t>
    </dgm:pt>
    <dgm:pt modelId="{2D51EAF0-C497-40E9-996D-2D0BC40F318C}">
      <dgm:prSet phldrT="[Testo]"/>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Pagamenti</a:t>
          </a:r>
        </a:p>
      </dgm:t>
    </dgm:pt>
    <dgm:pt modelId="{43C509B8-DD3A-429A-ADC4-232D55259B3D}" type="parTrans" cxnId="{7BC9B318-E7A6-41F3-853C-1D1DFB2050EF}">
      <dgm:prSet/>
      <dgm:spPr/>
      <dgm:t>
        <a:bodyPr/>
        <a:lstStyle/>
        <a:p>
          <a:endParaRPr lang="it-IT"/>
        </a:p>
      </dgm:t>
    </dgm:pt>
    <dgm:pt modelId="{66A12237-9546-42D0-81C0-2C324670B743}" type="sibTrans" cxnId="{7BC9B318-E7A6-41F3-853C-1D1DFB2050EF}">
      <dgm:prSet/>
      <dgm:spPr/>
      <dgm:t>
        <a:bodyPr/>
        <a:lstStyle/>
        <a:p>
          <a:endParaRPr lang="it-IT"/>
        </a:p>
      </dgm:t>
    </dgm:pt>
    <dgm:pt modelId="{72FFD339-6A5F-4ED7-B529-6155AF8C35BB}">
      <dgm:prSet/>
      <dgm:spPr>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dgm:spPr>
      <dgm:t>
        <a:bodyPr/>
        <a:lstStyle/>
        <a:p>
          <a:r>
            <a:rPr lang="it-IT" dirty="0" err="1"/>
            <a:t>soc</a:t>
          </a:r>
          <a:endParaRPr lang="it-IT" dirty="0"/>
        </a:p>
      </dgm:t>
    </dgm:pt>
    <dgm:pt modelId="{ECFEA23F-DCCD-42C6-8706-10917CE3C2B0}" type="parTrans" cxnId="{C381E8F4-D0AE-4AD0-B8F1-4BDFF55901DE}">
      <dgm:prSet/>
      <dgm:spPr/>
      <dgm:t>
        <a:bodyPr/>
        <a:lstStyle/>
        <a:p>
          <a:endParaRPr lang="it-IT"/>
        </a:p>
      </dgm:t>
    </dgm:pt>
    <dgm:pt modelId="{A3B7292F-5113-4C29-982F-BC1D14C7BE90}" type="sibTrans" cxnId="{C381E8F4-D0AE-4AD0-B8F1-4BDFF55901DE}">
      <dgm:prSet/>
      <dgm:spPr/>
      <dgm:t>
        <a:bodyPr/>
        <a:lstStyle/>
        <a:p>
          <a:endParaRPr lang="it-IT"/>
        </a:p>
      </dgm:t>
    </dgm:pt>
    <dgm:pt modelId="{A07A8528-D240-4AAE-BA81-005F6AD457F1}">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Ispezione Opere D’arte</a:t>
          </a:r>
        </a:p>
      </dgm:t>
    </dgm:pt>
    <dgm:pt modelId="{3C15A388-1B3D-47E8-B2CB-E67F7E1AFFF1}" type="parTrans" cxnId="{C9F268FB-CB20-4E78-9CDC-F035D61B7E09}">
      <dgm:prSet/>
      <dgm:spPr/>
      <dgm:t>
        <a:bodyPr/>
        <a:lstStyle/>
        <a:p>
          <a:endParaRPr lang="it-IT"/>
        </a:p>
      </dgm:t>
    </dgm:pt>
    <dgm:pt modelId="{7D0C416E-0310-43FE-A0D6-735CD62199B6}" type="sibTrans" cxnId="{C9F268FB-CB20-4E78-9CDC-F035D61B7E09}">
      <dgm:prSet/>
      <dgm:spPr/>
      <dgm:t>
        <a:bodyPr/>
        <a:lstStyle/>
        <a:p>
          <a:endParaRPr lang="it-IT"/>
        </a:p>
      </dgm:t>
    </dgm:pt>
    <dgm:pt modelId="{56EC974B-4690-4A6A-B143-36A5A9DDDB75}">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Supporto Tecnico</a:t>
          </a:r>
        </a:p>
      </dgm:t>
    </dgm:pt>
    <dgm:pt modelId="{F24B2512-EFC3-4494-92F8-F4C2A580DD56}" type="parTrans" cxnId="{FE5FBCA8-5D6F-44E5-8DFA-D24300AECCE8}">
      <dgm:prSet/>
      <dgm:spPr/>
      <dgm:t>
        <a:bodyPr/>
        <a:lstStyle/>
        <a:p>
          <a:endParaRPr lang="it-IT"/>
        </a:p>
      </dgm:t>
    </dgm:pt>
    <dgm:pt modelId="{57612FAC-3D38-4A5A-9D54-8452999285F4}" type="sibTrans" cxnId="{FE5FBCA8-5D6F-44E5-8DFA-D24300AECCE8}">
      <dgm:prSet/>
      <dgm:spPr/>
      <dgm:t>
        <a:bodyPr/>
        <a:lstStyle/>
        <a:p>
          <a:endParaRPr lang="it-IT"/>
        </a:p>
      </dgm:t>
    </dgm:pt>
    <dgm:pt modelId="{5805825E-3BC3-4961-910E-96065463977D}">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Interventi Rilevanti</a:t>
          </a:r>
        </a:p>
      </dgm:t>
    </dgm:pt>
    <dgm:pt modelId="{263FA899-3C2D-4809-A47A-DB65911293C7}" type="parTrans" cxnId="{D6C89AE1-00A8-492D-888B-1E3DDC006D86}">
      <dgm:prSet/>
      <dgm:spPr/>
      <dgm:t>
        <a:bodyPr/>
        <a:lstStyle/>
        <a:p>
          <a:endParaRPr lang="it-IT"/>
        </a:p>
      </dgm:t>
    </dgm:pt>
    <dgm:pt modelId="{B58F1702-0059-4F53-9A60-77242457BBFA}" type="sibTrans" cxnId="{D6C89AE1-00A8-492D-888B-1E3DDC006D86}">
      <dgm:prSet/>
      <dgm:spPr/>
      <dgm:t>
        <a:bodyPr/>
        <a:lstStyle/>
        <a:p>
          <a:endParaRPr lang="it-IT"/>
        </a:p>
      </dgm:t>
    </dgm:pt>
    <dgm:pt modelId="{7A5D9CDD-E10F-422D-808B-815C691EF2E8}">
      <dgm:prSet phldrT="[Testo]" custT="1"/>
      <dgm:spPr>
        <a:solidFill>
          <a:schemeClr val="tx2"/>
        </a:solidFill>
      </dgm:spPr>
      <dgm:t>
        <a:bodyPr/>
        <a:lstStyle/>
        <a:p>
          <a:r>
            <a:rPr lang="it-IT" sz="700" dirty="0"/>
            <a:t>Investimenti e Produzione</a:t>
          </a:r>
        </a:p>
        <a:p>
          <a:r>
            <a:rPr lang="it-IT" sz="700" dirty="0"/>
            <a:t>NO</a:t>
          </a:r>
        </a:p>
      </dgm:t>
    </dgm:pt>
    <dgm:pt modelId="{089AE963-8402-4F38-908B-1CA814F78766}" type="parTrans" cxnId="{BEDD267B-EA80-4783-A782-86B96AAC5B03}">
      <dgm:prSet/>
      <dgm:spPr/>
      <dgm:t>
        <a:bodyPr/>
        <a:lstStyle/>
        <a:p>
          <a:endParaRPr lang="it-IT"/>
        </a:p>
      </dgm:t>
    </dgm:pt>
    <dgm:pt modelId="{63A1392B-D9B4-4604-ACED-CDD4B7E19D6E}" type="sibTrans" cxnId="{BEDD267B-EA80-4783-A782-86B96AAC5B03}">
      <dgm:prSet/>
      <dgm:spPr/>
      <dgm:t>
        <a:bodyPr/>
        <a:lstStyle/>
        <a:p>
          <a:endParaRPr lang="it-IT"/>
        </a:p>
      </dgm:t>
    </dgm:pt>
    <dgm:pt modelId="{2069E263-CA68-447A-859F-7068DC9AF2B6}" type="pres">
      <dgm:prSet presAssocID="{C782CD9B-2B4B-48D2-BF13-2B0D6056B78A}" presName="Name0" presStyleCnt="0">
        <dgm:presLayoutVars>
          <dgm:dir/>
          <dgm:animLvl val="lvl"/>
          <dgm:resizeHandles val="exact"/>
        </dgm:presLayoutVars>
      </dgm:prSet>
      <dgm:spPr/>
    </dgm:pt>
    <dgm:pt modelId="{F7031506-3856-48AD-BFC1-89D9660F7FF7}" type="pres">
      <dgm:prSet presAssocID="{DFCF748E-4FA2-4C04-B1DF-85DA1021BE5D}" presName="parTxOnly" presStyleLbl="node1" presStyleIdx="0" presStyleCnt="10">
        <dgm:presLayoutVars>
          <dgm:chMax val="0"/>
          <dgm:chPref val="0"/>
          <dgm:bulletEnabled val="1"/>
        </dgm:presLayoutVars>
      </dgm:prSet>
      <dgm:spPr/>
    </dgm:pt>
    <dgm:pt modelId="{420EBE6C-A91F-49B7-AF4C-29A127D6266A}" type="pres">
      <dgm:prSet presAssocID="{A0ED7260-8442-4FBF-80B4-500E49A4F3AF}" presName="parTxOnlySpace" presStyleCnt="0"/>
      <dgm:spPr/>
    </dgm:pt>
    <dgm:pt modelId="{6C62160D-9EC9-4B84-8EFD-9C3E10FC055A}" type="pres">
      <dgm:prSet presAssocID="{B754C885-66E5-4615-BD33-B6EE917A035D}" presName="parTxOnly" presStyleLbl="node1" presStyleIdx="1" presStyleCnt="10">
        <dgm:presLayoutVars>
          <dgm:chMax val="0"/>
          <dgm:chPref val="0"/>
          <dgm:bulletEnabled val="1"/>
        </dgm:presLayoutVars>
      </dgm:prSet>
      <dgm:spPr/>
    </dgm:pt>
    <dgm:pt modelId="{6415A264-B3C7-41A6-9BA0-D0AD6AE1DACB}" type="pres">
      <dgm:prSet presAssocID="{79AAED35-18A8-4347-A2B8-6AAE8B34BA56}" presName="parTxOnlySpace" presStyleCnt="0"/>
      <dgm:spPr/>
    </dgm:pt>
    <dgm:pt modelId="{636F50A3-8EFE-4C08-B6BE-284B03274F0B}" type="pres">
      <dgm:prSet presAssocID="{72FFD339-6A5F-4ED7-B529-6155AF8C35BB}" presName="parTxOnly" presStyleLbl="node1" presStyleIdx="2" presStyleCnt="10">
        <dgm:presLayoutVars>
          <dgm:chMax val="0"/>
          <dgm:chPref val="0"/>
          <dgm:bulletEnabled val="1"/>
        </dgm:presLayoutVars>
      </dgm:prSet>
      <dgm:spPr/>
    </dgm:pt>
    <dgm:pt modelId="{B0C5D3FB-8180-4CC6-9F14-5042E96FD8E3}" type="pres">
      <dgm:prSet presAssocID="{A3B7292F-5113-4C29-982F-BC1D14C7BE90}" presName="parTxOnlySpace" presStyleCnt="0"/>
      <dgm:spPr/>
    </dgm:pt>
    <dgm:pt modelId="{6BB9B9CD-B911-4E33-8045-BE6A8D7C5B89}" type="pres">
      <dgm:prSet presAssocID="{9225496C-39D8-4F53-8BB5-1B069B40EB3E}" presName="parTxOnly" presStyleLbl="node1" presStyleIdx="3" presStyleCnt="10">
        <dgm:presLayoutVars>
          <dgm:chMax val="0"/>
          <dgm:chPref val="0"/>
          <dgm:bulletEnabled val="1"/>
        </dgm:presLayoutVars>
      </dgm:prSet>
      <dgm:spPr/>
    </dgm:pt>
    <dgm:pt modelId="{60B2C4AD-8A0D-4CB2-93A9-16C6C0E4BD5B}" type="pres">
      <dgm:prSet presAssocID="{1E3F53DD-2537-4C67-AA71-87081D444A81}" presName="parTxOnlySpace" presStyleCnt="0"/>
      <dgm:spPr/>
    </dgm:pt>
    <dgm:pt modelId="{A29D7AF6-34C9-459D-B160-0F8E7686BA2B}" type="pres">
      <dgm:prSet presAssocID="{2F442204-E894-4EB6-A3FA-953074E6D5F9}" presName="parTxOnly" presStyleLbl="node1" presStyleIdx="4" presStyleCnt="10">
        <dgm:presLayoutVars>
          <dgm:chMax val="0"/>
          <dgm:chPref val="0"/>
          <dgm:bulletEnabled val="1"/>
        </dgm:presLayoutVars>
      </dgm:prSet>
      <dgm:spPr/>
    </dgm:pt>
    <dgm:pt modelId="{7004503D-9639-442B-9C04-FB1247092C40}" type="pres">
      <dgm:prSet presAssocID="{07F51AA8-9070-4A56-AF24-8977CF9B6A80}" presName="parTxOnlySpace" presStyleCnt="0"/>
      <dgm:spPr/>
    </dgm:pt>
    <dgm:pt modelId="{A2199658-E72A-4294-AFD3-6892981EEB12}" type="pres">
      <dgm:prSet presAssocID="{7A5D9CDD-E10F-422D-808B-815C691EF2E8}" presName="parTxOnly" presStyleLbl="node1" presStyleIdx="5" presStyleCnt="10">
        <dgm:presLayoutVars>
          <dgm:chMax val="0"/>
          <dgm:chPref val="0"/>
          <dgm:bulletEnabled val="1"/>
        </dgm:presLayoutVars>
      </dgm:prSet>
      <dgm:spPr/>
    </dgm:pt>
    <dgm:pt modelId="{9B5C0F41-E4E2-4A3A-AA73-E3E4EB6ACD5E}" type="pres">
      <dgm:prSet presAssocID="{63A1392B-D9B4-4604-ACED-CDD4B7E19D6E}" presName="parTxOnlySpace" presStyleCnt="0"/>
      <dgm:spPr/>
    </dgm:pt>
    <dgm:pt modelId="{F9C55CAF-C1A3-4EFD-AD93-3CBF7E30E2FA}" type="pres">
      <dgm:prSet presAssocID="{56EC974B-4690-4A6A-B143-36A5A9DDDB75}" presName="parTxOnly" presStyleLbl="node1" presStyleIdx="6" presStyleCnt="10">
        <dgm:presLayoutVars>
          <dgm:chMax val="0"/>
          <dgm:chPref val="0"/>
          <dgm:bulletEnabled val="1"/>
        </dgm:presLayoutVars>
      </dgm:prSet>
      <dgm:spPr/>
    </dgm:pt>
    <dgm:pt modelId="{DDB26EDE-11AF-40B7-9C16-348181381393}" type="pres">
      <dgm:prSet presAssocID="{57612FAC-3D38-4A5A-9D54-8452999285F4}" presName="parTxOnlySpace" presStyleCnt="0"/>
      <dgm:spPr/>
    </dgm:pt>
    <dgm:pt modelId="{8CED6B9D-804A-4009-A04D-D699125D11F0}" type="pres">
      <dgm:prSet presAssocID="{A07A8528-D240-4AAE-BA81-005F6AD457F1}" presName="parTxOnly" presStyleLbl="node1" presStyleIdx="7" presStyleCnt="10">
        <dgm:presLayoutVars>
          <dgm:chMax val="0"/>
          <dgm:chPref val="0"/>
          <dgm:bulletEnabled val="1"/>
        </dgm:presLayoutVars>
      </dgm:prSet>
      <dgm:spPr/>
    </dgm:pt>
    <dgm:pt modelId="{C3D8151F-F75F-49EC-B6A3-4B15A8912918}" type="pres">
      <dgm:prSet presAssocID="{7D0C416E-0310-43FE-A0D6-735CD62199B6}" presName="parTxOnlySpace" presStyleCnt="0"/>
      <dgm:spPr/>
    </dgm:pt>
    <dgm:pt modelId="{0A5AB2D9-0A33-47A4-83C2-3990E2018CD9}" type="pres">
      <dgm:prSet presAssocID="{5805825E-3BC3-4961-910E-96065463977D}" presName="parTxOnly" presStyleLbl="node1" presStyleIdx="8" presStyleCnt="10">
        <dgm:presLayoutVars>
          <dgm:chMax val="0"/>
          <dgm:chPref val="0"/>
          <dgm:bulletEnabled val="1"/>
        </dgm:presLayoutVars>
      </dgm:prSet>
      <dgm:spPr/>
    </dgm:pt>
    <dgm:pt modelId="{5FE5E96A-0031-41D2-A1BE-2634D143793A}" type="pres">
      <dgm:prSet presAssocID="{B58F1702-0059-4F53-9A60-77242457BBFA}" presName="parTxOnlySpace" presStyleCnt="0"/>
      <dgm:spPr/>
    </dgm:pt>
    <dgm:pt modelId="{F2510710-7BA2-44B7-8AA7-1347717B483B}" type="pres">
      <dgm:prSet presAssocID="{2D51EAF0-C497-40E9-996D-2D0BC40F318C}" presName="parTxOnly" presStyleLbl="node1" presStyleIdx="9" presStyleCnt="10">
        <dgm:presLayoutVars>
          <dgm:chMax val="0"/>
          <dgm:chPref val="0"/>
          <dgm:bulletEnabled val="1"/>
        </dgm:presLayoutVars>
      </dgm:prSet>
      <dgm:spPr/>
    </dgm:pt>
  </dgm:ptLst>
  <dgm:cxnLst>
    <dgm:cxn modelId="{F8EA3703-CEE5-4162-AB46-CFFF8AC28B48}" srcId="{C782CD9B-2B4B-48D2-BF13-2B0D6056B78A}" destId="{B754C885-66E5-4615-BD33-B6EE917A035D}" srcOrd="1" destOrd="0" parTransId="{65812F9F-DD0E-4752-BF8B-D07282594751}" sibTransId="{79AAED35-18A8-4347-A2B8-6AAE8B34BA56}"/>
    <dgm:cxn modelId="{7BC9B318-E7A6-41F3-853C-1D1DFB2050EF}" srcId="{C782CD9B-2B4B-48D2-BF13-2B0D6056B78A}" destId="{2D51EAF0-C497-40E9-996D-2D0BC40F318C}" srcOrd="9" destOrd="0" parTransId="{43C509B8-DD3A-429A-ADC4-232D55259B3D}" sibTransId="{66A12237-9546-42D0-81C0-2C324670B743}"/>
    <dgm:cxn modelId="{DFB52421-F120-4899-B160-2D6ECF2850B5}" type="presOf" srcId="{DFCF748E-4FA2-4C04-B1DF-85DA1021BE5D}" destId="{F7031506-3856-48AD-BFC1-89D9660F7FF7}" srcOrd="0" destOrd="0" presId="urn:microsoft.com/office/officeart/2005/8/layout/chevron1"/>
    <dgm:cxn modelId="{55839C33-44E1-48D7-BE24-28A04079F97B}" type="presOf" srcId="{56EC974B-4690-4A6A-B143-36A5A9DDDB75}" destId="{F9C55CAF-C1A3-4EFD-AD93-3CBF7E30E2FA}" srcOrd="0" destOrd="0" presId="urn:microsoft.com/office/officeart/2005/8/layout/chevron1"/>
    <dgm:cxn modelId="{6CD11040-2592-4F27-ABBC-A3C62E964656}" type="presOf" srcId="{7A5D9CDD-E10F-422D-808B-815C691EF2E8}" destId="{A2199658-E72A-4294-AFD3-6892981EEB12}" srcOrd="0" destOrd="0" presId="urn:microsoft.com/office/officeart/2005/8/layout/chevron1"/>
    <dgm:cxn modelId="{94A2B45D-2D69-4650-AFC3-C5574217F910}" srcId="{C782CD9B-2B4B-48D2-BF13-2B0D6056B78A}" destId="{9225496C-39D8-4F53-8BB5-1B069B40EB3E}" srcOrd="3" destOrd="0" parTransId="{D3A21DFB-000A-4FCE-9E9D-8516EBA4DD45}" sibTransId="{1E3F53DD-2537-4C67-AA71-87081D444A81}"/>
    <dgm:cxn modelId="{6FD2AE64-BDEB-482D-ACF3-1D5403180A1E}" srcId="{C782CD9B-2B4B-48D2-BF13-2B0D6056B78A}" destId="{2F442204-E894-4EB6-A3FA-953074E6D5F9}" srcOrd="4" destOrd="0" parTransId="{9E6A019B-6886-407A-A3BB-1A2A8D416818}" sibTransId="{07F51AA8-9070-4A56-AF24-8977CF9B6A80}"/>
    <dgm:cxn modelId="{312A5365-620F-41A5-8D34-B5897D04E1FD}" type="presOf" srcId="{C782CD9B-2B4B-48D2-BF13-2B0D6056B78A}" destId="{2069E263-CA68-447A-859F-7068DC9AF2B6}" srcOrd="0" destOrd="0" presId="urn:microsoft.com/office/officeart/2005/8/layout/chevron1"/>
    <dgm:cxn modelId="{BEDD267B-EA80-4783-A782-86B96AAC5B03}" srcId="{C782CD9B-2B4B-48D2-BF13-2B0D6056B78A}" destId="{7A5D9CDD-E10F-422D-808B-815C691EF2E8}" srcOrd="5" destOrd="0" parTransId="{089AE963-8402-4F38-908B-1CA814F78766}" sibTransId="{63A1392B-D9B4-4604-ACED-CDD4B7E19D6E}"/>
    <dgm:cxn modelId="{B859BF89-CB90-49BD-8A83-4D0C327E195A}" type="presOf" srcId="{B754C885-66E5-4615-BD33-B6EE917A035D}" destId="{6C62160D-9EC9-4B84-8EFD-9C3E10FC055A}" srcOrd="0" destOrd="0" presId="urn:microsoft.com/office/officeart/2005/8/layout/chevron1"/>
    <dgm:cxn modelId="{88B4288A-B895-4F89-B631-ADE3452F4EA8}" type="presOf" srcId="{2F442204-E894-4EB6-A3FA-953074E6D5F9}" destId="{A29D7AF6-34C9-459D-B160-0F8E7686BA2B}" srcOrd="0" destOrd="0" presId="urn:microsoft.com/office/officeart/2005/8/layout/chevron1"/>
    <dgm:cxn modelId="{4B01F299-537B-4564-B465-9A7DA9F27DAA}" type="presOf" srcId="{2D51EAF0-C497-40E9-996D-2D0BC40F318C}" destId="{F2510710-7BA2-44B7-8AA7-1347717B483B}" srcOrd="0" destOrd="0" presId="urn:microsoft.com/office/officeart/2005/8/layout/chevron1"/>
    <dgm:cxn modelId="{4F5B179D-5488-4B31-91F0-D7D8FF421FA9}" type="presOf" srcId="{5805825E-3BC3-4961-910E-96065463977D}" destId="{0A5AB2D9-0A33-47A4-83C2-3990E2018CD9}" srcOrd="0" destOrd="0" presId="urn:microsoft.com/office/officeart/2005/8/layout/chevron1"/>
    <dgm:cxn modelId="{92751D9D-02E3-45C2-978C-737085227C42}" srcId="{C782CD9B-2B4B-48D2-BF13-2B0D6056B78A}" destId="{DFCF748E-4FA2-4C04-B1DF-85DA1021BE5D}" srcOrd="0" destOrd="0" parTransId="{7DAF1956-B700-4203-9672-92E4451DCC31}" sibTransId="{A0ED7260-8442-4FBF-80B4-500E49A4F3AF}"/>
    <dgm:cxn modelId="{0C20E5A4-4B42-46D8-B781-FE22DD05DA99}" type="presOf" srcId="{9225496C-39D8-4F53-8BB5-1B069B40EB3E}" destId="{6BB9B9CD-B911-4E33-8045-BE6A8D7C5B89}" srcOrd="0" destOrd="0" presId="urn:microsoft.com/office/officeart/2005/8/layout/chevron1"/>
    <dgm:cxn modelId="{FE5FBCA8-5D6F-44E5-8DFA-D24300AECCE8}" srcId="{C782CD9B-2B4B-48D2-BF13-2B0D6056B78A}" destId="{56EC974B-4690-4A6A-B143-36A5A9DDDB75}" srcOrd="6" destOrd="0" parTransId="{F24B2512-EFC3-4494-92F8-F4C2A580DD56}" sibTransId="{57612FAC-3D38-4A5A-9D54-8452999285F4}"/>
    <dgm:cxn modelId="{C7178BD6-7BD2-4E97-A734-3411626CCB18}" type="presOf" srcId="{72FFD339-6A5F-4ED7-B529-6155AF8C35BB}" destId="{636F50A3-8EFE-4C08-B6BE-284B03274F0B}" srcOrd="0" destOrd="0" presId="urn:microsoft.com/office/officeart/2005/8/layout/chevron1"/>
    <dgm:cxn modelId="{4F29C0DF-C164-4C66-BB8C-DA111F0709A1}" type="presOf" srcId="{A07A8528-D240-4AAE-BA81-005F6AD457F1}" destId="{8CED6B9D-804A-4009-A04D-D699125D11F0}" srcOrd="0" destOrd="0" presId="urn:microsoft.com/office/officeart/2005/8/layout/chevron1"/>
    <dgm:cxn modelId="{D6C89AE1-00A8-492D-888B-1E3DDC006D86}" srcId="{C782CD9B-2B4B-48D2-BF13-2B0D6056B78A}" destId="{5805825E-3BC3-4961-910E-96065463977D}" srcOrd="8" destOrd="0" parTransId="{263FA899-3C2D-4809-A47A-DB65911293C7}" sibTransId="{B58F1702-0059-4F53-9A60-77242457BBFA}"/>
    <dgm:cxn modelId="{C381E8F4-D0AE-4AD0-B8F1-4BDFF55901DE}" srcId="{C782CD9B-2B4B-48D2-BF13-2B0D6056B78A}" destId="{72FFD339-6A5F-4ED7-B529-6155AF8C35BB}" srcOrd="2" destOrd="0" parTransId="{ECFEA23F-DCCD-42C6-8706-10917CE3C2B0}" sibTransId="{A3B7292F-5113-4C29-982F-BC1D14C7BE90}"/>
    <dgm:cxn modelId="{C9F268FB-CB20-4E78-9CDC-F035D61B7E09}" srcId="{C782CD9B-2B4B-48D2-BF13-2B0D6056B78A}" destId="{A07A8528-D240-4AAE-BA81-005F6AD457F1}" srcOrd="7" destOrd="0" parTransId="{3C15A388-1B3D-47E8-B2CB-E67F7E1AFFF1}" sibTransId="{7D0C416E-0310-43FE-A0D6-735CD62199B6}"/>
    <dgm:cxn modelId="{B30B4530-4910-41EC-B3D8-6082C1475297}" type="presParOf" srcId="{2069E263-CA68-447A-859F-7068DC9AF2B6}" destId="{F7031506-3856-48AD-BFC1-89D9660F7FF7}" srcOrd="0" destOrd="0" presId="urn:microsoft.com/office/officeart/2005/8/layout/chevron1"/>
    <dgm:cxn modelId="{7004E2B7-74F5-4A8C-95FB-4E6CD1A8275E}" type="presParOf" srcId="{2069E263-CA68-447A-859F-7068DC9AF2B6}" destId="{420EBE6C-A91F-49B7-AF4C-29A127D6266A}" srcOrd="1" destOrd="0" presId="urn:microsoft.com/office/officeart/2005/8/layout/chevron1"/>
    <dgm:cxn modelId="{EC7969CC-2F1F-452A-A4D6-1FA526D57CD0}" type="presParOf" srcId="{2069E263-CA68-447A-859F-7068DC9AF2B6}" destId="{6C62160D-9EC9-4B84-8EFD-9C3E10FC055A}" srcOrd="2" destOrd="0" presId="urn:microsoft.com/office/officeart/2005/8/layout/chevron1"/>
    <dgm:cxn modelId="{04943747-73F3-4E5D-A99A-AB797C50CD19}" type="presParOf" srcId="{2069E263-CA68-447A-859F-7068DC9AF2B6}" destId="{6415A264-B3C7-41A6-9BA0-D0AD6AE1DACB}" srcOrd="3" destOrd="0" presId="urn:microsoft.com/office/officeart/2005/8/layout/chevron1"/>
    <dgm:cxn modelId="{8A3D57F0-E54A-4F6B-8831-4BDE00A9CC81}" type="presParOf" srcId="{2069E263-CA68-447A-859F-7068DC9AF2B6}" destId="{636F50A3-8EFE-4C08-B6BE-284B03274F0B}" srcOrd="4" destOrd="0" presId="urn:microsoft.com/office/officeart/2005/8/layout/chevron1"/>
    <dgm:cxn modelId="{F37E6A5E-D1F6-481D-B149-C571C7F571F0}" type="presParOf" srcId="{2069E263-CA68-447A-859F-7068DC9AF2B6}" destId="{B0C5D3FB-8180-4CC6-9F14-5042E96FD8E3}" srcOrd="5" destOrd="0" presId="urn:microsoft.com/office/officeart/2005/8/layout/chevron1"/>
    <dgm:cxn modelId="{E74D93D9-38A6-4848-A0C1-B12A3027DF8F}" type="presParOf" srcId="{2069E263-CA68-447A-859F-7068DC9AF2B6}" destId="{6BB9B9CD-B911-4E33-8045-BE6A8D7C5B89}" srcOrd="6" destOrd="0" presId="urn:microsoft.com/office/officeart/2005/8/layout/chevron1"/>
    <dgm:cxn modelId="{3601C643-4864-48EC-9E70-ED35A54E46B9}" type="presParOf" srcId="{2069E263-CA68-447A-859F-7068DC9AF2B6}" destId="{60B2C4AD-8A0D-4CB2-93A9-16C6C0E4BD5B}" srcOrd="7" destOrd="0" presId="urn:microsoft.com/office/officeart/2005/8/layout/chevron1"/>
    <dgm:cxn modelId="{C0C15DFA-47AA-42BA-84D6-1E9C915F207A}" type="presParOf" srcId="{2069E263-CA68-447A-859F-7068DC9AF2B6}" destId="{A29D7AF6-34C9-459D-B160-0F8E7686BA2B}" srcOrd="8" destOrd="0" presId="urn:microsoft.com/office/officeart/2005/8/layout/chevron1"/>
    <dgm:cxn modelId="{6ABA360F-1949-401B-98E4-0A72CA3DD8BC}" type="presParOf" srcId="{2069E263-CA68-447A-859F-7068DC9AF2B6}" destId="{7004503D-9639-442B-9C04-FB1247092C40}" srcOrd="9" destOrd="0" presId="urn:microsoft.com/office/officeart/2005/8/layout/chevron1"/>
    <dgm:cxn modelId="{FBD9F5F1-84F8-4F41-850A-9DAE4D613EE3}" type="presParOf" srcId="{2069E263-CA68-447A-859F-7068DC9AF2B6}" destId="{A2199658-E72A-4294-AFD3-6892981EEB12}" srcOrd="10" destOrd="0" presId="urn:microsoft.com/office/officeart/2005/8/layout/chevron1"/>
    <dgm:cxn modelId="{02ADA0A8-3D70-4F4C-8E1A-F4F5ADEBF222}" type="presParOf" srcId="{2069E263-CA68-447A-859F-7068DC9AF2B6}" destId="{9B5C0F41-E4E2-4A3A-AA73-E3E4EB6ACD5E}" srcOrd="11" destOrd="0" presId="urn:microsoft.com/office/officeart/2005/8/layout/chevron1"/>
    <dgm:cxn modelId="{1097A976-0488-4112-8377-B6DA98776CA2}" type="presParOf" srcId="{2069E263-CA68-447A-859F-7068DC9AF2B6}" destId="{F9C55CAF-C1A3-4EFD-AD93-3CBF7E30E2FA}" srcOrd="12" destOrd="0" presId="urn:microsoft.com/office/officeart/2005/8/layout/chevron1"/>
    <dgm:cxn modelId="{1FE4E9F5-EDF2-4093-B1AC-CC045B1763E6}" type="presParOf" srcId="{2069E263-CA68-447A-859F-7068DC9AF2B6}" destId="{DDB26EDE-11AF-40B7-9C16-348181381393}" srcOrd="13" destOrd="0" presId="urn:microsoft.com/office/officeart/2005/8/layout/chevron1"/>
    <dgm:cxn modelId="{A2D9FDC2-4EF8-4F17-BC5F-8C18E60BA2B9}" type="presParOf" srcId="{2069E263-CA68-447A-859F-7068DC9AF2B6}" destId="{8CED6B9D-804A-4009-A04D-D699125D11F0}" srcOrd="14" destOrd="0" presId="urn:microsoft.com/office/officeart/2005/8/layout/chevron1"/>
    <dgm:cxn modelId="{38B95313-0BD7-4F36-9E3A-65039584A77D}" type="presParOf" srcId="{2069E263-CA68-447A-859F-7068DC9AF2B6}" destId="{C3D8151F-F75F-49EC-B6A3-4B15A8912918}" srcOrd="15" destOrd="0" presId="urn:microsoft.com/office/officeart/2005/8/layout/chevron1"/>
    <dgm:cxn modelId="{D32F4865-B009-464B-B526-AD4F916CAAD8}" type="presParOf" srcId="{2069E263-CA68-447A-859F-7068DC9AF2B6}" destId="{0A5AB2D9-0A33-47A4-83C2-3990E2018CD9}" srcOrd="16" destOrd="0" presId="urn:microsoft.com/office/officeart/2005/8/layout/chevron1"/>
    <dgm:cxn modelId="{B736DA89-E963-4897-B06F-52538D176E9D}" type="presParOf" srcId="{2069E263-CA68-447A-859F-7068DC9AF2B6}" destId="{5FE5E96A-0031-41D2-A1BE-2634D143793A}" srcOrd="17" destOrd="0" presId="urn:microsoft.com/office/officeart/2005/8/layout/chevron1"/>
    <dgm:cxn modelId="{44B0D29E-AB37-4CB1-9809-EFD6A1A77217}" type="presParOf" srcId="{2069E263-CA68-447A-859F-7068DC9AF2B6}" destId="{F2510710-7BA2-44B7-8AA7-1347717B483B}" srcOrd="18"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C782CD9B-2B4B-48D2-BF13-2B0D6056B78A}"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it-IT"/>
        </a:p>
      </dgm:t>
    </dgm:pt>
    <dgm:pt modelId="{DFCF748E-4FA2-4C04-B1DF-85DA1021BE5D}">
      <dgm:prSet phldrT="[Testo]"/>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Rete viaria complessiva</a:t>
          </a:r>
        </a:p>
      </dgm:t>
    </dgm:pt>
    <dgm:pt modelId="{7DAF1956-B700-4203-9672-92E4451DCC31}" type="parTrans" cxnId="{92751D9D-02E3-45C2-978C-737085227C42}">
      <dgm:prSet/>
      <dgm:spPr/>
      <dgm:t>
        <a:bodyPr/>
        <a:lstStyle/>
        <a:p>
          <a:endParaRPr lang="it-IT"/>
        </a:p>
      </dgm:t>
    </dgm:pt>
    <dgm:pt modelId="{A0ED7260-8442-4FBF-80B4-500E49A4F3AF}" type="sibTrans" cxnId="{92751D9D-02E3-45C2-978C-737085227C42}">
      <dgm:prSet/>
      <dgm:spPr/>
      <dgm:t>
        <a:bodyPr/>
        <a:lstStyle/>
        <a:p>
          <a:endParaRPr lang="it-IT"/>
        </a:p>
      </dgm:t>
    </dgm:pt>
    <dgm:pt modelId="{B754C885-66E5-4615-BD33-B6EE917A035D}">
      <dgm:prSet phldrT="[Testo]"/>
      <dgm:spPr>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dgm:spPr>
      <dgm:t>
        <a:bodyPr/>
        <a:lstStyle/>
        <a:p>
          <a:r>
            <a:rPr lang="it-IT" dirty="0"/>
            <a:t>Risorse</a:t>
          </a:r>
        </a:p>
      </dgm:t>
    </dgm:pt>
    <dgm:pt modelId="{65812F9F-DD0E-4752-BF8B-D07282594751}" type="parTrans" cxnId="{F8EA3703-CEE5-4162-AB46-CFFF8AC28B48}">
      <dgm:prSet/>
      <dgm:spPr/>
      <dgm:t>
        <a:bodyPr/>
        <a:lstStyle/>
        <a:p>
          <a:endParaRPr lang="it-IT"/>
        </a:p>
      </dgm:t>
    </dgm:pt>
    <dgm:pt modelId="{79AAED35-18A8-4347-A2B8-6AAE8B34BA56}" type="sibTrans" cxnId="{F8EA3703-CEE5-4162-AB46-CFFF8AC28B48}">
      <dgm:prSet/>
      <dgm:spPr/>
      <dgm:t>
        <a:bodyPr/>
        <a:lstStyle/>
        <a:p>
          <a:endParaRPr lang="it-IT"/>
        </a:p>
      </dgm:t>
    </dgm:pt>
    <dgm:pt modelId="{9225496C-39D8-4F53-8BB5-1B069B40EB3E}">
      <dgm:prSet phldrT="[Testo]"/>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Affidamenti</a:t>
          </a:r>
        </a:p>
      </dgm:t>
    </dgm:pt>
    <dgm:pt modelId="{D3A21DFB-000A-4FCE-9E9D-8516EBA4DD45}" type="parTrans" cxnId="{94A2B45D-2D69-4650-AFC3-C5574217F910}">
      <dgm:prSet/>
      <dgm:spPr/>
      <dgm:t>
        <a:bodyPr/>
        <a:lstStyle/>
        <a:p>
          <a:endParaRPr lang="it-IT"/>
        </a:p>
      </dgm:t>
    </dgm:pt>
    <dgm:pt modelId="{1E3F53DD-2537-4C67-AA71-87081D444A81}" type="sibTrans" cxnId="{94A2B45D-2D69-4650-AFC3-C5574217F910}">
      <dgm:prSet/>
      <dgm:spPr/>
      <dgm:t>
        <a:bodyPr/>
        <a:lstStyle/>
        <a:p>
          <a:endParaRPr lang="it-IT"/>
        </a:p>
      </dgm:t>
    </dgm:pt>
    <dgm:pt modelId="{2F442204-E894-4EB6-A3FA-953074E6D5F9}">
      <dgm:prSet phldrT="[Testo]" custT="1"/>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sz="700" dirty="0"/>
            <a:t>Investimenti e Produzione</a:t>
          </a:r>
        </a:p>
        <a:p>
          <a:r>
            <a:rPr lang="it-IT" sz="700" dirty="0"/>
            <a:t>MP</a:t>
          </a:r>
        </a:p>
      </dgm:t>
    </dgm:pt>
    <dgm:pt modelId="{9E6A019B-6886-407A-A3BB-1A2A8D416818}" type="parTrans" cxnId="{6FD2AE64-BDEB-482D-ACF3-1D5403180A1E}">
      <dgm:prSet/>
      <dgm:spPr/>
      <dgm:t>
        <a:bodyPr/>
        <a:lstStyle/>
        <a:p>
          <a:endParaRPr lang="it-IT"/>
        </a:p>
      </dgm:t>
    </dgm:pt>
    <dgm:pt modelId="{07F51AA8-9070-4A56-AF24-8977CF9B6A80}" type="sibTrans" cxnId="{6FD2AE64-BDEB-482D-ACF3-1D5403180A1E}">
      <dgm:prSet/>
      <dgm:spPr/>
      <dgm:t>
        <a:bodyPr/>
        <a:lstStyle/>
        <a:p>
          <a:endParaRPr lang="it-IT"/>
        </a:p>
      </dgm:t>
    </dgm:pt>
    <dgm:pt modelId="{2D51EAF0-C497-40E9-996D-2D0BC40F318C}">
      <dgm:prSet phldrT="[Testo]"/>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Pagamenti</a:t>
          </a:r>
        </a:p>
      </dgm:t>
    </dgm:pt>
    <dgm:pt modelId="{43C509B8-DD3A-429A-ADC4-232D55259B3D}" type="parTrans" cxnId="{7BC9B318-E7A6-41F3-853C-1D1DFB2050EF}">
      <dgm:prSet/>
      <dgm:spPr/>
      <dgm:t>
        <a:bodyPr/>
        <a:lstStyle/>
        <a:p>
          <a:endParaRPr lang="it-IT"/>
        </a:p>
      </dgm:t>
    </dgm:pt>
    <dgm:pt modelId="{66A12237-9546-42D0-81C0-2C324670B743}" type="sibTrans" cxnId="{7BC9B318-E7A6-41F3-853C-1D1DFB2050EF}">
      <dgm:prSet/>
      <dgm:spPr/>
      <dgm:t>
        <a:bodyPr/>
        <a:lstStyle/>
        <a:p>
          <a:endParaRPr lang="it-IT"/>
        </a:p>
      </dgm:t>
    </dgm:pt>
    <dgm:pt modelId="{72FFD339-6A5F-4ED7-B529-6155AF8C35BB}">
      <dgm:prSet/>
      <dgm:spPr>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dgm:spPr>
      <dgm:t>
        <a:bodyPr/>
        <a:lstStyle/>
        <a:p>
          <a:r>
            <a:rPr lang="it-IT" dirty="0" err="1"/>
            <a:t>soc</a:t>
          </a:r>
          <a:endParaRPr lang="it-IT" dirty="0"/>
        </a:p>
      </dgm:t>
    </dgm:pt>
    <dgm:pt modelId="{ECFEA23F-DCCD-42C6-8706-10917CE3C2B0}" type="parTrans" cxnId="{C381E8F4-D0AE-4AD0-B8F1-4BDFF55901DE}">
      <dgm:prSet/>
      <dgm:spPr/>
      <dgm:t>
        <a:bodyPr/>
        <a:lstStyle/>
        <a:p>
          <a:endParaRPr lang="it-IT"/>
        </a:p>
      </dgm:t>
    </dgm:pt>
    <dgm:pt modelId="{A3B7292F-5113-4C29-982F-BC1D14C7BE90}" type="sibTrans" cxnId="{C381E8F4-D0AE-4AD0-B8F1-4BDFF55901DE}">
      <dgm:prSet/>
      <dgm:spPr/>
      <dgm:t>
        <a:bodyPr/>
        <a:lstStyle/>
        <a:p>
          <a:endParaRPr lang="it-IT"/>
        </a:p>
      </dgm:t>
    </dgm:pt>
    <dgm:pt modelId="{A07A8528-D240-4AAE-BA81-005F6AD457F1}">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Ispezione Opere D’arte</a:t>
          </a:r>
        </a:p>
      </dgm:t>
    </dgm:pt>
    <dgm:pt modelId="{3C15A388-1B3D-47E8-B2CB-E67F7E1AFFF1}" type="parTrans" cxnId="{C9F268FB-CB20-4E78-9CDC-F035D61B7E09}">
      <dgm:prSet/>
      <dgm:spPr/>
      <dgm:t>
        <a:bodyPr/>
        <a:lstStyle/>
        <a:p>
          <a:endParaRPr lang="it-IT"/>
        </a:p>
      </dgm:t>
    </dgm:pt>
    <dgm:pt modelId="{7D0C416E-0310-43FE-A0D6-735CD62199B6}" type="sibTrans" cxnId="{C9F268FB-CB20-4E78-9CDC-F035D61B7E09}">
      <dgm:prSet/>
      <dgm:spPr/>
      <dgm:t>
        <a:bodyPr/>
        <a:lstStyle/>
        <a:p>
          <a:endParaRPr lang="it-IT"/>
        </a:p>
      </dgm:t>
    </dgm:pt>
    <dgm:pt modelId="{56EC974B-4690-4A6A-B143-36A5A9DDDB75}">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Supporto Tecnico</a:t>
          </a:r>
        </a:p>
      </dgm:t>
    </dgm:pt>
    <dgm:pt modelId="{F24B2512-EFC3-4494-92F8-F4C2A580DD56}" type="parTrans" cxnId="{FE5FBCA8-5D6F-44E5-8DFA-D24300AECCE8}">
      <dgm:prSet/>
      <dgm:spPr/>
      <dgm:t>
        <a:bodyPr/>
        <a:lstStyle/>
        <a:p>
          <a:endParaRPr lang="it-IT"/>
        </a:p>
      </dgm:t>
    </dgm:pt>
    <dgm:pt modelId="{57612FAC-3D38-4A5A-9D54-8452999285F4}" type="sibTrans" cxnId="{FE5FBCA8-5D6F-44E5-8DFA-D24300AECCE8}">
      <dgm:prSet/>
      <dgm:spPr/>
      <dgm:t>
        <a:bodyPr/>
        <a:lstStyle/>
        <a:p>
          <a:endParaRPr lang="it-IT"/>
        </a:p>
      </dgm:t>
    </dgm:pt>
    <dgm:pt modelId="{5805825E-3BC3-4961-910E-96065463977D}">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Interventi Rilevanti</a:t>
          </a:r>
        </a:p>
      </dgm:t>
    </dgm:pt>
    <dgm:pt modelId="{263FA899-3C2D-4809-A47A-DB65911293C7}" type="parTrans" cxnId="{D6C89AE1-00A8-492D-888B-1E3DDC006D86}">
      <dgm:prSet/>
      <dgm:spPr/>
      <dgm:t>
        <a:bodyPr/>
        <a:lstStyle/>
        <a:p>
          <a:endParaRPr lang="it-IT"/>
        </a:p>
      </dgm:t>
    </dgm:pt>
    <dgm:pt modelId="{B58F1702-0059-4F53-9A60-77242457BBFA}" type="sibTrans" cxnId="{D6C89AE1-00A8-492D-888B-1E3DDC006D86}">
      <dgm:prSet/>
      <dgm:spPr/>
      <dgm:t>
        <a:bodyPr/>
        <a:lstStyle/>
        <a:p>
          <a:endParaRPr lang="it-IT"/>
        </a:p>
      </dgm:t>
    </dgm:pt>
    <dgm:pt modelId="{7A5D9CDD-E10F-422D-808B-815C691EF2E8}">
      <dgm:prSet phldrT="[Testo]" custT="1"/>
      <dgm:spPr>
        <a:solidFill>
          <a:schemeClr val="tx2"/>
        </a:solidFill>
      </dgm:spPr>
      <dgm:t>
        <a:bodyPr/>
        <a:lstStyle/>
        <a:p>
          <a:r>
            <a:rPr lang="it-IT" sz="700" dirty="0"/>
            <a:t>Investimenti e Produzione</a:t>
          </a:r>
        </a:p>
        <a:p>
          <a:r>
            <a:rPr lang="it-IT" sz="700" dirty="0"/>
            <a:t>NO</a:t>
          </a:r>
        </a:p>
      </dgm:t>
    </dgm:pt>
    <dgm:pt modelId="{089AE963-8402-4F38-908B-1CA814F78766}" type="parTrans" cxnId="{BEDD267B-EA80-4783-A782-86B96AAC5B03}">
      <dgm:prSet/>
      <dgm:spPr/>
      <dgm:t>
        <a:bodyPr/>
        <a:lstStyle/>
        <a:p>
          <a:endParaRPr lang="it-IT"/>
        </a:p>
      </dgm:t>
    </dgm:pt>
    <dgm:pt modelId="{63A1392B-D9B4-4604-ACED-CDD4B7E19D6E}" type="sibTrans" cxnId="{BEDD267B-EA80-4783-A782-86B96AAC5B03}">
      <dgm:prSet/>
      <dgm:spPr/>
      <dgm:t>
        <a:bodyPr/>
        <a:lstStyle/>
        <a:p>
          <a:endParaRPr lang="it-IT"/>
        </a:p>
      </dgm:t>
    </dgm:pt>
    <dgm:pt modelId="{2069E263-CA68-447A-859F-7068DC9AF2B6}" type="pres">
      <dgm:prSet presAssocID="{C782CD9B-2B4B-48D2-BF13-2B0D6056B78A}" presName="Name0" presStyleCnt="0">
        <dgm:presLayoutVars>
          <dgm:dir/>
          <dgm:animLvl val="lvl"/>
          <dgm:resizeHandles val="exact"/>
        </dgm:presLayoutVars>
      </dgm:prSet>
      <dgm:spPr/>
    </dgm:pt>
    <dgm:pt modelId="{F7031506-3856-48AD-BFC1-89D9660F7FF7}" type="pres">
      <dgm:prSet presAssocID="{DFCF748E-4FA2-4C04-B1DF-85DA1021BE5D}" presName="parTxOnly" presStyleLbl="node1" presStyleIdx="0" presStyleCnt="10">
        <dgm:presLayoutVars>
          <dgm:chMax val="0"/>
          <dgm:chPref val="0"/>
          <dgm:bulletEnabled val="1"/>
        </dgm:presLayoutVars>
      </dgm:prSet>
      <dgm:spPr/>
    </dgm:pt>
    <dgm:pt modelId="{420EBE6C-A91F-49B7-AF4C-29A127D6266A}" type="pres">
      <dgm:prSet presAssocID="{A0ED7260-8442-4FBF-80B4-500E49A4F3AF}" presName="parTxOnlySpace" presStyleCnt="0"/>
      <dgm:spPr/>
    </dgm:pt>
    <dgm:pt modelId="{6C62160D-9EC9-4B84-8EFD-9C3E10FC055A}" type="pres">
      <dgm:prSet presAssocID="{B754C885-66E5-4615-BD33-B6EE917A035D}" presName="parTxOnly" presStyleLbl="node1" presStyleIdx="1" presStyleCnt="10">
        <dgm:presLayoutVars>
          <dgm:chMax val="0"/>
          <dgm:chPref val="0"/>
          <dgm:bulletEnabled val="1"/>
        </dgm:presLayoutVars>
      </dgm:prSet>
      <dgm:spPr/>
    </dgm:pt>
    <dgm:pt modelId="{6415A264-B3C7-41A6-9BA0-D0AD6AE1DACB}" type="pres">
      <dgm:prSet presAssocID="{79AAED35-18A8-4347-A2B8-6AAE8B34BA56}" presName="parTxOnlySpace" presStyleCnt="0"/>
      <dgm:spPr/>
    </dgm:pt>
    <dgm:pt modelId="{636F50A3-8EFE-4C08-B6BE-284B03274F0B}" type="pres">
      <dgm:prSet presAssocID="{72FFD339-6A5F-4ED7-B529-6155AF8C35BB}" presName="parTxOnly" presStyleLbl="node1" presStyleIdx="2" presStyleCnt="10">
        <dgm:presLayoutVars>
          <dgm:chMax val="0"/>
          <dgm:chPref val="0"/>
          <dgm:bulletEnabled val="1"/>
        </dgm:presLayoutVars>
      </dgm:prSet>
      <dgm:spPr/>
    </dgm:pt>
    <dgm:pt modelId="{B0C5D3FB-8180-4CC6-9F14-5042E96FD8E3}" type="pres">
      <dgm:prSet presAssocID="{A3B7292F-5113-4C29-982F-BC1D14C7BE90}" presName="parTxOnlySpace" presStyleCnt="0"/>
      <dgm:spPr/>
    </dgm:pt>
    <dgm:pt modelId="{6BB9B9CD-B911-4E33-8045-BE6A8D7C5B89}" type="pres">
      <dgm:prSet presAssocID="{9225496C-39D8-4F53-8BB5-1B069B40EB3E}" presName="parTxOnly" presStyleLbl="node1" presStyleIdx="3" presStyleCnt="10">
        <dgm:presLayoutVars>
          <dgm:chMax val="0"/>
          <dgm:chPref val="0"/>
          <dgm:bulletEnabled val="1"/>
        </dgm:presLayoutVars>
      </dgm:prSet>
      <dgm:spPr/>
    </dgm:pt>
    <dgm:pt modelId="{60B2C4AD-8A0D-4CB2-93A9-16C6C0E4BD5B}" type="pres">
      <dgm:prSet presAssocID="{1E3F53DD-2537-4C67-AA71-87081D444A81}" presName="parTxOnlySpace" presStyleCnt="0"/>
      <dgm:spPr/>
    </dgm:pt>
    <dgm:pt modelId="{A29D7AF6-34C9-459D-B160-0F8E7686BA2B}" type="pres">
      <dgm:prSet presAssocID="{2F442204-E894-4EB6-A3FA-953074E6D5F9}" presName="parTxOnly" presStyleLbl="node1" presStyleIdx="4" presStyleCnt="10">
        <dgm:presLayoutVars>
          <dgm:chMax val="0"/>
          <dgm:chPref val="0"/>
          <dgm:bulletEnabled val="1"/>
        </dgm:presLayoutVars>
      </dgm:prSet>
      <dgm:spPr/>
    </dgm:pt>
    <dgm:pt modelId="{7004503D-9639-442B-9C04-FB1247092C40}" type="pres">
      <dgm:prSet presAssocID="{07F51AA8-9070-4A56-AF24-8977CF9B6A80}" presName="parTxOnlySpace" presStyleCnt="0"/>
      <dgm:spPr/>
    </dgm:pt>
    <dgm:pt modelId="{A2199658-E72A-4294-AFD3-6892981EEB12}" type="pres">
      <dgm:prSet presAssocID="{7A5D9CDD-E10F-422D-808B-815C691EF2E8}" presName="parTxOnly" presStyleLbl="node1" presStyleIdx="5" presStyleCnt="10">
        <dgm:presLayoutVars>
          <dgm:chMax val="0"/>
          <dgm:chPref val="0"/>
          <dgm:bulletEnabled val="1"/>
        </dgm:presLayoutVars>
      </dgm:prSet>
      <dgm:spPr/>
    </dgm:pt>
    <dgm:pt modelId="{9B5C0F41-E4E2-4A3A-AA73-E3E4EB6ACD5E}" type="pres">
      <dgm:prSet presAssocID="{63A1392B-D9B4-4604-ACED-CDD4B7E19D6E}" presName="parTxOnlySpace" presStyleCnt="0"/>
      <dgm:spPr/>
    </dgm:pt>
    <dgm:pt modelId="{F9C55CAF-C1A3-4EFD-AD93-3CBF7E30E2FA}" type="pres">
      <dgm:prSet presAssocID="{56EC974B-4690-4A6A-B143-36A5A9DDDB75}" presName="parTxOnly" presStyleLbl="node1" presStyleIdx="6" presStyleCnt="10">
        <dgm:presLayoutVars>
          <dgm:chMax val="0"/>
          <dgm:chPref val="0"/>
          <dgm:bulletEnabled val="1"/>
        </dgm:presLayoutVars>
      </dgm:prSet>
      <dgm:spPr/>
    </dgm:pt>
    <dgm:pt modelId="{DDB26EDE-11AF-40B7-9C16-348181381393}" type="pres">
      <dgm:prSet presAssocID="{57612FAC-3D38-4A5A-9D54-8452999285F4}" presName="parTxOnlySpace" presStyleCnt="0"/>
      <dgm:spPr/>
    </dgm:pt>
    <dgm:pt modelId="{8CED6B9D-804A-4009-A04D-D699125D11F0}" type="pres">
      <dgm:prSet presAssocID="{A07A8528-D240-4AAE-BA81-005F6AD457F1}" presName="parTxOnly" presStyleLbl="node1" presStyleIdx="7" presStyleCnt="10">
        <dgm:presLayoutVars>
          <dgm:chMax val="0"/>
          <dgm:chPref val="0"/>
          <dgm:bulletEnabled val="1"/>
        </dgm:presLayoutVars>
      </dgm:prSet>
      <dgm:spPr/>
    </dgm:pt>
    <dgm:pt modelId="{C3D8151F-F75F-49EC-B6A3-4B15A8912918}" type="pres">
      <dgm:prSet presAssocID="{7D0C416E-0310-43FE-A0D6-735CD62199B6}" presName="parTxOnlySpace" presStyleCnt="0"/>
      <dgm:spPr/>
    </dgm:pt>
    <dgm:pt modelId="{0A5AB2D9-0A33-47A4-83C2-3990E2018CD9}" type="pres">
      <dgm:prSet presAssocID="{5805825E-3BC3-4961-910E-96065463977D}" presName="parTxOnly" presStyleLbl="node1" presStyleIdx="8" presStyleCnt="10">
        <dgm:presLayoutVars>
          <dgm:chMax val="0"/>
          <dgm:chPref val="0"/>
          <dgm:bulletEnabled val="1"/>
        </dgm:presLayoutVars>
      </dgm:prSet>
      <dgm:spPr/>
    </dgm:pt>
    <dgm:pt modelId="{5FE5E96A-0031-41D2-A1BE-2634D143793A}" type="pres">
      <dgm:prSet presAssocID="{B58F1702-0059-4F53-9A60-77242457BBFA}" presName="parTxOnlySpace" presStyleCnt="0"/>
      <dgm:spPr/>
    </dgm:pt>
    <dgm:pt modelId="{F2510710-7BA2-44B7-8AA7-1347717B483B}" type="pres">
      <dgm:prSet presAssocID="{2D51EAF0-C497-40E9-996D-2D0BC40F318C}" presName="parTxOnly" presStyleLbl="node1" presStyleIdx="9" presStyleCnt="10">
        <dgm:presLayoutVars>
          <dgm:chMax val="0"/>
          <dgm:chPref val="0"/>
          <dgm:bulletEnabled val="1"/>
        </dgm:presLayoutVars>
      </dgm:prSet>
      <dgm:spPr/>
    </dgm:pt>
  </dgm:ptLst>
  <dgm:cxnLst>
    <dgm:cxn modelId="{F8EA3703-CEE5-4162-AB46-CFFF8AC28B48}" srcId="{C782CD9B-2B4B-48D2-BF13-2B0D6056B78A}" destId="{B754C885-66E5-4615-BD33-B6EE917A035D}" srcOrd="1" destOrd="0" parTransId="{65812F9F-DD0E-4752-BF8B-D07282594751}" sibTransId="{79AAED35-18A8-4347-A2B8-6AAE8B34BA56}"/>
    <dgm:cxn modelId="{455CCB08-C7A8-416D-A61E-02325EAE6063}" type="presOf" srcId="{56EC974B-4690-4A6A-B143-36A5A9DDDB75}" destId="{F9C55CAF-C1A3-4EFD-AD93-3CBF7E30E2FA}" srcOrd="0" destOrd="0" presId="urn:microsoft.com/office/officeart/2005/8/layout/chevron1"/>
    <dgm:cxn modelId="{4BBAF50C-9805-4A32-96FD-6907C48C3528}" type="presOf" srcId="{72FFD339-6A5F-4ED7-B529-6155AF8C35BB}" destId="{636F50A3-8EFE-4C08-B6BE-284B03274F0B}" srcOrd="0" destOrd="0" presId="urn:microsoft.com/office/officeart/2005/8/layout/chevron1"/>
    <dgm:cxn modelId="{7BC9B318-E7A6-41F3-853C-1D1DFB2050EF}" srcId="{C782CD9B-2B4B-48D2-BF13-2B0D6056B78A}" destId="{2D51EAF0-C497-40E9-996D-2D0BC40F318C}" srcOrd="9" destOrd="0" parTransId="{43C509B8-DD3A-429A-ADC4-232D55259B3D}" sibTransId="{66A12237-9546-42D0-81C0-2C324670B743}"/>
    <dgm:cxn modelId="{D64E4A5D-EA9C-406E-A6B4-DE8ED96604DD}" type="presOf" srcId="{DFCF748E-4FA2-4C04-B1DF-85DA1021BE5D}" destId="{F7031506-3856-48AD-BFC1-89D9660F7FF7}" srcOrd="0" destOrd="0" presId="urn:microsoft.com/office/officeart/2005/8/layout/chevron1"/>
    <dgm:cxn modelId="{94A2B45D-2D69-4650-AFC3-C5574217F910}" srcId="{C782CD9B-2B4B-48D2-BF13-2B0D6056B78A}" destId="{9225496C-39D8-4F53-8BB5-1B069B40EB3E}" srcOrd="3" destOrd="0" parTransId="{D3A21DFB-000A-4FCE-9E9D-8516EBA4DD45}" sibTransId="{1E3F53DD-2537-4C67-AA71-87081D444A81}"/>
    <dgm:cxn modelId="{CE2FF75F-DB2F-45B2-AA01-EC22182AEF38}" type="presOf" srcId="{5805825E-3BC3-4961-910E-96065463977D}" destId="{0A5AB2D9-0A33-47A4-83C2-3990E2018CD9}" srcOrd="0" destOrd="0" presId="urn:microsoft.com/office/officeart/2005/8/layout/chevron1"/>
    <dgm:cxn modelId="{5D7E5463-E04E-4B9F-8F4D-311BDA47B869}" type="presOf" srcId="{C782CD9B-2B4B-48D2-BF13-2B0D6056B78A}" destId="{2069E263-CA68-447A-859F-7068DC9AF2B6}" srcOrd="0" destOrd="0" presId="urn:microsoft.com/office/officeart/2005/8/layout/chevron1"/>
    <dgm:cxn modelId="{6FD2AE64-BDEB-482D-ACF3-1D5403180A1E}" srcId="{C782CD9B-2B4B-48D2-BF13-2B0D6056B78A}" destId="{2F442204-E894-4EB6-A3FA-953074E6D5F9}" srcOrd="4" destOrd="0" parTransId="{9E6A019B-6886-407A-A3BB-1A2A8D416818}" sibTransId="{07F51AA8-9070-4A56-AF24-8977CF9B6A80}"/>
    <dgm:cxn modelId="{F7383E51-D164-471E-8791-0266BB525838}" type="presOf" srcId="{7A5D9CDD-E10F-422D-808B-815C691EF2E8}" destId="{A2199658-E72A-4294-AFD3-6892981EEB12}" srcOrd="0" destOrd="0" presId="urn:microsoft.com/office/officeart/2005/8/layout/chevron1"/>
    <dgm:cxn modelId="{D6B8B377-9157-42B7-96A4-2115B21AB9B2}" type="presOf" srcId="{9225496C-39D8-4F53-8BB5-1B069B40EB3E}" destId="{6BB9B9CD-B911-4E33-8045-BE6A8D7C5B89}" srcOrd="0" destOrd="0" presId="urn:microsoft.com/office/officeart/2005/8/layout/chevron1"/>
    <dgm:cxn modelId="{BEDD267B-EA80-4783-A782-86B96AAC5B03}" srcId="{C782CD9B-2B4B-48D2-BF13-2B0D6056B78A}" destId="{7A5D9CDD-E10F-422D-808B-815C691EF2E8}" srcOrd="5" destOrd="0" parTransId="{089AE963-8402-4F38-908B-1CA814F78766}" sibTransId="{63A1392B-D9B4-4604-ACED-CDD4B7E19D6E}"/>
    <dgm:cxn modelId="{35193F86-1FA7-4563-8B6E-D3A9EDE01F33}" type="presOf" srcId="{A07A8528-D240-4AAE-BA81-005F6AD457F1}" destId="{8CED6B9D-804A-4009-A04D-D699125D11F0}" srcOrd="0" destOrd="0" presId="urn:microsoft.com/office/officeart/2005/8/layout/chevron1"/>
    <dgm:cxn modelId="{92751D9D-02E3-45C2-978C-737085227C42}" srcId="{C782CD9B-2B4B-48D2-BF13-2B0D6056B78A}" destId="{DFCF748E-4FA2-4C04-B1DF-85DA1021BE5D}" srcOrd="0" destOrd="0" parTransId="{7DAF1956-B700-4203-9672-92E4451DCC31}" sibTransId="{A0ED7260-8442-4FBF-80B4-500E49A4F3AF}"/>
    <dgm:cxn modelId="{FE5FBCA8-5D6F-44E5-8DFA-D24300AECCE8}" srcId="{C782CD9B-2B4B-48D2-BF13-2B0D6056B78A}" destId="{56EC974B-4690-4A6A-B143-36A5A9DDDB75}" srcOrd="6" destOrd="0" parTransId="{F24B2512-EFC3-4494-92F8-F4C2A580DD56}" sibTransId="{57612FAC-3D38-4A5A-9D54-8452999285F4}"/>
    <dgm:cxn modelId="{C2266BAA-53AB-4D7C-808A-23A5E9089F05}" type="presOf" srcId="{2F442204-E894-4EB6-A3FA-953074E6D5F9}" destId="{A29D7AF6-34C9-459D-B160-0F8E7686BA2B}" srcOrd="0" destOrd="0" presId="urn:microsoft.com/office/officeart/2005/8/layout/chevron1"/>
    <dgm:cxn modelId="{874B85B8-F560-4463-8F3D-8EE7EEDE2E78}" type="presOf" srcId="{2D51EAF0-C497-40E9-996D-2D0BC40F318C}" destId="{F2510710-7BA2-44B7-8AA7-1347717B483B}" srcOrd="0" destOrd="0" presId="urn:microsoft.com/office/officeart/2005/8/layout/chevron1"/>
    <dgm:cxn modelId="{F46212D2-F058-435C-9A36-477ED2AC6AEF}" type="presOf" srcId="{B754C885-66E5-4615-BD33-B6EE917A035D}" destId="{6C62160D-9EC9-4B84-8EFD-9C3E10FC055A}" srcOrd="0" destOrd="0" presId="urn:microsoft.com/office/officeart/2005/8/layout/chevron1"/>
    <dgm:cxn modelId="{D6C89AE1-00A8-492D-888B-1E3DDC006D86}" srcId="{C782CD9B-2B4B-48D2-BF13-2B0D6056B78A}" destId="{5805825E-3BC3-4961-910E-96065463977D}" srcOrd="8" destOrd="0" parTransId="{263FA899-3C2D-4809-A47A-DB65911293C7}" sibTransId="{B58F1702-0059-4F53-9A60-77242457BBFA}"/>
    <dgm:cxn modelId="{C381E8F4-D0AE-4AD0-B8F1-4BDFF55901DE}" srcId="{C782CD9B-2B4B-48D2-BF13-2B0D6056B78A}" destId="{72FFD339-6A5F-4ED7-B529-6155AF8C35BB}" srcOrd="2" destOrd="0" parTransId="{ECFEA23F-DCCD-42C6-8706-10917CE3C2B0}" sibTransId="{A3B7292F-5113-4C29-982F-BC1D14C7BE90}"/>
    <dgm:cxn modelId="{C9F268FB-CB20-4E78-9CDC-F035D61B7E09}" srcId="{C782CD9B-2B4B-48D2-BF13-2B0D6056B78A}" destId="{A07A8528-D240-4AAE-BA81-005F6AD457F1}" srcOrd="7" destOrd="0" parTransId="{3C15A388-1B3D-47E8-B2CB-E67F7E1AFFF1}" sibTransId="{7D0C416E-0310-43FE-A0D6-735CD62199B6}"/>
    <dgm:cxn modelId="{0BC178B1-8F82-40F8-ABEA-D845F47CF183}" type="presParOf" srcId="{2069E263-CA68-447A-859F-7068DC9AF2B6}" destId="{F7031506-3856-48AD-BFC1-89D9660F7FF7}" srcOrd="0" destOrd="0" presId="urn:microsoft.com/office/officeart/2005/8/layout/chevron1"/>
    <dgm:cxn modelId="{603B3484-A90E-4E57-A909-F2F46E2C897D}" type="presParOf" srcId="{2069E263-CA68-447A-859F-7068DC9AF2B6}" destId="{420EBE6C-A91F-49B7-AF4C-29A127D6266A}" srcOrd="1" destOrd="0" presId="urn:microsoft.com/office/officeart/2005/8/layout/chevron1"/>
    <dgm:cxn modelId="{13FE93DC-690A-42AB-9DD1-330195F94D5B}" type="presParOf" srcId="{2069E263-CA68-447A-859F-7068DC9AF2B6}" destId="{6C62160D-9EC9-4B84-8EFD-9C3E10FC055A}" srcOrd="2" destOrd="0" presId="urn:microsoft.com/office/officeart/2005/8/layout/chevron1"/>
    <dgm:cxn modelId="{0629EEE5-89E1-468C-B2D6-4AB9E2240295}" type="presParOf" srcId="{2069E263-CA68-447A-859F-7068DC9AF2B6}" destId="{6415A264-B3C7-41A6-9BA0-D0AD6AE1DACB}" srcOrd="3" destOrd="0" presId="urn:microsoft.com/office/officeart/2005/8/layout/chevron1"/>
    <dgm:cxn modelId="{13489D80-9DB7-4077-821A-0091BDACEE58}" type="presParOf" srcId="{2069E263-CA68-447A-859F-7068DC9AF2B6}" destId="{636F50A3-8EFE-4C08-B6BE-284B03274F0B}" srcOrd="4" destOrd="0" presId="urn:microsoft.com/office/officeart/2005/8/layout/chevron1"/>
    <dgm:cxn modelId="{63AEF0FA-B84A-4252-B001-EBC6836CF39F}" type="presParOf" srcId="{2069E263-CA68-447A-859F-7068DC9AF2B6}" destId="{B0C5D3FB-8180-4CC6-9F14-5042E96FD8E3}" srcOrd="5" destOrd="0" presId="urn:microsoft.com/office/officeart/2005/8/layout/chevron1"/>
    <dgm:cxn modelId="{1378BE35-D9B2-44CA-9698-08BDE65D8763}" type="presParOf" srcId="{2069E263-CA68-447A-859F-7068DC9AF2B6}" destId="{6BB9B9CD-B911-4E33-8045-BE6A8D7C5B89}" srcOrd="6" destOrd="0" presId="urn:microsoft.com/office/officeart/2005/8/layout/chevron1"/>
    <dgm:cxn modelId="{1296416F-FC69-492B-9FD9-213B527C83D7}" type="presParOf" srcId="{2069E263-CA68-447A-859F-7068DC9AF2B6}" destId="{60B2C4AD-8A0D-4CB2-93A9-16C6C0E4BD5B}" srcOrd="7" destOrd="0" presId="urn:microsoft.com/office/officeart/2005/8/layout/chevron1"/>
    <dgm:cxn modelId="{B768BAD9-28D6-48F6-90C7-0DF693EE4AAC}" type="presParOf" srcId="{2069E263-CA68-447A-859F-7068DC9AF2B6}" destId="{A29D7AF6-34C9-459D-B160-0F8E7686BA2B}" srcOrd="8" destOrd="0" presId="urn:microsoft.com/office/officeart/2005/8/layout/chevron1"/>
    <dgm:cxn modelId="{48336C34-0B40-4BF9-B513-9EEDEDC45D5C}" type="presParOf" srcId="{2069E263-CA68-447A-859F-7068DC9AF2B6}" destId="{7004503D-9639-442B-9C04-FB1247092C40}" srcOrd="9" destOrd="0" presId="urn:microsoft.com/office/officeart/2005/8/layout/chevron1"/>
    <dgm:cxn modelId="{17F0D67C-3DE4-442D-B447-FDEAF6411E95}" type="presParOf" srcId="{2069E263-CA68-447A-859F-7068DC9AF2B6}" destId="{A2199658-E72A-4294-AFD3-6892981EEB12}" srcOrd="10" destOrd="0" presId="urn:microsoft.com/office/officeart/2005/8/layout/chevron1"/>
    <dgm:cxn modelId="{547C5A36-ED51-4270-912E-B270444188BA}" type="presParOf" srcId="{2069E263-CA68-447A-859F-7068DC9AF2B6}" destId="{9B5C0F41-E4E2-4A3A-AA73-E3E4EB6ACD5E}" srcOrd="11" destOrd="0" presId="urn:microsoft.com/office/officeart/2005/8/layout/chevron1"/>
    <dgm:cxn modelId="{A86BCF87-35BD-43C4-8D0D-5510CF07522F}" type="presParOf" srcId="{2069E263-CA68-447A-859F-7068DC9AF2B6}" destId="{F9C55CAF-C1A3-4EFD-AD93-3CBF7E30E2FA}" srcOrd="12" destOrd="0" presId="urn:microsoft.com/office/officeart/2005/8/layout/chevron1"/>
    <dgm:cxn modelId="{8884FA52-623F-41EB-B49B-DDFC5429737E}" type="presParOf" srcId="{2069E263-CA68-447A-859F-7068DC9AF2B6}" destId="{DDB26EDE-11AF-40B7-9C16-348181381393}" srcOrd="13" destOrd="0" presId="urn:microsoft.com/office/officeart/2005/8/layout/chevron1"/>
    <dgm:cxn modelId="{A2BC340E-A1B5-4E4C-AA4A-789E5A0FC573}" type="presParOf" srcId="{2069E263-CA68-447A-859F-7068DC9AF2B6}" destId="{8CED6B9D-804A-4009-A04D-D699125D11F0}" srcOrd="14" destOrd="0" presId="urn:microsoft.com/office/officeart/2005/8/layout/chevron1"/>
    <dgm:cxn modelId="{FC3AE7F8-A5EF-4C1D-8061-31A8D0588A47}" type="presParOf" srcId="{2069E263-CA68-447A-859F-7068DC9AF2B6}" destId="{C3D8151F-F75F-49EC-B6A3-4B15A8912918}" srcOrd="15" destOrd="0" presId="urn:microsoft.com/office/officeart/2005/8/layout/chevron1"/>
    <dgm:cxn modelId="{547E096A-695B-4672-B40B-C750C45D02E8}" type="presParOf" srcId="{2069E263-CA68-447A-859F-7068DC9AF2B6}" destId="{0A5AB2D9-0A33-47A4-83C2-3990E2018CD9}" srcOrd="16" destOrd="0" presId="urn:microsoft.com/office/officeart/2005/8/layout/chevron1"/>
    <dgm:cxn modelId="{4721C40E-89C7-49C8-9D15-BDB9DA73193A}" type="presParOf" srcId="{2069E263-CA68-447A-859F-7068DC9AF2B6}" destId="{5FE5E96A-0031-41D2-A1BE-2634D143793A}" srcOrd="17" destOrd="0" presId="urn:microsoft.com/office/officeart/2005/8/layout/chevron1"/>
    <dgm:cxn modelId="{C627EDF0-935B-4D75-938B-180F46EA0895}" type="presParOf" srcId="{2069E263-CA68-447A-859F-7068DC9AF2B6}" destId="{F2510710-7BA2-44B7-8AA7-1347717B483B}" srcOrd="18"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C782CD9B-2B4B-48D2-BF13-2B0D6056B78A}"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it-IT"/>
        </a:p>
      </dgm:t>
    </dgm:pt>
    <dgm:pt modelId="{DFCF748E-4FA2-4C04-B1DF-85DA1021BE5D}">
      <dgm:prSet phldrT="[Testo]"/>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Rete viaria complessiva</a:t>
          </a:r>
        </a:p>
      </dgm:t>
    </dgm:pt>
    <dgm:pt modelId="{7DAF1956-B700-4203-9672-92E4451DCC31}" type="parTrans" cxnId="{92751D9D-02E3-45C2-978C-737085227C42}">
      <dgm:prSet/>
      <dgm:spPr/>
      <dgm:t>
        <a:bodyPr/>
        <a:lstStyle/>
        <a:p>
          <a:endParaRPr lang="it-IT"/>
        </a:p>
      </dgm:t>
    </dgm:pt>
    <dgm:pt modelId="{A0ED7260-8442-4FBF-80B4-500E49A4F3AF}" type="sibTrans" cxnId="{92751D9D-02E3-45C2-978C-737085227C42}">
      <dgm:prSet/>
      <dgm:spPr/>
      <dgm:t>
        <a:bodyPr/>
        <a:lstStyle/>
        <a:p>
          <a:endParaRPr lang="it-IT"/>
        </a:p>
      </dgm:t>
    </dgm:pt>
    <dgm:pt modelId="{B754C885-66E5-4615-BD33-B6EE917A035D}">
      <dgm:prSet phldrT="[Testo]"/>
      <dgm:spPr>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dgm:spPr>
      <dgm:t>
        <a:bodyPr/>
        <a:lstStyle/>
        <a:p>
          <a:r>
            <a:rPr lang="it-IT" dirty="0"/>
            <a:t>Risorse</a:t>
          </a:r>
        </a:p>
      </dgm:t>
    </dgm:pt>
    <dgm:pt modelId="{65812F9F-DD0E-4752-BF8B-D07282594751}" type="parTrans" cxnId="{F8EA3703-CEE5-4162-AB46-CFFF8AC28B48}">
      <dgm:prSet/>
      <dgm:spPr/>
      <dgm:t>
        <a:bodyPr/>
        <a:lstStyle/>
        <a:p>
          <a:endParaRPr lang="it-IT"/>
        </a:p>
      </dgm:t>
    </dgm:pt>
    <dgm:pt modelId="{79AAED35-18A8-4347-A2B8-6AAE8B34BA56}" type="sibTrans" cxnId="{F8EA3703-CEE5-4162-AB46-CFFF8AC28B48}">
      <dgm:prSet/>
      <dgm:spPr/>
      <dgm:t>
        <a:bodyPr/>
        <a:lstStyle/>
        <a:p>
          <a:endParaRPr lang="it-IT"/>
        </a:p>
      </dgm:t>
    </dgm:pt>
    <dgm:pt modelId="{9225496C-39D8-4F53-8BB5-1B069B40EB3E}">
      <dgm:prSet phldrT="[Testo]"/>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Affidamenti</a:t>
          </a:r>
        </a:p>
      </dgm:t>
    </dgm:pt>
    <dgm:pt modelId="{D3A21DFB-000A-4FCE-9E9D-8516EBA4DD45}" type="parTrans" cxnId="{94A2B45D-2D69-4650-AFC3-C5574217F910}">
      <dgm:prSet/>
      <dgm:spPr/>
      <dgm:t>
        <a:bodyPr/>
        <a:lstStyle/>
        <a:p>
          <a:endParaRPr lang="it-IT"/>
        </a:p>
      </dgm:t>
    </dgm:pt>
    <dgm:pt modelId="{1E3F53DD-2537-4C67-AA71-87081D444A81}" type="sibTrans" cxnId="{94A2B45D-2D69-4650-AFC3-C5574217F910}">
      <dgm:prSet/>
      <dgm:spPr/>
      <dgm:t>
        <a:bodyPr/>
        <a:lstStyle/>
        <a:p>
          <a:endParaRPr lang="it-IT"/>
        </a:p>
      </dgm:t>
    </dgm:pt>
    <dgm:pt modelId="{2F442204-E894-4EB6-A3FA-953074E6D5F9}">
      <dgm:prSet phldrT="[Testo]" custT="1"/>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sz="700" dirty="0"/>
            <a:t>Investimenti e Produzione</a:t>
          </a:r>
        </a:p>
        <a:p>
          <a:r>
            <a:rPr lang="it-IT" sz="700" dirty="0"/>
            <a:t>MP</a:t>
          </a:r>
        </a:p>
      </dgm:t>
    </dgm:pt>
    <dgm:pt modelId="{9E6A019B-6886-407A-A3BB-1A2A8D416818}" type="parTrans" cxnId="{6FD2AE64-BDEB-482D-ACF3-1D5403180A1E}">
      <dgm:prSet/>
      <dgm:spPr/>
      <dgm:t>
        <a:bodyPr/>
        <a:lstStyle/>
        <a:p>
          <a:endParaRPr lang="it-IT"/>
        </a:p>
      </dgm:t>
    </dgm:pt>
    <dgm:pt modelId="{07F51AA8-9070-4A56-AF24-8977CF9B6A80}" type="sibTrans" cxnId="{6FD2AE64-BDEB-482D-ACF3-1D5403180A1E}">
      <dgm:prSet/>
      <dgm:spPr/>
      <dgm:t>
        <a:bodyPr/>
        <a:lstStyle/>
        <a:p>
          <a:endParaRPr lang="it-IT"/>
        </a:p>
      </dgm:t>
    </dgm:pt>
    <dgm:pt modelId="{2D51EAF0-C497-40E9-996D-2D0BC40F318C}">
      <dgm:prSet phldrT="[Testo]"/>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Pagamenti</a:t>
          </a:r>
        </a:p>
      </dgm:t>
    </dgm:pt>
    <dgm:pt modelId="{43C509B8-DD3A-429A-ADC4-232D55259B3D}" type="parTrans" cxnId="{7BC9B318-E7A6-41F3-853C-1D1DFB2050EF}">
      <dgm:prSet/>
      <dgm:spPr/>
      <dgm:t>
        <a:bodyPr/>
        <a:lstStyle/>
        <a:p>
          <a:endParaRPr lang="it-IT"/>
        </a:p>
      </dgm:t>
    </dgm:pt>
    <dgm:pt modelId="{66A12237-9546-42D0-81C0-2C324670B743}" type="sibTrans" cxnId="{7BC9B318-E7A6-41F3-853C-1D1DFB2050EF}">
      <dgm:prSet/>
      <dgm:spPr/>
      <dgm:t>
        <a:bodyPr/>
        <a:lstStyle/>
        <a:p>
          <a:endParaRPr lang="it-IT"/>
        </a:p>
      </dgm:t>
    </dgm:pt>
    <dgm:pt modelId="{72FFD339-6A5F-4ED7-B529-6155AF8C35BB}">
      <dgm:prSet/>
      <dgm:spPr>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dgm:spPr>
      <dgm:t>
        <a:bodyPr/>
        <a:lstStyle/>
        <a:p>
          <a:r>
            <a:rPr lang="it-IT" dirty="0" err="1"/>
            <a:t>soc</a:t>
          </a:r>
          <a:endParaRPr lang="it-IT" dirty="0"/>
        </a:p>
      </dgm:t>
    </dgm:pt>
    <dgm:pt modelId="{ECFEA23F-DCCD-42C6-8706-10917CE3C2B0}" type="parTrans" cxnId="{C381E8F4-D0AE-4AD0-B8F1-4BDFF55901DE}">
      <dgm:prSet/>
      <dgm:spPr/>
      <dgm:t>
        <a:bodyPr/>
        <a:lstStyle/>
        <a:p>
          <a:endParaRPr lang="it-IT"/>
        </a:p>
      </dgm:t>
    </dgm:pt>
    <dgm:pt modelId="{A3B7292F-5113-4C29-982F-BC1D14C7BE90}" type="sibTrans" cxnId="{C381E8F4-D0AE-4AD0-B8F1-4BDFF55901DE}">
      <dgm:prSet/>
      <dgm:spPr/>
      <dgm:t>
        <a:bodyPr/>
        <a:lstStyle/>
        <a:p>
          <a:endParaRPr lang="it-IT"/>
        </a:p>
      </dgm:t>
    </dgm:pt>
    <dgm:pt modelId="{A07A8528-D240-4AAE-BA81-005F6AD457F1}">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Ispezione Opere D’arte</a:t>
          </a:r>
        </a:p>
      </dgm:t>
    </dgm:pt>
    <dgm:pt modelId="{3C15A388-1B3D-47E8-B2CB-E67F7E1AFFF1}" type="parTrans" cxnId="{C9F268FB-CB20-4E78-9CDC-F035D61B7E09}">
      <dgm:prSet/>
      <dgm:spPr/>
      <dgm:t>
        <a:bodyPr/>
        <a:lstStyle/>
        <a:p>
          <a:endParaRPr lang="it-IT"/>
        </a:p>
      </dgm:t>
    </dgm:pt>
    <dgm:pt modelId="{7D0C416E-0310-43FE-A0D6-735CD62199B6}" type="sibTrans" cxnId="{C9F268FB-CB20-4E78-9CDC-F035D61B7E09}">
      <dgm:prSet/>
      <dgm:spPr/>
      <dgm:t>
        <a:bodyPr/>
        <a:lstStyle/>
        <a:p>
          <a:endParaRPr lang="it-IT"/>
        </a:p>
      </dgm:t>
    </dgm:pt>
    <dgm:pt modelId="{56EC974B-4690-4A6A-B143-36A5A9DDDB75}">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Supporto Tecnico</a:t>
          </a:r>
        </a:p>
      </dgm:t>
    </dgm:pt>
    <dgm:pt modelId="{F24B2512-EFC3-4494-92F8-F4C2A580DD56}" type="parTrans" cxnId="{FE5FBCA8-5D6F-44E5-8DFA-D24300AECCE8}">
      <dgm:prSet/>
      <dgm:spPr/>
      <dgm:t>
        <a:bodyPr/>
        <a:lstStyle/>
        <a:p>
          <a:endParaRPr lang="it-IT"/>
        </a:p>
      </dgm:t>
    </dgm:pt>
    <dgm:pt modelId="{57612FAC-3D38-4A5A-9D54-8452999285F4}" type="sibTrans" cxnId="{FE5FBCA8-5D6F-44E5-8DFA-D24300AECCE8}">
      <dgm:prSet/>
      <dgm:spPr/>
      <dgm:t>
        <a:bodyPr/>
        <a:lstStyle/>
        <a:p>
          <a:endParaRPr lang="it-IT"/>
        </a:p>
      </dgm:t>
    </dgm:pt>
    <dgm:pt modelId="{5805825E-3BC3-4961-910E-96065463977D}">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Interventi Rilevanti</a:t>
          </a:r>
        </a:p>
      </dgm:t>
    </dgm:pt>
    <dgm:pt modelId="{263FA899-3C2D-4809-A47A-DB65911293C7}" type="parTrans" cxnId="{D6C89AE1-00A8-492D-888B-1E3DDC006D86}">
      <dgm:prSet/>
      <dgm:spPr/>
      <dgm:t>
        <a:bodyPr/>
        <a:lstStyle/>
        <a:p>
          <a:endParaRPr lang="it-IT"/>
        </a:p>
      </dgm:t>
    </dgm:pt>
    <dgm:pt modelId="{B58F1702-0059-4F53-9A60-77242457BBFA}" type="sibTrans" cxnId="{D6C89AE1-00A8-492D-888B-1E3DDC006D86}">
      <dgm:prSet/>
      <dgm:spPr/>
      <dgm:t>
        <a:bodyPr/>
        <a:lstStyle/>
        <a:p>
          <a:endParaRPr lang="it-IT"/>
        </a:p>
      </dgm:t>
    </dgm:pt>
    <dgm:pt modelId="{7A5D9CDD-E10F-422D-808B-815C691EF2E8}">
      <dgm:prSet phldrT="[Testo]" custT="1"/>
      <dgm:spPr>
        <a:solidFill>
          <a:schemeClr val="tx2"/>
        </a:solidFill>
      </dgm:spPr>
      <dgm:t>
        <a:bodyPr/>
        <a:lstStyle/>
        <a:p>
          <a:r>
            <a:rPr lang="it-IT" sz="700" dirty="0"/>
            <a:t>Investimenti e Produzione</a:t>
          </a:r>
        </a:p>
        <a:p>
          <a:r>
            <a:rPr lang="it-IT" sz="700" dirty="0"/>
            <a:t>NO</a:t>
          </a:r>
        </a:p>
      </dgm:t>
    </dgm:pt>
    <dgm:pt modelId="{089AE963-8402-4F38-908B-1CA814F78766}" type="parTrans" cxnId="{BEDD267B-EA80-4783-A782-86B96AAC5B03}">
      <dgm:prSet/>
      <dgm:spPr/>
      <dgm:t>
        <a:bodyPr/>
        <a:lstStyle/>
        <a:p>
          <a:endParaRPr lang="it-IT"/>
        </a:p>
      </dgm:t>
    </dgm:pt>
    <dgm:pt modelId="{63A1392B-D9B4-4604-ACED-CDD4B7E19D6E}" type="sibTrans" cxnId="{BEDD267B-EA80-4783-A782-86B96AAC5B03}">
      <dgm:prSet/>
      <dgm:spPr/>
      <dgm:t>
        <a:bodyPr/>
        <a:lstStyle/>
        <a:p>
          <a:endParaRPr lang="it-IT"/>
        </a:p>
      </dgm:t>
    </dgm:pt>
    <dgm:pt modelId="{2069E263-CA68-447A-859F-7068DC9AF2B6}" type="pres">
      <dgm:prSet presAssocID="{C782CD9B-2B4B-48D2-BF13-2B0D6056B78A}" presName="Name0" presStyleCnt="0">
        <dgm:presLayoutVars>
          <dgm:dir/>
          <dgm:animLvl val="lvl"/>
          <dgm:resizeHandles val="exact"/>
        </dgm:presLayoutVars>
      </dgm:prSet>
      <dgm:spPr/>
    </dgm:pt>
    <dgm:pt modelId="{F7031506-3856-48AD-BFC1-89D9660F7FF7}" type="pres">
      <dgm:prSet presAssocID="{DFCF748E-4FA2-4C04-B1DF-85DA1021BE5D}" presName="parTxOnly" presStyleLbl="node1" presStyleIdx="0" presStyleCnt="10">
        <dgm:presLayoutVars>
          <dgm:chMax val="0"/>
          <dgm:chPref val="0"/>
          <dgm:bulletEnabled val="1"/>
        </dgm:presLayoutVars>
      </dgm:prSet>
      <dgm:spPr/>
    </dgm:pt>
    <dgm:pt modelId="{420EBE6C-A91F-49B7-AF4C-29A127D6266A}" type="pres">
      <dgm:prSet presAssocID="{A0ED7260-8442-4FBF-80B4-500E49A4F3AF}" presName="parTxOnlySpace" presStyleCnt="0"/>
      <dgm:spPr/>
    </dgm:pt>
    <dgm:pt modelId="{6C62160D-9EC9-4B84-8EFD-9C3E10FC055A}" type="pres">
      <dgm:prSet presAssocID="{B754C885-66E5-4615-BD33-B6EE917A035D}" presName="parTxOnly" presStyleLbl="node1" presStyleIdx="1" presStyleCnt="10">
        <dgm:presLayoutVars>
          <dgm:chMax val="0"/>
          <dgm:chPref val="0"/>
          <dgm:bulletEnabled val="1"/>
        </dgm:presLayoutVars>
      </dgm:prSet>
      <dgm:spPr/>
    </dgm:pt>
    <dgm:pt modelId="{6415A264-B3C7-41A6-9BA0-D0AD6AE1DACB}" type="pres">
      <dgm:prSet presAssocID="{79AAED35-18A8-4347-A2B8-6AAE8B34BA56}" presName="parTxOnlySpace" presStyleCnt="0"/>
      <dgm:spPr/>
    </dgm:pt>
    <dgm:pt modelId="{636F50A3-8EFE-4C08-B6BE-284B03274F0B}" type="pres">
      <dgm:prSet presAssocID="{72FFD339-6A5F-4ED7-B529-6155AF8C35BB}" presName="parTxOnly" presStyleLbl="node1" presStyleIdx="2" presStyleCnt="10">
        <dgm:presLayoutVars>
          <dgm:chMax val="0"/>
          <dgm:chPref val="0"/>
          <dgm:bulletEnabled val="1"/>
        </dgm:presLayoutVars>
      </dgm:prSet>
      <dgm:spPr/>
    </dgm:pt>
    <dgm:pt modelId="{B0C5D3FB-8180-4CC6-9F14-5042E96FD8E3}" type="pres">
      <dgm:prSet presAssocID="{A3B7292F-5113-4C29-982F-BC1D14C7BE90}" presName="parTxOnlySpace" presStyleCnt="0"/>
      <dgm:spPr/>
    </dgm:pt>
    <dgm:pt modelId="{6BB9B9CD-B911-4E33-8045-BE6A8D7C5B89}" type="pres">
      <dgm:prSet presAssocID="{9225496C-39D8-4F53-8BB5-1B069B40EB3E}" presName="parTxOnly" presStyleLbl="node1" presStyleIdx="3" presStyleCnt="10">
        <dgm:presLayoutVars>
          <dgm:chMax val="0"/>
          <dgm:chPref val="0"/>
          <dgm:bulletEnabled val="1"/>
        </dgm:presLayoutVars>
      </dgm:prSet>
      <dgm:spPr/>
    </dgm:pt>
    <dgm:pt modelId="{60B2C4AD-8A0D-4CB2-93A9-16C6C0E4BD5B}" type="pres">
      <dgm:prSet presAssocID="{1E3F53DD-2537-4C67-AA71-87081D444A81}" presName="parTxOnlySpace" presStyleCnt="0"/>
      <dgm:spPr/>
    </dgm:pt>
    <dgm:pt modelId="{A29D7AF6-34C9-459D-B160-0F8E7686BA2B}" type="pres">
      <dgm:prSet presAssocID="{2F442204-E894-4EB6-A3FA-953074E6D5F9}" presName="parTxOnly" presStyleLbl="node1" presStyleIdx="4" presStyleCnt="10">
        <dgm:presLayoutVars>
          <dgm:chMax val="0"/>
          <dgm:chPref val="0"/>
          <dgm:bulletEnabled val="1"/>
        </dgm:presLayoutVars>
      </dgm:prSet>
      <dgm:spPr/>
    </dgm:pt>
    <dgm:pt modelId="{7004503D-9639-442B-9C04-FB1247092C40}" type="pres">
      <dgm:prSet presAssocID="{07F51AA8-9070-4A56-AF24-8977CF9B6A80}" presName="parTxOnlySpace" presStyleCnt="0"/>
      <dgm:spPr/>
    </dgm:pt>
    <dgm:pt modelId="{A2199658-E72A-4294-AFD3-6892981EEB12}" type="pres">
      <dgm:prSet presAssocID="{7A5D9CDD-E10F-422D-808B-815C691EF2E8}" presName="parTxOnly" presStyleLbl="node1" presStyleIdx="5" presStyleCnt="10">
        <dgm:presLayoutVars>
          <dgm:chMax val="0"/>
          <dgm:chPref val="0"/>
          <dgm:bulletEnabled val="1"/>
        </dgm:presLayoutVars>
      </dgm:prSet>
      <dgm:spPr/>
    </dgm:pt>
    <dgm:pt modelId="{9B5C0F41-E4E2-4A3A-AA73-E3E4EB6ACD5E}" type="pres">
      <dgm:prSet presAssocID="{63A1392B-D9B4-4604-ACED-CDD4B7E19D6E}" presName="parTxOnlySpace" presStyleCnt="0"/>
      <dgm:spPr/>
    </dgm:pt>
    <dgm:pt modelId="{F9C55CAF-C1A3-4EFD-AD93-3CBF7E30E2FA}" type="pres">
      <dgm:prSet presAssocID="{56EC974B-4690-4A6A-B143-36A5A9DDDB75}" presName="parTxOnly" presStyleLbl="node1" presStyleIdx="6" presStyleCnt="10">
        <dgm:presLayoutVars>
          <dgm:chMax val="0"/>
          <dgm:chPref val="0"/>
          <dgm:bulletEnabled val="1"/>
        </dgm:presLayoutVars>
      </dgm:prSet>
      <dgm:spPr/>
    </dgm:pt>
    <dgm:pt modelId="{DDB26EDE-11AF-40B7-9C16-348181381393}" type="pres">
      <dgm:prSet presAssocID="{57612FAC-3D38-4A5A-9D54-8452999285F4}" presName="parTxOnlySpace" presStyleCnt="0"/>
      <dgm:spPr/>
    </dgm:pt>
    <dgm:pt modelId="{8CED6B9D-804A-4009-A04D-D699125D11F0}" type="pres">
      <dgm:prSet presAssocID="{A07A8528-D240-4AAE-BA81-005F6AD457F1}" presName="parTxOnly" presStyleLbl="node1" presStyleIdx="7" presStyleCnt="10">
        <dgm:presLayoutVars>
          <dgm:chMax val="0"/>
          <dgm:chPref val="0"/>
          <dgm:bulletEnabled val="1"/>
        </dgm:presLayoutVars>
      </dgm:prSet>
      <dgm:spPr/>
    </dgm:pt>
    <dgm:pt modelId="{C3D8151F-F75F-49EC-B6A3-4B15A8912918}" type="pres">
      <dgm:prSet presAssocID="{7D0C416E-0310-43FE-A0D6-735CD62199B6}" presName="parTxOnlySpace" presStyleCnt="0"/>
      <dgm:spPr/>
    </dgm:pt>
    <dgm:pt modelId="{0A5AB2D9-0A33-47A4-83C2-3990E2018CD9}" type="pres">
      <dgm:prSet presAssocID="{5805825E-3BC3-4961-910E-96065463977D}" presName="parTxOnly" presStyleLbl="node1" presStyleIdx="8" presStyleCnt="10">
        <dgm:presLayoutVars>
          <dgm:chMax val="0"/>
          <dgm:chPref val="0"/>
          <dgm:bulletEnabled val="1"/>
        </dgm:presLayoutVars>
      </dgm:prSet>
      <dgm:spPr/>
    </dgm:pt>
    <dgm:pt modelId="{5FE5E96A-0031-41D2-A1BE-2634D143793A}" type="pres">
      <dgm:prSet presAssocID="{B58F1702-0059-4F53-9A60-77242457BBFA}" presName="parTxOnlySpace" presStyleCnt="0"/>
      <dgm:spPr/>
    </dgm:pt>
    <dgm:pt modelId="{F2510710-7BA2-44B7-8AA7-1347717B483B}" type="pres">
      <dgm:prSet presAssocID="{2D51EAF0-C497-40E9-996D-2D0BC40F318C}" presName="parTxOnly" presStyleLbl="node1" presStyleIdx="9" presStyleCnt="10">
        <dgm:presLayoutVars>
          <dgm:chMax val="0"/>
          <dgm:chPref val="0"/>
          <dgm:bulletEnabled val="1"/>
        </dgm:presLayoutVars>
      </dgm:prSet>
      <dgm:spPr/>
    </dgm:pt>
  </dgm:ptLst>
  <dgm:cxnLst>
    <dgm:cxn modelId="{F8EA3703-CEE5-4162-AB46-CFFF8AC28B48}" srcId="{C782CD9B-2B4B-48D2-BF13-2B0D6056B78A}" destId="{B754C885-66E5-4615-BD33-B6EE917A035D}" srcOrd="1" destOrd="0" parTransId="{65812F9F-DD0E-4752-BF8B-D07282594751}" sibTransId="{79AAED35-18A8-4347-A2B8-6AAE8B34BA56}"/>
    <dgm:cxn modelId="{7BC9B318-E7A6-41F3-853C-1D1DFB2050EF}" srcId="{C782CD9B-2B4B-48D2-BF13-2B0D6056B78A}" destId="{2D51EAF0-C497-40E9-996D-2D0BC40F318C}" srcOrd="9" destOrd="0" parTransId="{43C509B8-DD3A-429A-ADC4-232D55259B3D}" sibTransId="{66A12237-9546-42D0-81C0-2C324670B743}"/>
    <dgm:cxn modelId="{1CAD851C-71AF-4627-8C0D-C17034C9B324}" type="presOf" srcId="{2F442204-E894-4EB6-A3FA-953074E6D5F9}" destId="{A29D7AF6-34C9-459D-B160-0F8E7686BA2B}" srcOrd="0" destOrd="0" presId="urn:microsoft.com/office/officeart/2005/8/layout/chevron1"/>
    <dgm:cxn modelId="{A4457D2E-6113-4EC8-969F-4BDAE90D9212}" type="presOf" srcId="{DFCF748E-4FA2-4C04-B1DF-85DA1021BE5D}" destId="{F7031506-3856-48AD-BFC1-89D9660F7FF7}" srcOrd="0" destOrd="0" presId="urn:microsoft.com/office/officeart/2005/8/layout/chevron1"/>
    <dgm:cxn modelId="{95030E3D-517F-4E16-B2C8-DD850A0D7C50}" type="presOf" srcId="{2D51EAF0-C497-40E9-996D-2D0BC40F318C}" destId="{F2510710-7BA2-44B7-8AA7-1347717B483B}" srcOrd="0" destOrd="0" presId="urn:microsoft.com/office/officeart/2005/8/layout/chevron1"/>
    <dgm:cxn modelId="{94A2B45D-2D69-4650-AFC3-C5574217F910}" srcId="{C782CD9B-2B4B-48D2-BF13-2B0D6056B78A}" destId="{9225496C-39D8-4F53-8BB5-1B069B40EB3E}" srcOrd="3" destOrd="0" parTransId="{D3A21DFB-000A-4FCE-9E9D-8516EBA4DD45}" sibTransId="{1E3F53DD-2537-4C67-AA71-87081D444A81}"/>
    <dgm:cxn modelId="{2126655F-5B73-473E-8787-76000F6714C5}" type="presOf" srcId="{5805825E-3BC3-4961-910E-96065463977D}" destId="{0A5AB2D9-0A33-47A4-83C2-3990E2018CD9}" srcOrd="0" destOrd="0" presId="urn:microsoft.com/office/officeart/2005/8/layout/chevron1"/>
    <dgm:cxn modelId="{A2018962-F10A-4966-A586-A945D3843EA8}" type="presOf" srcId="{C782CD9B-2B4B-48D2-BF13-2B0D6056B78A}" destId="{2069E263-CA68-447A-859F-7068DC9AF2B6}" srcOrd="0" destOrd="0" presId="urn:microsoft.com/office/officeart/2005/8/layout/chevron1"/>
    <dgm:cxn modelId="{6FD2AE64-BDEB-482D-ACF3-1D5403180A1E}" srcId="{C782CD9B-2B4B-48D2-BF13-2B0D6056B78A}" destId="{2F442204-E894-4EB6-A3FA-953074E6D5F9}" srcOrd="4" destOrd="0" parTransId="{9E6A019B-6886-407A-A3BB-1A2A8D416818}" sibTransId="{07F51AA8-9070-4A56-AF24-8977CF9B6A80}"/>
    <dgm:cxn modelId="{605E0268-5069-4084-BAB8-96600775CDFD}" type="presOf" srcId="{9225496C-39D8-4F53-8BB5-1B069B40EB3E}" destId="{6BB9B9CD-B911-4E33-8045-BE6A8D7C5B89}" srcOrd="0" destOrd="0" presId="urn:microsoft.com/office/officeart/2005/8/layout/chevron1"/>
    <dgm:cxn modelId="{BCE6C96A-45EE-4294-B8E1-8C8D19CCF786}" type="presOf" srcId="{B754C885-66E5-4615-BD33-B6EE917A035D}" destId="{6C62160D-9EC9-4B84-8EFD-9C3E10FC055A}" srcOrd="0" destOrd="0" presId="urn:microsoft.com/office/officeart/2005/8/layout/chevron1"/>
    <dgm:cxn modelId="{26EBEA4D-EFE1-4B02-A9BD-3CEAB6786475}" type="presOf" srcId="{72FFD339-6A5F-4ED7-B529-6155AF8C35BB}" destId="{636F50A3-8EFE-4C08-B6BE-284B03274F0B}" srcOrd="0" destOrd="0" presId="urn:microsoft.com/office/officeart/2005/8/layout/chevron1"/>
    <dgm:cxn modelId="{BEDD267B-EA80-4783-A782-86B96AAC5B03}" srcId="{C782CD9B-2B4B-48D2-BF13-2B0D6056B78A}" destId="{7A5D9CDD-E10F-422D-808B-815C691EF2E8}" srcOrd="5" destOrd="0" parTransId="{089AE963-8402-4F38-908B-1CA814F78766}" sibTransId="{63A1392B-D9B4-4604-ACED-CDD4B7E19D6E}"/>
    <dgm:cxn modelId="{7CA39D7C-3EAF-4D51-BA62-0C907E732982}" type="presOf" srcId="{A07A8528-D240-4AAE-BA81-005F6AD457F1}" destId="{8CED6B9D-804A-4009-A04D-D699125D11F0}" srcOrd="0" destOrd="0" presId="urn:microsoft.com/office/officeart/2005/8/layout/chevron1"/>
    <dgm:cxn modelId="{00387786-AF47-42AD-AC4D-E39E024A705B}" type="presOf" srcId="{56EC974B-4690-4A6A-B143-36A5A9DDDB75}" destId="{F9C55CAF-C1A3-4EFD-AD93-3CBF7E30E2FA}" srcOrd="0" destOrd="0" presId="urn:microsoft.com/office/officeart/2005/8/layout/chevron1"/>
    <dgm:cxn modelId="{92751D9D-02E3-45C2-978C-737085227C42}" srcId="{C782CD9B-2B4B-48D2-BF13-2B0D6056B78A}" destId="{DFCF748E-4FA2-4C04-B1DF-85DA1021BE5D}" srcOrd="0" destOrd="0" parTransId="{7DAF1956-B700-4203-9672-92E4451DCC31}" sibTransId="{A0ED7260-8442-4FBF-80B4-500E49A4F3AF}"/>
    <dgm:cxn modelId="{FE5FBCA8-5D6F-44E5-8DFA-D24300AECCE8}" srcId="{C782CD9B-2B4B-48D2-BF13-2B0D6056B78A}" destId="{56EC974B-4690-4A6A-B143-36A5A9DDDB75}" srcOrd="6" destOrd="0" parTransId="{F24B2512-EFC3-4494-92F8-F4C2A580DD56}" sibTransId="{57612FAC-3D38-4A5A-9D54-8452999285F4}"/>
    <dgm:cxn modelId="{3EB0E1B3-7830-4F74-9C95-E761A7C96A0B}" type="presOf" srcId="{7A5D9CDD-E10F-422D-808B-815C691EF2E8}" destId="{A2199658-E72A-4294-AFD3-6892981EEB12}" srcOrd="0" destOrd="0" presId="urn:microsoft.com/office/officeart/2005/8/layout/chevron1"/>
    <dgm:cxn modelId="{D6C89AE1-00A8-492D-888B-1E3DDC006D86}" srcId="{C782CD9B-2B4B-48D2-BF13-2B0D6056B78A}" destId="{5805825E-3BC3-4961-910E-96065463977D}" srcOrd="8" destOrd="0" parTransId="{263FA899-3C2D-4809-A47A-DB65911293C7}" sibTransId="{B58F1702-0059-4F53-9A60-77242457BBFA}"/>
    <dgm:cxn modelId="{C381E8F4-D0AE-4AD0-B8F1-4BDFF55901DE}" srcId="{C782CD9B-2B4B-48D2-BF13-2B0D6056B78A}" destId="{72FFD339-6A5F-4ED7-B529-6155AF8C35BB}" srcOrd="2" destOrd="0" parTransId="{ECFEA23F-DCCD-42C6-8706-10917CE3C2B0}" sibTransId="{A3B7292F-5113-4C29-982F-BC1D14C7BE90}"/>
    <dgm:cxn modelId="{C9F268FB-CB20-4E78-9CDC-F035D61B7E09}" srcId="{C782CD9B-2B4B-48D2-BF13-2B0D6056B78A}" destId="{A07A8528-D240-4AAE-BA81-005F6AD457F1}" srcOrd="7" destOrd="0" parTransId="{3C15A388-1B3D-47E8-B2CB-E67F7E1AFFF1}" sibTransId="{7D0C416E-0310-43FE-A0D6-735CD62199B6}"/>
    <dgm:cxn modelId="{F1F69944-F168-4DF8-8F9A-39F8E422CA7D}" type="presParOf" srcId="{2069E263-CA68-447A-859F-7068DC9AF2B6}" destId="{F7031506-3856-48AD-BFC1-89D9660F7FF7}" srcOrd="0" destOrd="0" presId="urn:microsoft.com/office/officeart/2005/8/layout/chevron1"/>
    <dgm:cxn modelId="{1693034D-A8F7-4BF3-BB12-8EF5DDE5243B}" type="presParOf" srcId="{2069E263-CA68-447A-859F-7068DC9AF2B6}" destId="{420EBE6C-A91F-49B7-AF4C-29A127D6266A}" srcOrd="1" destOrd="0" presId="urn:microsoft.com/office/officeart/2005/8/layout/chevron1"/>
    <dgm:cxn modelId="{7307F842-B584-4669-818D-3C9436D17A53}" type="presParOf" srcId="{2069E263-CA68-447A-859F-7068DC9AF2B6}" destId="{6C62160D-9EC9-4B84-8EFD-9C3E10FC055A}" srcOrd="2" destOrd="0" presId="urn:microsoft.com/office/officeart/2005/8/layout/chevron1"/>
    <dgm:cxn modelId="{EC337407-C9FF-49E1-83ED-F765F1D76A33}" type="presParOf" srcId="{2069E263-CA68-447A-859F-7068DC9AF2B6}" destId="{6415A264-B3C7-41A6-9BA0-D0AD6AE1DACB}" srcOrd="3" destOrd="0" presId="urn:microsoft.com/office/officeart/2005/8/layout/chevron1"/>
    <dgm:cxn modelId="{AA787BEC-8CEB-4EDF-94E5-D769FD45C474}" type="presParOf" srcId="{2069E263-CA68-447A-859F-7068DC9AF2B6}" destId="{636F50A3-8EFE-4C08-B6BE-284B03274F0B}" srcOrd="4" destOrd="0" presId="urn:microsoft.com/office/officeart/2005/8/layout/chevron1"/>
    <dgm:cxn modelId="{6ECDC710-51E9-44B0-8514-044B22D23469}" type="presParOf" srcId="{2069E263-CA68-447A-859F-7068DC9AF2B6}" destId="{B0C5D3FB-8180-4CC6-9F14-5042E96FD8E3}" srcOrd="5" destOrd="0" presId="urn:microsoft.com/office/officeart/2005/8/layout/chevron1"/>
    <dgm:cxn modelId="{7293DE82-8692-441C-A4EE-21F945F0C55C}" type="presParOf" srcId="{2069E263-CA68-447A-859F-7068DC9AF2B6}" destId="{6BB9B9CD-B911-4E33-8045-BE6A8D7C5B89}" srcOrd="6" destOrd="0" presId="urn:microsoft.com/office/officeart/2005/8/layout/chevron1"/>
    <dgm:cxn modelId="{5E22F077-D8F0-4BDE-A96A-7D395A7024E4}" type="presParOf" srcId="{2069E263-CA68-447A-859F-7068DC9AF2B6}" destId="{60B2C4AD-8A0D-4CB2-93A9-16C6C0E4BD5B}" srcOrd="7" destOrd="0" presId="urn:microsoft.com/office/officeart/2005/8/layout/chevron1"/>
    <dgm:cxn modelId="{E9E67209-8994-44F1-A0BA-256F0B8B0B10}" type="presParOf" srcId="{2069E263-CA68-447A-859F-7068DC9AF2B6}" destId="{A29D7AF6-34C9-459D-B160-0F8E7686BA2B}" srcOrd="8" destOrd="0" presId="urn:microsoft.com/office/officeart/2005/8/layout/chevron1"/>
    <dgm:cxn modelId="{045127E9-7399-4CAC-B9F2-460EDC1B2289}" type="presParOf" srcId="{2069E263-CA68-447A-859F-7068DC9AF2B6}" destId="{7004503D-9639-442B-9C04-FB1247092C40}" srcOrd="9" destOrd="0" presId="urn:microsoft.com/office/officeart/2005/8/layout/chevron1"/>
    <dgm:cxn modelId="{7E5DDC53-0196-4232-8BC3-6F1713301D2F}" type="presParOf" srcId="{2069E263-CA68-447A-859F-7068DC9AF2B6}" destId="{A2199658-E72A-4294-AFD3-6892981EEB12}" srcOrd="10" destOrd="0" presId="urn:microsoft.com/office/officeart/2005/8/layout/chevron1"/>
    <dgm:cxn modelId="{AAEE3A18-6C67-4854-9D38-D66D15E2ED4C}" type="presParOf" srcId="{2069E263-CA68-447A-859F-7068DC9AF2B6}" destId="{9B5C0F41-E4E2-4A3A-AA73-E3E4EB6ACD5E}" srcOrd="11" destOrd="0" presId="urn:microsoft.com/office/officeart/2005/8/layout/chevron1"/>
    <dgm:cxn modelId="{1B87E4AC-C674-4D93-BAB0-EEB03C0DEFE4}" type="presParOf" srcId="{2069E263-CA68-447A-859F-7068DC9AF2B6}" destId="{F9C55CAF-C1A3-4EFD-AD93-3CBF7E30E2FA}" srcOrd="12" destOrd="0" presId="urn:microsoft.com/office/officeart/2005/8/layout/chevron1"/>
    <dgm:cxn modelId="{A9B53B55-C6F4-49EB-9D9F-A5616090C3D4}" type="presParOf" srcId="{2069E263-CA68-447A-859F-7068DC9AF2B6}" destId="{DDB26EDE-11AF-40B7-9C16-348181381393}" srcOrd="13" destOrd="0" presId="urn:microsoft.com/office/officeart/2005/8/layout/chevron1"/>
    <dgm:cxn modelId="{1038F269-8305-4115-99A9-3B92BE8BD6FB}" type="presParOf" srcId="{2069E263-CA68-447A-859F-7068DC9AF2B6}" destId="{8CED6B9D-804A-4009-A04D-D699125D11F0}" srcOrd="14" destOrd="0" presId="urn:microsoft.com/office/officeart/2005/8/layout/chevron1"/>
    <dgm:cxn modelId="{463EEE9F-46EB-4073-BB96-7917D0C3CC7D}" type="presParOf" srcId="{2069E263-CA68-447A-859F-7068DC9AF2B6}" destId="{C3D8151F-F75F-49EC-B6A3-4B15A8912918}" srcOrd="15" destOrd="0" presId="urn:microsoft.com/office/officeart/2005/8/layout/chevron1"/>
    <dgm:cxn modelId="{B6E9C465-7A85-4F5F-A816-F7F797693ECE}" type="presParOf" srcId="{2069E263-CA68-447A-859F-7068DC9AF2B6}" destId="{0A5AB2D9-0A33-47A4-83C2-3990E2018CD9}" srcOrd="16" destOrd="0" presId="urn:microsoft.com/office/officeart/2005/8/layout/chevron1"/>
    <dgm:cxn modelId="{40FEDAA9-5571-48F7-B063-78D6CC652397}" type="presParOf" srcId="{2069E263-CA68-447A-859F-7068DC9AF2B6}" destId="{5FE5E96A-0031-41D2-A1BE-2634D143793A}" srcOrd="17" destOrd="0" presId="urn:microsoft.com/office/officeart/2005/8/layout/chevron1"/>
    <dgm:cxn modelId="{8635D4B8-C640-469C-B763-E90F4AF41463}" type="presParOf" srcId="{2069E263-CA68-447A-859F-7068DC9AF2B6}" destId="{F2510710-7BA2-44B7-8AA7-1347717B483B}" srcOrd="18"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C782CD9B-2B4B-48D2-BF13-2B0D6056B78A}"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it-IT"/>
        </a:p>
      </dgm:t>
    </dgm:pt>
    <dgm:pt modelId="{DFCF748E-4FA2-4C04-B1DF-85DA1021BE5D}">
      <dgm:prSet phldrT="[Testo]"/>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Rete viaria complessiva</a:t>
          </a:r>
        </a:p>
      </dgm:t>
    </dgm:pt>
    <dgm:pt modelId="{7DAF1956-B700-4203-9672-92E4451DCC31}" type="parTrans" cxnId="{92751D9D-02E3-45C2-978C-737085227C42}">
      <dgm:prSet/>
      <dgm:spPr/>
      <dgm:t>
        <a:bodyPr/>
        <a:lstStyle/>
        <a:p>
          <a:endParaRPr lang="it-IT"/>
        </a:p>
      </dgm:t>
    </dgm:pt>
    <dgm:pt modelId="{A0ED7260-8442-4FBF-80B4-500E49A4F3AF}" type="sibTrans" cxnId="{92751D9D-02E3-45C2-978C-737085227C42}">
      <dgm:prSet/>
      <dgm:spPr/>
      <dgm:t>
        <a:bodyPr/>
        <a:lstStyle/>
        <a:p>
          <a:endParaRPr lang="it-IT"/>
        </a:p>
      </dgm:t>
    </dgm:pt>
    <dgm:pt modelId="{B754C885-66E5-4615-BD33-B6EE917A035D}">
      <dgm:prSet phldrT="[Testo]"/>
      <dgm:spPr>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dgm:spPr>
      <dgm:t>
        <a:bodyPr/>
        <a:lstStyle/>
        <a:p>
          <a:r>
            <a:rPr lang="it-IT" dirty="0"/>
            <a:t>Risorse</a:t>
          </a:r>
        </a:p>
      </dgm:t>
    </dgm:pt>
    <dgm:pt modelId="{65812F9F-DD0E-4752-BF8B-D07282594751}" type="parTrans" cxnId="{F8EA3703-CEE5-4162-AB46-CFFF8AC28B48}">
      <dgm:prSet/>
      <dgm:spPr/>
      <dgm:t>
        <a:bodyPr/>
        <a:lstStyle/>
        <a:p>
          <a:endParaRPr lang="it-IT"/>
        </a:p>
      </dgm:t>
    </dgm:pt>
    <dgm:pt modelId="{79AAED35-18A8-4347-A2B8-6AAE8B34BA56}" type="sibTrans" cxnId="{F8EA3703-CEE5-4162-AB46-CFFF8AC28B48}">
      <dgm:prSet/>
      <dgm:spPr/>
      <dgm:t>
        <a:bodyPr/>
        <a:lstStyle/>
        <a:p>
          <a:endParaRPr lang="it-IT"/>
        </a:p>
      </dgm:t>
    </dgm:pt>
    <dgm:pt modelId="{9225496C-39D8-4F53-8BB5-1B069B40EB3E}">
      <dgm:prSet phldrT="[Testo]"/>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Affidamenti</a:t>
          </a:r>
        </a:p>
      </dgm:t>
    </dgm:pt>
    <dgm:pt modelId="{D3A21DFB-000A-4FCE-9E9D-8516EBA4DD45}" type="parTrans" cxnId="{94A2B45D-2D69-4650-AFC3-C5574217F910}">
      <dgm:prSet/>
      <dgm:spPr/>
      <dgm:t>
        <a:bodyPr/>
        <a:lstStyle/>
        <a:p>
          <a:endParaRPr lang="it-IT"/>
        </a:p>
      </dgm:t>
    </dgm:pt>
    <dgm:pt modelId="{1E3F53DD-2537-4C67-AA71-87081D444A81}" type="sibTrans" cxnId="{94A2B45D-2D69-4650-AFC3-C5574217F910}">
      <dgm:prSet/>
      <dgm:spPr/>
      <dgm:t>
        <a:bodyPr/>
        <a:lstStyle/>
        <a:p>
          <a:endParaRPr lang="it-IT"/>
        </a:p>
      </dgm:t>
    </dgm:pt>
    <dgm:pt modelId="{2F442204-E894-4EB6-A3FA-953074E6D5F9}">
      <dgm:prSet phldrT="[Testo]" custT="1"/>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sz="700" dirty="0"/>
            <a:t>Investimenti e Produzione</a:t>
          </a:r>
        </a:p>
        <a:p>
          <a:r>
            <a:rPr lang="it-IT" sz="700" dirty="0"/>
            <a:t>MP</a:t>
          </a:r>
        </a:p>
      </dgm:t>
    </dgm:pt>
    <dgm:pt modelId="{9E6A019B-6886-407A-A3BB-1A2A8D416818}" type="parTrans" cxnId="{6FD2AE64-BDEB-482D-ACF3-1D5403180A1E}">
      <dgm:prSet/>
      <dgm:spPr/>
      <dgm:t>
        <a:bodyPr/>
        <a:lstStyle/>
        <a:p>
          <a:endParaRPr lang="it-IT"/>
        </a:p>
      </dgm:t>
    </dgm:pt>
    <dgm:pt modelId="{07F51AA8-9070-4A56-AF24-8977CF9B6A80}" type="sibTrans" cxnId="{6FD2AE64-BDEB-482D-ACF3-1D5403180A1E}">
      <dgm:prSet/>
      <dgm:spPr/>
      <dgm:t>
        <a:bodyPr/>
        <a:lstStyle/>
        <a:p>
          <a:endParaRPr lang="it-IT"/>
        </a:p>
      </dgm:t>
    </dgm:pt>
    <dgm:pt modelId="{2D51EAF0-C497-40E9-996D-2D0BC40F318C}">
      <dgm:prSet phldrT="[Testo]"/>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Pagamenti</a:t>
          </a:r>
        </a:p>
      </dgm:t>
    </dgm:pt>
    <dgm:pt modelId="{43C509B8-DD3A-429A-ADC4-232D55259B3D}" type="parTrans" cxnId="{7BC9B318-E7A6-41F3-853C-1D1DFB2050EF}">
      <dgm:prSet/>
      <dgm:spPr/>
      <dgm:t>
        <a:bodyPr/>
        <a:lstStyle/>
        <a:p>
          <a:endParaRPr lang="it-IT"/>
        </a:p>
      </dgm:t>
    </dgm:pt>
    <dgm:pt modelId="{66A12237-9546-42D0-81C0-2C324670B743}" type="sibTrans" cxnId="{7BC9B318-E7A6-41F3-853C-1D1DFB2050EF}">
      <dgm:prSet/>
      <dgm:spPr/>
      <dgm:t>
        <a:bodyPr/>
        <a:lstStyle/>
        <a:p>
          <a:endParaRPr lang="it-IT"/>
        </a:p>
      </dgm:t>
    </dgm:pt>
    <dgm:pt modelId="{72FFD339-6A5F-4ED7-B529-6155AF8C35BB}">
      <dgm:prSet/>
      <dgm:spPr>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dgm:spPr>
      <dgm:t>
        <a:bodyPr/>
        <a:lstStyle/>
        <a:p>
          <a:r>
            <a:rPr lang="it-IT" dirty="0" err="1"/>
            <a:t>soc</a:t>
          </a:r>
          <a:endParaRPr lang="it-IT" dirty="0"/>
        </a:p>
      </dgm:t>
    </dgm:pt>
    <dgm:pt modelId="{ECFEA23F-DCCD-42C6-8706-10917CE3C2B0}" type="parTrans" cxnId="{C381E8F4-D0AE-4AD0-B8F1-4BDFF55901DE}">
      <dgm:prSet/>
      <dgm:spPr/>
      <dgm:t>
        <a:bodyPr/>
        <a:lstStyle/>
        <a:p>
          <a:endParaRPr lang="it-IT"/>
        </a:p>
      </dgm:t>
    </dgm:pt>
    <dgm:pt modelId="{A3B7292F-5113-4C29-982F-BC1D14C7BE90}" type="sibTrans" cxnId="{C381E8F4-D0AE-4AD0-B8F1-4BDFF55901DE}">
      <dgm:prSet/>
      <dgm:spPr/>
      <dgm:t>
        <a:bodyPr/>
        <a:lstStyle/>
        <a:p>
          <a:endParaRPr lang="it-IT"/>
        </a:p>
      </dgm:t>
    </dgm:pt>
    <dgm:pt modelId="{A07A8528-D240-4AAE-BA81-005F6AD457F1}">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Ispezione Opere D’arte</a:t>
          </a:r>
        </a:p>
      </dgm:t>
    </dgm:pt>
    <dgm:pt modelId="{3C15A388-1B3D-47E8-B2CB-E67F7E1AFFF1}" type="parTrans" cxnId="{C9F268FB-CB20-4E78-9CDC-F035D61B7E09}">
      <dgm:prSet/>
      <dgm:spPr/>
      <dgm:t>
        <a:bodyPr/>
        <a:lstStyle/>
        <a:p>
          <a:endParaRPr lang="it-IT"/>
        </a:p>
      </dgm:t>
    </dgm:pt>
    <dgm:pt modelId="{7D0C416E-0310-43FE-A0D6-735CD62199B6}" type="sibTrans" cxnId="{C9F268FB-CB20-4E78-9CDC-F035D61B7E09}">
      <dgm:prSet/>
      <dgm:spPr/>
      <dgm:t>
        <a:bodyPr/>
        <a:lstStyle/>
        <a:p>
          <a:endParaRPr lang="it-IT"/>
        </a:p>
      </dgm:t>
    </dgm:pt>
    <dgm:pt modelId="{56EC974B-4690-4A6A-B143-36A5A9DDDB75}">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Supporto Tecnico</a:t>
          </a:r>
        </a:p>
      </dgm:t>
    </dgm:pt>
    <dgm:pt modelId="{F24B2512-EFC3-4494-92F8-F4C2A580DD56}" type="parTrans" cxnId="{FE5FBCA8-5D6F-44E5-8DFA-D24300AECCE8}">
      <dgm:prSet/>
      <dgm:spPr/>
      <dgm:t>
        <a:bodyPr/>
        <a:lstStyle/>
        <a:p>
          <a:endParaRPr lang="it-IT"/>
        </a:p>
      </dgm:t>
    </dgm:pt>
    <dgm:pt modelId="{57612FAC-3D38-4A5A-9D54-8452999285F4}" type="sibTrans" cxnId="{FE5FBCA8-5D6F-44E5-8DFA-D24300AECCE8}">
      <dgm:prSet/>
      <dgm:spPr/>
      <dgm:t>
        <a:bodyPr/>
        <a:lstStyle/>
        <a:p>
          <a:endParaRPr lang="it-IT"/>
        </a:p>
      </dgm:t>
    </dgm:pt>
    <dgm:pt modelId="{5805825E-3BC3-4961-910E-96065463977D}">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Interventi Rilevanti</a:t>
          </a:r>
        </a:p>
      </dgm:t>
    </dgm:pt>
    <dgm:pt modelId="{263FA899-3C2D-4809-A47A-DB65911293C7}" type="parTrans" cxnId="{D6C89AE1-00A8-492D-888B-1E3DDC006D86}">
      <dgm:prSet/>
      <dgm:spPr/>
      <dgm:t>
        <a:bodyPr/>
        <a:lstStyle/>
        <a:p>
          <a:endParaRPr lang="it-IT"/>
        </a:p>
      </dgm:t>
    </dgm:pt>
    <dgm:pt modelId="{B58F1702-0059-4F53-9A60-77242457BBFA}" type="sibTrans" cxnId="{D6C89AE1-00A8-492D-888B-1E3DDC006D86}">
      <dgm:prSet/>
      <dgm:spPr/>
      <dgm:t>
        <a:bodyPr/>
        <a:lstStyle/>
        <a:p>
          <a:endParaRPr lang="it-IT"/>
        </a:p>
      </dgm:t>
    </dgm:pt>
    <dgm:pt modelId="{7A5D9CDD-E10F-422D-808B-815C691EF2E8}">
      <dgm:prSet phldrT="[Testo]" custT="1"/>
      <dgm:spPr>
        <a:solidFill>
          <a:schemeClr val="tx2"/>
        </a:solidFill>
      </dgm:spPr>
      <dgm:t>
        <a:bodyPr/>
        <a:lstStyle/>
        <a:p>
          <a:r>
            <a:rPr lang="it-IT" sz="700" dirty="0"/>
            <a:t>Investimenti e Produzione</a:t>
          </a:r>
        </a:p>
        <a:p>
          <a:r>
            <a:rPr lang="it-IT" sz="700" dirty="0"/>
            <a:t>NO</a:t>
          </a:r>
        </a:p>
      </dgm:t>
    </dgm:pt>
    <dgm:pt modelId="{089AE963-8402-4F38-908B-1CA814F78766}" type="parTrans" cxnId="{BEDD267B-EA80-4783-A782-86B96AAC5B03}">
      <dgm:prSet/>
      <dgm:spPr/>
      <dgm:t>
        <a:bodyPr/>
        <a:lstStyle/>
        <a:p>
          <a:endParaRPr lang="it-IT"/>
        </a:p>
      </dgm:t>
    </dgm:pt>
    <dgm:pt modelId="{63A1392B-D9B4-4604-ACED-CDD4B7E19D6E}" type="sibTrans" cxnId="{BEDD267B-EA80-4783-A782-86B96AAC5B03}">
      <dgm:prSet/>
      <dgm:spPr/>
      <dgm:t>
        <a:bodyPr/>
        <a:lstStyle/>
        <a:p>
          <a:endParaRPr lang="it-IT"/>
        </a:p>
      </dgm:t>
    </dgm:pt>
    <dgm:pt modelId="{2069E263-CA68-447A-859F-7068DC9AF2B6}" type="pres">
      <dgm:prSet presAssocID="{C782CD9B-2B4B-48D2-BF13-2B0D6056B78A}" presName="Name0" presStyleCnt="0">
        <dgm:presLayoutVars>
          <dgm:dir/>
          <dgm:animLvl val="lvl"/>
          <dgm:resizeHandles val="exact"/>
        </dgm:presLayoutVars>
      </dgm:prSet>
      <dgm:spPr/>
    </dgm:pt>
    <dgm:pt modelId="{F7031506-3856-48AD-BFC1-89D9660F7FF7}" type="pres">
      <dgm:prSet presAssocID="{DFCF748E-4FA2-4C04-B1DF-85DA1021BE5D}" presName="parTxOnly" presStyleLbl="node1" presStyleIdx="0" presStyleCnt="10">
        <dgm:presLayoutVars>
          <dgm:chMax val="0"/>
          <dgm:chPref val="0"/>
          <dgm:bulletEnabled val="1"/>
        </dgm:presLayoutVars>
      </dgm:prSet>
      <dgm:spPr/>
    </dgm:pt>
    <dgm:pt modelId="{420EBE6C-A91F-49B7-AF4C-29A127D6266A}" type="pres">
      <dgm:prSet presAssocID="{A0ED7260-8442-4FBF-80B4-500E49A4F3AF}" presName="parTxOnlySpace" presStyleCnt="0"/>
      <dgm:spPr/>
    </dgm:pt>
    <dgm:pt modelId="{6C62160D-9EC9-4B84-8EFD-9C3E10FC055A}" type="pres">
      <dgm:prSet presAssocID="{B754C885-66E5-4615-BD33-B6EE917A035D}" presName="parTxOnly" presStyleLbl="node1" presStyleIdx="1" presStyleCnt="10">
        <dgm:presLayoutVars>
          <dgm:chMax val="0"/>
          <dgm:chPref val="0"/>
          <dgm:bulletEnabled val="1"/>
        </dgm:presLayoutVars>
      </dgm:prSet>
      <dgm:spPr/>
    </dgm:pt>
    <dgm:pt modelId="{6415A264-B3C7-41A6-9BA0-D0AD6AE1DACB}" type="pres">
      <dgm:prSet presAssocID="{79AAED35-18A8-4347-A2B8-6AAE8B34BA56}" presName="parTxOnlySpace" presStyleCnt="0"/>
      <dgm:spPr/>
    </dgm:pt>
    <dgm:pt modelId="{636F50A3-8EFE-4C08-B6BE-284B03274F0B}" type="pres">
      <dgm:prSet presAssocID="{72FFD339-6A5F-4ED7-B529-6155AF8C35BB}" presName="parTxOnly" presStyleLbl="node1" presStyleIdx="2" presStyleCnt="10">
        <dgm:presLayoutVars>
          <dgm:chMax val="0"/>
          <dgm:chPref val="0"/>
          <dgm:bulletEnabled val="1"/>
        </dgm:presLayoutVars>
      </dgm:prSet>
      <dgm:spPr/>
    </dgm:pt>
    <dgm:pt modelId="{B0C5D3FB-8180-4CC6-9F14-5042E96FD8E3}" type="pres">
      <dgm:prSet presAssocID="{A3B7292F-5113-4C29-982F-BC1D14C7BE90}" presName="parTxOnlySpace" presStyleCnt="0"/>
      <dgm:spPr/>
    </dgm:pt>
    <dgm:pt modelId="{6BB9B9CD-B911-4E33-8045-BE6A8D7C5B89}" type="pres">
      <dgm:prSet presAssocID="{9225496C-39D8-4F53-8BB5-1B069B40EB3E}" presName="parTxOnly" presStyleLbl="node1" presStyleIdx="3" presStyleCnt="10">
        <dgm:presLayoutVars>
          <dgm:chMax val="0"/>
          <dgm:chPref val="0"/>
          <dgm:bulletEnabled val="1"/>
        </dgm:presLayoutVars>
      </dgm:prSet>
      <dgm:spPr/>
    </dgm:pt>
    <dgm:pt modelId="{60B2C4AD-8A0D-4CB2-93A9-16C6C0E4BD5B}" type="pres">
      <dgm:prSet presAssocID="{1E3F53DD-2537-4C67-AA71-87081D444A81}" presName="parTxOnlySpace" presStyleCnt="0"/>
      <dgm:spPr/>
    </dgm:pt>
    <dgm:pt modelId="{A29D7AF6-34C9-459D-B160-0F8E7686BA2B}" type="pres">
      <dgm:prSet presAssocID="{2F442204-E894-4EB6-A3FA-953074E6D5F9}" presName="parTxOnly" presStyleLbl="node1" presStyleIdx="4" presStyleCnt="10">
        <dgm:presLayoutVars>
          <dgm:chMax val="0"/>
          <dgm:chPref val="0"/>
          <dgm:bulletEnabled val="1"/>
        </dgm:presLayoutVars>
      </dgm:prSet>
      <dgm:spPr/>
    </dgm:pt>
    <dgm:pt modelId="{7004503D-9639-442B-9C04-FB1247092C40}" type="pres">
      <dgm:prSet presAssocID="{07F51AA8-9070-4A56-AF24-8977CF9B6A80}" presName="parTxOnlySpace" presStyleCnt="0"/>
      <dgm:spPr/>
    </dgm:pt>
    <dgm:pt modelId="{A2199658-E72A-4294-AFD3-6892981EEB12}" type="pres">
      <dgm:prSet presAssocID="{7A5D9CDD-E10F-422D-808B-815C691EF2E8}" presName="parTxOnly" presStyleLbl="node1" presStyleIdx="5" presStyleCnt="10">
        <dgm:presLayoutVars>
          <dgm:chMax val="0"/>
          <dgm:chPref val="0"/>
          <dgm:bulletEnabled val="1"/>
        </dgm:presLayoutVars>
      </dgm:prSet>
      <dgm:spPr/>
    </dgm:pt>
    <dgm:pt modelId="{9B5C0F41-E4E2-4A3A-AA73-E3E4EB6ACD5E}" type="pres">
      <dgm:prSet presAssocID="{63A1392B-D9B4-4604-ACED-CDD4B7E19D6E}" presName="parTxOnlySpace" presStyleCnt="0"/>
      <dgm:spPr/>
    </dgm:pt>
    <dgm:pt modelId="{F9C55CAF-C1A3-4EFD-AD93-3CBF7E30E2FA}" type="pres">
      <dgm:prSet presAssocID="{56EC974B-4690-4A6A-B143-36A5A9DDDB75}" presName="parTxOnly" presStyleLbl="node1" presStyleIdx="6" presStyleCnt="10">
        <dgm:presLayoutVars>
          <dgm:chMax val="0"/>
          <dgm:chPref val="0"/>
          <dgm:bulletEnabled val="1"/>
        </dgm:presLayoutVars>
      </dgm:prSet>
      <dgm:spPr/>
    </dgm:pt>
    <dgm:pt modelId="{DDB26EDE-11AF-40B7-9C16-348181381393}" type="pres">
      <dgm:prSet presAssocID="{57612FAC-3D38-4A5A-9D54-8452999285F4}" presName="parTxOnlySpace" presStyleCnt="0"/>
      <dgm:spPr/>
    </dgm:pt>
    <dgm:pt modelId="{8CED6B9D-804A-4009-A04D-D699125D11F0}" type="pres">
      <dgm:prSet presAssocID="{A07A8528-D240-4AAE-BA81-005F6AD457F1}" presName="parTxOnly" presStyleLbl="node1" presStyleIdx="7" presStyleCnt="10">
        <dgm:presLayoutVars>
          <dgm:chMax val="0"/>
          <dgm:chPref val="0"/>
          <dgm:bulletEnabled val="1"/>
        </dgm:presLayoutVars>
      </dgm:prSet>
      <dgm:spPr/>
    </dgm:pt>
    <dgm:pt modelId="{C3D8151F-F75F-49EC-B6A3-4B15A8912918}" type="pres">
      <dgm:prSet presAssocID="{7D0C416E-0310-43FE-A0D6-735CD62199B6}" presName="parTxOnlySpace" presStyleCnt="0"/>
      <dgm:spPr/>
    </dgm:pt>
    <dgm:pt modelId="{0A5AB2D9-0A33-47A4-83C2-3990E2018CD9}" type="pres">
      <dgm:prSet presAssocID="{5805825E-3BC3-4961-910E-96065463977D}" presName="parTxOnly" presStyleLbl="node1" presStyleIdx="8" presStyleCnt="10">
        <dgm:presLayoutVars>
          <dgm:chMax val="0"/>
          <dgm:chPref val="0"/>
          <dgm:bulletEnabled val="1"/>
        </dgm:presLayoutVars>
      </dgm:prSet>
      <dgm:spPr/>
    </dgm:pt>
    <dgm:pt modelId="{5FE5E96A-0031-41D2-A1BE-2634D143793A}" type="pres">
      <dgm:prSet presAssocID="{B58F1702-0059-4F53-9A60-77242457BBFA}" presName="parTxOnlySpace" presStyleCnt="0"/>
      <dgm:spPr/>
    </dgm:pt>
    <dgm:pt modelId="{F2510710-7BA2-44B7-8AA7-1347717B483B}" type="pres">
      <dgm:prSet presAssocID="{2D51EAF0-C497-40E9-996D-2D0BC40F318C}" presName="parTxOnly" presStyleLbl="node1" presStyleIdx="9" presStyleCnt="10">
        <dgm:presLayoutVars>
          <dgm:chMax val="0"/>
          <dgm:chPref val="0"/>
          <dgm:bulletEnabled val="1"/>
        </dgm:presLayoutVars>
      </dgm:prSet>
      <dgm:spPr/>
    </dgm:pt>
  </dgm:ptLst>
  <dgm:cxnLst>
    <dgm:cxn modelId="{F8EA3703-CEE5-4162-AB46-CFFF8AC28B48}" srcId="{C782CD9B-2B4B-48D2-BF13-2B0D6056B78A}" destId="{B754C885-66E5-4615-BD33-B6EE917A035D}" srcOrd="1" destOrd="0" parTransId="{65812F9F-DD0E-4752-BF8B-D07282594751}" sibTransId="{79AAED35-18A8-4347-A2B8-6AAE8B34BA56}"/>
    <dgm:cxn modelId="{7BC9B318-E7A6-41F3-853C-1D1DFB2050EF}" srcId="{C782CD9B-2B4B-48D2-BF13-2B0D6056B78A}" destId="{2D51EAF0-C497-40E9-996D-2D0BC40F318C}" srcOrd="9" destOrd="0" parTransId="{43C509B8-DD3A-429A-ADC4-232D55259B3D}" sibTransId="{66A12237-9546-42D0-81C0-2C324670B743}"/>
    <dgm:cxn modelId="{E3272F22-BD06-4A04-B8D8-00324BE43F91}" type="presOf" srcId="{A07A8528-D240-4AAE-BA81-005F6AD457F1}" destId="{8CED6B9D-804A-4009-A04D-D699125D11F0}" srcOrd="0" destOrd="0" presId="urn:microsoft.com/office/officeart/2005/8/layout/chevron1"/>
    <dgm:cxn modelId="{C150CA28-981D-4C8E-886B-BC1982BEE7BC}" type="presOf" srcId="{DFCF748E-4FA2-4C04-B1DF-85DA1021BE5D}" destId="{F7031506-3856-48AD-BFC1-89D9660F7FF7}" srcOrd="0" destOrd="0" presId="urn:microsoft.com/office/officeart/2005/8/layout/chevron1"/>
    <dgm:cxn modelId="{B858102B-A071-489E-9C6D-3B0BF1DEF198}" type="presOf" srcId="{7A5D9CDD-E10F-422D-808B-815C691EF2E8}" destId="{A2199658-E72A-4294-AFD3-6892981EEB12}" srcOrd="0" destOrd="0" presId="urn:microsoft.com/office/officeart/2005/8/layout/chevron1"/>
    <dgm:cxn modelId="{7F80A92E-0B0D-484A-B35B-AF6746E530B2}" type="presOf" srcId="{9225496C-39D8-4F53-8BB5-1B069B40EB3E}" destId="{6BB9B9CD-B911-4E33-8045-BE6A8D7C5B89}" srcOrd="0" destOrd="0" presId="urn:microsoft.com/office/officeart/2005/8/layout/chevron1"/>
    <dgm:cxn modelId="{94A2B45D-2D69-4650-AFC3-C5574217F910}" srcId="{C782CD9B-2B4B-48D2-BF13-2B0D6056B78A}" destId="{9225496C-39D8-4F53-8BB5-1B069B40EB3E}" srcOrd="3" destOrd="0" parTransId="{D3A21DFB-000A-4FCE-9E9D-8516EBA4DD45}" sibTransId="{1E3F53DD-2537-4C67-AA71-87081D444A81}"/>
    <dgm:cxn modelId="{59A63941-F218-44C7-87F3-94109B4299B2}" type="presOf" srcId="{56EC974B-4690-4A6A-B143-36A5A9DDDB75}" destId="{F9C55CAF-C1A3-4EFD-AD93-3CBF7E30E2FA}" srcOrd="0" destOrd="0" presId="urn:microsoft.com/office/officeart/2005/8/layout/chevron1"/>
    <dgm:cxn modelId="{6FD2AE64-BDEB-482D-ACF3-1D5403180A1E}" srcId="{C782CD9B-2B4B-48D2-BF13-2B0D6056B78A}" destId="{2F442204-E894-4EB6-A3FA-953074E6D5F9}" srcOrd="4" destOrd="0" parTransId="{9E6A019B-6886-407A-A3BB-1A2A8D416818}" sibTransId="{07F51AA8-9070-4A56-AF24-8977CF9B6A80}"/>
    <dgm:cxn modelId="{BEDD267B-EA80-4783-A782-86B96AAC5B03}" srcId="{C782CD9B-2B4B-48D2-BF13-2B0D6056B78A}" destId="{7A5D9CDD-E10F-422D-808B-815C691EF2E8}" srcOrd="5" destOrd="0" parTransId="{089AE963-8402-4F38-908B-1CA814F78766}" sibTransId="{63A1392B-D9B4-4604-ACED-CDD4B7E19D6E}"/>
    <dgm:cxn modelId="{D6CB9296-1AB6-4C72-AECE-B039239993C4}" type="presOf" srcId="{72FFD339-6A5F-4ED7-B529-6155AF8C35BB}" destId="{636F50A3-8EFE-4C08-B6BE-284B03274F0B}" srcOrd="0" destOrd="0" presId="urn:microsoft.com/office/officeart/2005/8/layout/chevron1"/>
    <dgm:cxn modelId="{92751D9D-02E3-45C2-978C-737085227C42}" srcId="{C782CD9B-2B4B-48D2-BF13-2B0D6056B78A}" destId="{DFCF748E-4FA2-4C04-B1DF-85DA1021BE5D}" srcOrd="0" destOrd="0" parTransId="{7DAF1956-B700-4203-9672-92E4451DCC31}" sibTransId="{A0ED7260-8442-4FBF-80B4-500E49A4F3AF}"/>
    <dgm:cxn modelId="{41AF92A0-14BD-432C-A2B3-3CD78566BD6A}" type="presOf" srcId="{5805825E-3BC3-4961-910E-96065463977D}" destId="{0A5AB2D9-0A33-47A4-83C2-3990E2018CD9}" srcOrd="0" destOrd="0" presId="urn:microsoft.com/office/officeart/2005/8/layout/chevron1"/>
    <dgm:cxn modelId="{FE5FBCA8-5D6F-44E5-8DFA-D24300AECCE8}" srcId="{C782CD9B-2B4B-48D2-BF13-2B0D6056B78A}" destId="{56EC974B-4690-4A6A-B143-36A5A9DDDB75}" srcOrd="6" destOrd="0" parTransId="{F24B2512-EFC3-4494-92F8-F4C2A580DD56}" sibTransId="{57612FAC-3D38-4A5A-9D54-8452999285F4}"/>
    <dgm:cxn modelId="{58F777B8-CF0E-4F3C-BAC4-71F5877F5B13}" type="presOf" srcId="{2D51EAF0-C497-40E9-996D-2D0BC40F318C}" destId="{F2510710-7BA2-44B7-8AA7-1347717B483B}" srcOrd="0" destOrd="0" presId="urn:microsoft.com/office/officeart/2005/8/layout/chevron1"/>
    <dgm:cxn modelId="{599970B9-C08F-4C18-BEBD-34F2ED18280D}" type="presOf" srcId="{2F442204-E894-4EB6-A3FA-953074E6D5F9}" destId="{A29D7AF6-34C9-459D-B160-0F8E7686BA2B}" srcOrd="0" destOrd="0" presId="urn:microsoft.com/office/officeart/2005/8/layout/chevron1"/>
    <dgm:cxn modelId="{44A62DDB-F520-46C3-AB08-3513AFF6AF9A}" type="presOf" srcId="{C782CD9B-2B4B-48D2-BF13-2B0D6056B78A}" destId="{2069E263-CA68-447A-859F-7068DC9AF2B6}" srcOrd="0" destOrd="0" presId="urn:microsoft.com/office/officeart/2005/8/layout/chevron1"/>
    <dgm:cxn modelId="{D6C89AE1-00A8-492D-888B-1E3DDC006D86}" srcId="{C782CD9B-2B4B-48D2-BF13-2B0D6056B78A}" destId="{5805825E-3BC3-4961-910E-96065463977D}" srcOrd="8" destOrd="0" parTransId="{263FA899-3C2D-4809-A47A-DB65911293C7}" sibTransId="{B58F1702-0059-4F53-9A60-77242457BBFA}"/>
    <dgm:cxn modelId="{7F30D8EB-A15D-4982-B78A-BDCB0F815B9A}" type="presOf" srcId="{B754C885-66E5-4615-BD33-B6EE917A035D}" destId="{6C62160D-9EC9-4B84-8EFD-9C3E10FC055A}" srcOrd="0" destOrd="0" presId="urn:microsoft.com/office/officeart/2005/8/layout/chevron1"/>
    <dgm:cxn modelId="{C381E8F4-D0AE-4AD0-B8F1-4BDFF55901DE}" srcId="{C782CD9B-2B4B-48D2-BF13-2B0D6056B78A}" destId="{72FFD339-6A5F-4ED7-B529-6155AF8C35BB}" srcOrd="2" destOrd="0" parTransId="{ECFEA23F-DCCD-42C6-8706-10917CE3C2B0}" sibTransId="{A3B7292F-5113-4C29-982F-BC1D14C7BE90}"/>
    <dgm:cxn modelId="{C9F268FB-CB20-4E78-9CDC-F035D61B7E09}" srcId="{C782CD9B-2B4B-48D2-BF13-2B0D6056B78A}" destId="{A07A8528-D240-4AAE-BA81-005F6AD457F1}" srcOrd="7" destOrd="0" parTransId="{3C15A388-1B3D-47E8-B2CB-E67F7E1AFFF1}" sibTransId="{7D0C416E-0310-43FE-A0D6-735CD62199B6}"/>
    <dgm:cxn modelId="{034343B6-12B3-4ED9-AC92-4514F0E6BDCB}" type="presParOf" srcId="{2069E263-CA68-447A-859F-7068DC9AF2B6}" destId="{F7031506-3856-48AD-BFC1-89D9660F7FF7}" srcOrd="0" destOrd="0" presId="urn:microsoft.com/office/officeart/2005/8/layout/chevron1"/>
    <dgm:cxn modelId="{A2D7618F-3998-4E1A-B11C-0AEE8E9CD1DA}" type="presParOf" srcId="{2069E263-CA68-447A-859F-7068DC9AF2B6}" destId="{420EBE6C-A91F-49B7-AF4C-29A127D6266A}" srcOrd="1" destOrd="0" presId="urn:microsoft.com/office/officeart/2005/8/layout/chevron1"/>
    <dgm:cxn modelId="{9D1A330D-9A0E-42F2-BF46-E13A9F947BAF}" type="presParOf" srcId="{2069E263-CA68-447A-859F-7068DC9AF2B6}" destId="{6C62160D-9EC9-4B84-8EFD-9C3E10FC055A}" srcOrd="2" destOrd="0" presId="urn:microsoft.com/office/officeart/2005/8/layout/chevron1"/>
    <dgm:cxn modelId="{75541E8D-428C-42B4-953E-91FFAE1CFF2F}" type="presParOf" srcId="{2069E263-CA68-447A-859F-7068DC9AF2B6}" destId="{6415A264-B3C7-41A6-9BA0-D0AD6AE1DACB}" srcOrd="3" destOrd="0" presId="urn:microsoft.com/office/officeart/2005/8/layout/chevron1"/>
    <dgm:cxn modelId="{845C48B2-0EF9-4AFD-A730-526EFFB3538E}" type="presParOf" srcId="{2069E263-CA68-447A-859F-7068DC9AF2B6}" destId="{636F50A3-8EFE-4C08-B6BE-284B03274F0B}" srcOrd="4" destOrd="0" presId="urn:microsoft.com/office/officeart/2005/8/layout/chevron1"/>
    <dgm:cxn modelId="{79B3B37B-63C8-40A7-83CA-5622ED04D1AC}" type="presParOf" srcId="{2069E263-CA68-447A-859F-7068DC9AF2B6}" destId="{B0C5D3FB-8180-4CC6-9F14-5042E96FD8E3}" srcOrd="5" destOrd="0" presId="urn:microsoft.com/office/officeart/2005/8/layout/chevron1"/>
    <dgm:cxn modelId="{5E3830B2-6FC4-4AC5-AD2B-101BCCEED464}" type="presParOf" srcId="{2069E263-CA68-447A-859F-7068DC9AF2B6}" destId="{6BB9B9CD-B911-4E33-8045-BE6A8D7C5B89}" srcOrd="6" destOrd="0" presId="urn:microsoft.com/office/officeart/2005/8/layout/chevron1"/>
    <dgm:cxn modelId="{A87885E3-6796-40AC-A42C-AB4E7FDC9F06}" type="presParOf" srcId="{2069E263-CA68-447A-859F-7068DC9AF2B6}" destId="{60B2C4AD-8A0D-4CB2-93A9-16C6C0E4BD5B}" srcOrd="7" destOrd="0" presId="urn:microsoft.com/office/officeart/2005/8/layout/chevron1"/>
    <dgm:cxn modelId="{44A86983-EDAD-46EC-A3E5-1019EBC3B59C}" type="presParOf" srcId="{2069E263-CA68-447A-859F-7068DC9AF2B6}" destId="{A29D7AF6-34C9-459D-B160-0F8E7686BA2B}" srcOrd="8" destOrd="0" presId="urn:microsoft.com/office/officeart/2005/8/layout/chevron1"/>
    <dgm:cxn modelId="{3A8D7C27-8921-45F8-880B-D962E08EE5CC}" type="presParOf" srcId="{2069E263-CA68-447A-859F-7068DC9AF2B6}" destId="{7004503D-9639-442B-9C04-FB1247092C40}" srcOrd="9" destOrd="0" presId="urn:microsoft.com/office/officeart/2005/8/layout/chevron1"/>
    <dgm:cxn modelId="{4A85DF65-B7CD-4B58-A633-3559381E7EBE}" type="presParOf" srcId="{2069E263-CA68-447A-859F-7068DC9AF2B6}" destId="{A2199658-E72A-4294-AFD3-6892981EEB12}" srcOrd="10" destOrd="0" presId="urn:microsoft.com/office/officeart/2005/8/layout/chevron1"/>
    <dgm:cxn modelId="{41B6BAAA-421B-48FE-942E-8AF13A29513E}" type="presParOf" srcId="{2069E263-CA68-447A-859F-7068DC9AF2B6}" destId="{9B5C0F41-E4E2-4A3A-AA73-E3E4EB6ACD5E}" srcOrd="11" destOrd="0" presId="urn:microsoft.com/office/officeart/2005/8/layout/chevron1"/>
    <dgm:cxn modelId="{C8C2A7D9-73B9-4DFC-B469-BA5184236688}" type="presParOf" srcId="{2069E263-CA68-447A-859F-7068DC9AF2B6}" destId="{F9C55CAF-C1A3-4EFD-AD93-3CBF7E30E2FA}" srcOrd="12" destOrd="0" presId="urn:microsoft.com/office/officeart/2005/8/layout/chevron1"/>
    <dgm:cxn modelId="{99A95753-88F1-413B-B444-CBB710C175DA}" type="presParOf" srcId="{2069E263-CA68-447A-859F-7068DC9AF2B6}" destId="{DDB26EDE-11AF-40B7-9C16-348181381393}" srcOrd="13" destOrd="0" presId="urn:microsoft.com/office/officeart/2005/8/layout/chevron1"/>
    <dgm:cxn modelId="{3F750647-227D-443F-A89B-08DE97343607}" type="presParOf" srcId="{2069E263-CA68-447A-859F-7068DC9AF2B6}" destId="{8CED6B9D-804A-4009-A04D-D699125D11F0}" srcOrd="14" destOrd="0" presId="urn:microsoft.com/office/officeart/2005/8/layout/chevron1"/>
    <dgm:cxn modelId="{E3D994F6-8FC1-44B3-845D-9B40C6214594}" type="presParOf" srcId="{2069E263-CA68-447A-859F-7068DC9AF2B6}" destId="{C3D8151F-F75F-49EC-B6A3-4B15A8912918}" srcOrd="15" destOrd="0" presId="urn:microsoft.com/office/officeart/2005/8/layout/chevron1"/>
    <dgm:cxn modelId="{BA7BF9DD-32F0-4EA9-9E36-693E63B63EAE}" type="presParOf" srcId="{2069E263-CA68-447A-859F-7068DC9AF2B6}" destId="{0A5AB2D9-0A33-47A4-83C2-3990E2018CD9}" srcOrd="16" destOrd="0" presId="urn:microsoft.com/office/officeart/2005/8/layout/chevron1"/>
    <dgm:cxn modelId="{2B949D6A-066D-4285-A93A-09A9703FA96B}" type="presParOf" srcId="{2069E263-CA68-447A-859F-7068DC9AF2B6}" destId="{5FE5E96A-0031-41D2-A1BE-2634D143793A}" srcOrd="17" destOrd="0" presId="urn:microsoft.com/office/officeart/2005/8/layout/chevron1"/>
    <dgm:cxn modelId="{DEA3F217-36F2-4496-AD27-5A7DA4BC2DC5}" type="presParOf" srcId="{2069E263-CA68-447A-859F-7068DC9AF2B6}" destId="{F2510710-7BA2-44B7-8AA7-1347717B483B}" srcOrd="18"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C782CD9B-2B4B-48D2-BF13-2B0D6056B78A}"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it-IT"/>
        </a:p>
      </dgm:t>
    </dgm:pt>
    <dgm:pt modelId="{DFCF748E-4FA2-4C04-B1DF-85DA1021BE5D}">
      <dgm:prSet phldrT="[Testo]"/>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Rete viaria complessiva</a:t>
          </a:r>
        </a:p>
      </dgm:t>
    </dgm:pt>
    <dgm:pt modelId="{7DAF1956-B700-4203-9672-92E4451DCC31}" type="parTrans" cxnId="{92751D9D-02E3-45C2-978C-737085227C42}">
      <dgm:prSet/>
      <dgm:spPr/>
      <dgm:t>
        <a:bodyPr/>
        <a:lstStyle/>
        <a:p>
          <a:endParaRPr lang="it-IT"/>
        </a:p>
      </dgm:t>
    </dgm:pt>
    <dgm:pt modelId="{A0ED7260-8442-4FBF-80B4-500E49A4F3AF}" type="sibTrans" cxnId="{92751D9D-02E3-45C2-978C-737085227C42}">
      <dgm:prSet/>
      <dgm:spPr/>
      <dgm:t>
        <a:bodyPr/>
        <a:lstStyle/>
        <a:p>
          <a:endParaRPr lang="it-IT"/>
        </a:p>
      </dgm:t>
    </dgm:pt>
    <dgm:pt modelId="{B754C885-66E5-4615-BD33-B6EE917A035D}">
      <dgm:prSet phldrT="[Testo]"/>
      <dgm:spPr>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dgm:spPr>
      <dgm:t>
        <a:bodyPr/>
        <a:lstStyle/>
        <a:p>
          <a:r>
            <a:rPr lang="it-IT" dirty="0"/>
            <a:t>Risorse</a:t>
          </a:r>
        </a:p>
      </dgm:t>
    </dgm:pt>
    <dgm:pt modelId="{65812F9F-DD0E-4752-BF8B-D07282594751}" type="parTrans" cxnId="{F8EA3703-CEE5-4162-AB46-CFFF8AC28B48}">
      <dgm:prSet/>
      <dgm:spPr/>
      <dgm:t>
        <a:bodyPr/>
        <a:lstStyle/>
        <a:p>
          <a:endParaRPr lang="it-IT"/>
        </a:p>
      </dgm:t>
    </dgm:pt>
    <dgm:pt modelId="{79AAED35-18A8-4347-A2B8-6AAE8B34BA56}" type="sibTrans" cxnId="{F8EA3703-CEE5-4162-AB46-CFFF8AC28B48}">
      <dgm:prSet/>
      <dgm:spPr/>
      <dgm:t>
        <a:bodyPr/>
        <a:lstStyle/>
        <a:p>
          <a:endParaRPr lang="it-IT"/>
        </a:p>
      </dgm:t>
    </dgm:pt>
    <dgm:pt modelId="{9225496C-39D8-4F53-8BB5-1B069B40EB3E}">
      <dgm:prSet phldrT="[Testo]"/>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Affidamenti</a:t>
          </a:r>
        </a:p>
      </dgm:t>
    </dgm:pt>
    <dgm:pt modelId="{D3A21DFB-000A-4FCE-9E9D-8516EBA4DD45}" type="parTrans" cxnId="{94A2B45D-2D69-4650-AFC3-C5574217F910}">
      <dgm:prSet/>
      <dgm:spPr/>
      <dgm:t>
        <a:bodyPr/>
        <a:lstStyle/>
        <a:p>
          <a:endParaRPr lang="it-IT"/>
        </a:p>
      </dgm:t>
    </dgm:pt>
    <dgm:pt modelId="{1E3F53DD-2537-4C67-AA71-87081D444A81}" type="sibTrans" cxnId="{94A2B45D-2D69-4650-AFC3-C5574217F910}">
      <dgm:prSet/>
      <dgm:spPr/>
      <dgm:t>
        <a:bodyPr/>
        <a:lstStyle/>
        <a:p>
          <a:endParaRPr lang="it-IT"/>
        </a:p>
      </dgm:t>
    </dgm:pt>
    <dgm:pt modelId="{2F442204-E894-4EB6-A3FA-953074E6D5F9}">
      <dgm:prSet phldrT="[Testo]" custT="1"/>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sz="700" dirty="0"/>
            <a:t>Investimenti e Produzione</a:t>
          </a:r>
        </a:p>
        <a:p>
          <a:r>
            <a:rPr lang="it-IT" sz="700" dirty="0"/>
            <a:t>MP</a:t>
          </a:r>
        </a:p>
      </dgm:t>
    </dgm:pt>
    <dgm:pt modelId="{9E6A019B-6886-407A-A3BB-1A2A8D416818}" type="parTrans" cxnId="{6FD2AE64-BDEB-482D-ACF3-1D5403180A1E}">
      <dgm:prSet/>
      <dgm:spPr/>
      <dgm:t>
        <a:bodyPr/>
        <a:lstStyle/>
        <a:p>
          <a:endParaRPr lang="it-IT"/>
        </a:p>
      </dgm:t>
    </dgm:pt>
    <dgm:pt modelId="{07F51AA8-9070-4A56-AF24-8977CF9B6A80}" type="sibTrans" cxnId="{6FD2AE64-BDEB-482D-ACF3-1D5403180A1E}">
      <dgm:prSet/>
      <dgm:spPr/>
      <dgm:t>
        <a:bodyPr/>
        <a:lstStyle/>
        <a:p>
          <a:endParaRPr lang="it-IT"/>
        </a:p>
      </dgm:t>
    </dgm:pt>
    <dgm:pt modelId="{2D51EAF0-C497-40E9-996D-2D0BC40F318C}">
      <dgm:prSet phldrT="[Testo]"/>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Pagamenti</a:t>
          </a:r>
        </a:p>
      </dgm:t>
    </dgm:pt>
    <dgm:pt modelId="{43C509B8-DD3A-429A-ADC4-232D55259B3D}" type="parTrans" cxnId="{7BC9B318-E7A6-41F3-853C-1D1DFB2050EF}">
      <dgm:prSet/>
      <dgm:spPr/>
      <dgm:t>
        <a:bodyPr/>
        <a:lstStyle/>
        <a:p>
          <a:endParaRPr lang="it-IT"/>
        </a:p>
      </dgm:t>
    </dgm:pt>
    <dgm:pt modelId="{66A12237-9546-42D0-81C0-2C324670B743}" type="sibTrans" cxnId="{7BC9B318-E7A6-41F3-853C-1D1DFB2050EF}">
      <dgm:prSet/>
      <dgm:spPr/>
      <dgm:t>
        <a:bodyPr/>
        <a:lstStyle/>
        <a:p>
          <a:endParaRPr lang="it-IT"/>
        </a:p>
      </dgm:t>
    </dgm:pt>
    <dgm:pt modelId="{72FFD339-6A5F-4ED7-B529-6155AF8C35BB}">
      <dgm:prSet/>
      <dgm:spPr>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dgm:spPr>
      <dgm:t>
        <a:bodyPr/>
        <a:lstStyle/>
        <a:p>
          <a:r>
            <a:rPr lang="it-IT" dirty="0" err="1"/>
            <a:t>soc</a:t>
          </a:r>
          <a:endParaRPr lang="it-IT" dirty="0"/>
        </a:p>
      </dgm:t>
    </dgm:pt>
    <dgm:pt modelId="{ECFEA23F-DCCD-42C6-8706-10917CE3C2B0}" type="parTrans" cxnId="{C381E8F4-D0AE-4AD0-B8F1-4BDFF55901DE}">
      <dgm:prSet/>
      <dgm:spPr/>
      <dgm:t>
        <a:bodyPr/>
        <a:lstStyle/>
        <a:p>
          <a:endParaRPr lang="it-IT"/>
        </a:p>
      </dgm:t>
    </dgm:pt>
    <dgm:pt modelId="{A3B7292F-5113-4C29-982F-BC1D14C7BE90}" type="sibTrans" cxnId="{C381E8F4-D0AE-4AD0-B8F1-4BDFF55901DE}">
      <dgm:prSet/>
      <dgm:spPr/>
      <dgm:t>
        <a:bodyPr/>
        <a:lstStyle/>
        <a:p>
          <a:endParaRPr lang="it-IT"/>
        </a:p>
      </dgm:t>
    </dgm:pt>
    <dgm:pt modelId="{A07A8528-D240-4AAE-BA81-005F6AD457F1}">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Ispezione Opere D’arte</a:t>
          </a:r>
        </a:p>
      </dgm:t>
    </dgm:pt>
    <dgm:pt modelId="{3C15A388-1B3D-47E8-B2CB-E67F7E1AFFF1}" type="parTrans" cxnId="{C9F268FB-CB20-4E78-9CDC-F035D61B7E09}">
      <dgm:prSet/>
      <dgm:spPr/>
      <dgm:t>
        <a:bodyPr/>
        <a:lstStyle/>
        <a:p>
          <a:endParaRPr lang="it-IT"/>
        </a:p>
      </dgm:t>
    </dgm:pt>
    <dgm:pt modelId="{7D0C416E-0310-43FE-A0D6-735CD62199B6}" type="sibTrans" cxnId="{C9F268FB-CB20-4E78-9CDC-F035D61B7E09}">
      <dgm:prSet/>
      <dgm:spPr/>
      <dgm:t>
        <a:bodyPr/>
        <a:lstStyle/>
        <a:p>
          <a:endParaRPr lang="it-IT"/>
        </a:p>
      </dgm:t>
    </dgm:pt>
    <dgm:pt modelId="{56EC974B-4690-4A6A-B143-36A5A9DDDB75}">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Supporto Tecnico</a:t>
          </a:r>
        </a:p>
      </dgm:t>
    </dgm:pt>
    <dgm:pt modelId="{F24B2512-EFC3-4494-92F8-F4C2A580DD56}" type="parTrans" cxnId="{FE5FBCA8-5D6F-44E5-8DFA-D24300AECCE8}">
      <dgm:prSet/>
      <dgm:spPr/>
      <dgm:t>
        <a:bodyPr/>
        <a:lstStyle/>
        <a:p>
          <a:endParaRPr lang="it-IT"/>
        </a:p>
      </dgm:t>
    </dgm:pt>
    <dgm:pt modelId="{57612FAC-3D38-4A5A-9D54-8452999285F4}" type="sibTrans" cxnId="{FE5FBCA8-5D6F-44E5-8DFA-D24300AECCE8}">
      <dgm:prSet/>
      <dgm:spPr/>
      <dgm:t>
        <a:bodyPr/>
        <a:lstStyle/>
        <a:p>
          <a:endParaRPr lang="it-IT"/>
        </a:p>
      </dgm:t>
    </dgm:pt>
    <dgm:pt modelId="{5805825E-3BC3-4961-910E-96065463977D}">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Interventi Rilevanti</a:t>
          </a:r>
        </a:p>
      </dgm:t>
    </dgm:pt>
    <dgm:pt modelId="{263FA899-3C2D-4809-A47A-DB65911293C7}" type="parTrans" cxnId="{D6C89AE1-00A8-492D-888B-1E3DDC006D86}">
      <dgm:prSet/>
      <dgm:spPr/>
      <dgm:t>
        <a:bodyPr/>
        <a:lstStyle/>
        <a:p>
          <a:endParaRPr lang="it-IT"/>
        </a:p>
      </dgm:t>
    </dgm:pt>
    <dgm:pt modelId="{B58F1702-0059-4F53-9A60-77242457BBFA}" type="sibTrans" cxnId="{D6C89AE1-00A8-492D-888B-1E3DDC006D86}">
      <dgm:prSet/>
      <dgm:spPr/>
      <dgm:t>
        <a:bodyPr/>
        <a:lstStyle/>
        <a:p>
          <a:endParaRPr lang="it-IT"/>
        </a:p>
      </dgm:t>
    </dgm:pt>
    <dgm:pt modelId="{7A5D9CDD-E10F-422D-808B-815C691EF2E8}">
      <dgm:prSet phldrT="[Testo]" custT="1"/>
      <dgm:spPr>
        <a:solidFill>
          <a:schemeClr val="tx2"/>
        </a:solidFill>
      </dgm:spPr>
      <dgm:t>
        <a:bodyPr/>
        <a:lstStyle/>
        <a:p>
          <a:r>
            <a:rPr lang="it-IT" sz="700" dirty="0"/>
            <a:t>Investimenti e Produzione</a:t>
          </a:r>
        </a:p>
        <a:p>
          <a:r>
            <a:rPr lang="it-IT" sz="700" dirty="0"/>
            <a:t>NO</a:t>
          </a:r>
        </a:p>
      </dgm:t>
    </dgm:pt>
    <dgm:pt modelId="{089AE963-8402-4F38-908B-1CA814F78766}" type="parTrans" cxnId="{BEDD267B-EA80-4783-A782-86B96AAC5B03}">
      <dgm:prSet/>
      <dgm:spPr/>
      <dgm:t>
        <a:bodyPr/>
        <a:lstStyle/>
        <a:p>
          <a:endParaRPr lang="it-IT"/>
        </a:p>
      </dgm:t>
    </dgm:pt>
    <dgm:pt modelId="{63A1392B-D9B4-4604-ACED-CDD4B7E19D6E}" type="sibTrans" cxnId="{BEDD267B-EA80-4783-A782-86B96AAC5B03}">
      <dgm:prSet/>
      <dgm:spPr/>
      <dgm:t>
        <a:bodyPr/>
        <a:lstStyle/>
        <a:p>
          <a:endParaRPr lang="it-IT"/>
        </a:p>
      </dgm:t>
    </dgm:pt>
    <dgm:pt modelId="{2069E263-CA68-447A-859F-7068DC9AF2B6}" type="pres">
      <dgm:prSet presAssocID="{C782CD9B-2B4B-48D2-BF13-2B0D6056B78A}" presName="Name0" presStyleCnt="0">
        <dgm:presLayoutVars>
          <dgm:dir/>
          <dgm:animLvl val="lvl"/>
          <dgm:resizeHandles val="exact"/>
        </dgm:presLayoutVars>
      </dgm:prSet>
      <dgm:spPr/>
    </dgm:pt>
    <dgm:pt modelId="{F7031506-3856-48AD-BFC1-89D9660F7FF7}" type="pres">
      <dgm:prSet presAssocID="{DFCF748E-4FA2-4C04-B1DF-85DA1021BE5D}" presName="parTxOnly" presStyleLbl="node1" presStyleIdx="0" presStyleCnt="10">
        <dgm:presLayoutVars>
          <dgm:chMax val="0"/>
          <dgm:chPref val="0"/>
          <dgm:bulletEnabled val="1"/>
        </dgm:presLayoutVars>
      </dgm:prSet>
      <dgm:spPr/>
    </dgm:pt>
    <dgm:pt modelId="{420EBE6C-A91F-49B7-AF4C-29A127D6266A}" type="pres">
      <dgm:prSet presAssocID="{A0ED7260-8442-4FBF-80B4-500E49A4F3AF}" presName="parTxOnlySpace" presStyleCnt="0"/>
      <dgm:spPr/>
    </dgm:pt>
    <dgm:pt modelId="{6C62160D-9EC9-4B84-8EFD-9C3E10FC055A}" type="pres">
      <dgm:prSet presAssocID="{B754C885-66E5-4615-BD33-B6EE917A035D}" presName="parTxOnly" presStyleLbl="node1" presStyleIdx="1" presStyleCnt="10">
        <dgm:presLayoutVars>
          <dgm:chMax val="0"/>
          <dgm:chPref val="0"/>
          <dgm:bulletEnabled val="1"/>
        </dgm:presLayoutVars>
      </dgm:prSet>
      <dgm:spPr/>
    </dgm:pt>
    <dgm:pt modelId="{6415A264-B3C7-41A6-9BA0-D0AD6AE1DACB}" type="pres">
      <dgm:prSet presAssocID="{79AAED35-18A8-4347-A2B8-6AAE8B34BA56}" presName="parTxOnlySpace" presStyleCnt="0"/>
      <dgm:spPr/>
    </dgm:pt>
    <dgm:pt modelId="{636F50A3-8EFE-4C08-B6BE-284B03274F0B}" type="pres">
      <dgm:prSet presAssocID="{72FFD339-6A5F-4ED7-B529-6155AF8C35BB}" presName="parTxOnly" presStyleLbl="node1" presStyleIdx="2" presStyleCnt="10">
        <dgm:presLayoutVars>
          <dgm:chMax val="0"/>
          <dgm:chPref val="0"/>
          <dgm:bulletEnabled val="1"/>
        </dgm:presLayoutVars>
      </dgm:prSet>
      <dgm:spPr/>
    </dgm:pt>
    <dgm:pt modelId="{B0C5D3FB-8180-4CC6-9F14-5042E96FD8E3}" type="pres">
      <dgm:prSet presAssocID="{A3B7292F-5113-4C29-982F-BC1D14C7BE90}" presName="parTxOnlySpace" presStyleCnt="0"/>
      <dgm:spPr/>
    </dgm:pt>
    <dgm:pt modelId="{6BB9B9CD-B911-4E33-8045-BE6A8D7C5B89}" type="pres">
      <dgm:prSet presAssocID="{9225496C-39D8-4F53-8BB5-1B069B40EB3E}" presName="parTxOnly" presStyleLbl="node1" presStyleIdx="3" presStyleCnt="10">
        <dgm:presLayoutVars>
          <dgm:chMax val="0"/>
          <dgm:chPref val="0"/>
          <dgm:bulletEnabled val="1"/>
        </dgm:presLayoutVars>
      </dgm:prSet>
      <dgm:spPr/>
    </dgm:pt>
    <dgm:pt modelId="{60B2C4AD-8A0D-4CB2-93A9-16C6C0E4BD5B}" type="pres">
      <dgm:prSet presAssocID="{1E3F53DD-2537-4C67-AA71-87081D444A81}" presName="parTxOnlySpace" presStyleCnt="0"/>
      <dgm:spPr/>
    </dgm:pt>
    <dgm:pt modelId="{A29D7AF6-34C9-459D-B160-0F8E7686BA2B}" type="pres">
      <dgm:prSet presAssocID="{2F442204-E894-4EB6-A3FA-953074E6D5F9}" presName="parTxOnly" presStyleLbl="node1" presStyleIdx="4" presStyleCnt="10">
        <dgm:presLayoutVars>
          <dgm:chMax val="0"/>
          <dgm:chPref val="0"/>
          <dgm:bulletEnabled val="1"/>
        </dgm:presLayoutVars>
      </dgm:prSet>
      <dgm:spPr/>
    </dgm:pt>
    <dgm:pt modelId="{7004503D-9639-442B-9C04-FB1247092C40}" type="pres">
      <dgm:prSet presAssocID="{07F51AA8-9070-4A56-AF24-8977CF9B6A80}" presName="parTxOnlySpace" presStyleCnt="0"/>
      <dgm:spPr/>
    </dgm:pt>
    <dgm:pt modelId="{A2199658-E72A-4294-AFD3-6892981EEB12}" type="pres">
      <dgm:prSet presAssocID="{7A5D9CDD-E10F-422D-808B-815C691EF2E8}" presName="parTxOnly" presStyleLbl="node1" presStyleIdx="5" presStyleCnt="10">
        <dgm:presLayoutVars>
          <dgm:chMax val="0"/>
          <dgm:chPref val="0"/>
          <dgm:bulletEnabled val="1"/>
        </dgm:presLayoutVars>
      </dgm:prSet>
      <dgm:spPr/>
    </dgm:pt>
    <dgm:pt modelId="{9B5C0F41-E4E2-4A3A-AA73-E3E4EB6ACD5E}" type="pres">
      <dgm:prSet presAssocID="{63A1392B-D9B4-4604-ACED-CDD4B7E19D6E}" presName="parTxOnlySpace" presStyleCnt="0"/>
      <dgm:spPr/>
    </dgm:pt>
    <dgm:pt modelId="{F9C55CAF-C1A3-4EFD-AD93-3CBF7E30E2FA}" type="pres">
      <dgm:prSet presAssocID="{56EC974B-4690-4A6A-B143-36A5A9DDDB75}" presName="parTxOnly" presStyleLbl="node1" presStyleIdx="6" presStyleCnt="10">
        <dgm:presLayoutVars>
          <dgm:chMax val="0"/>
          <dgm:chPref val="0"/>
          <dgm:bulletEnabled val="1"/>
        </dgm:presLayoutVars>
      </dgm:prSet>
      <dgm:spPr/>
    </dgm:pt>
    <dgm:pt modelId="{DDB26EDE-11AF-40B7-9C16-348181381393}" type="pres">
      <dgm:prSet presAssocID="{57612FAC-3D38-4A5A-9D54-8452999285F4}" presName="parTxOnlySpace" presStyleCnt="0"/>
      <dgm:spPr/>
    </dgm:pt>
    <dgm:pt modelId="{8CED6B9D-804A-4009-A04D-D699125D11F0}" type="pres">
      <dgm:prSet presAssocID="{A07A8528-D240-4AAE-BA81-005F6AD457F1}" presName="parTxOnly" presStyleLbl="node1" presStyleIdx="7" presStyleCnt="10">
        <dgm:presLayoutVars>
          <dgm:chMax val="0"/>
          <dgm:chPref val="0"/>
          <dgm:bulletEnabled val="1"/>
        </dgm:presLayoutVars>
      </dgm:prSet>
      <dgm:spPr/>
    </dgm:pt>
    <dgm:pt modelId="{C3D8151F-F75F-49EC-B6A3-4B15A8912918}" type="pres">
      <dgm:prSet presAssocID="{7D0C416E-0310-43FE-A0D6-735CD62199B6}" presName="parTxOnlySpace" presStyleCnt="0"/>
      <dgm:spPr/>
    </dgm:pt>
    <dgm:pt modelId="{0A5AB2D9-0A33-47A4-83C2-3990E2018CD9}" type="pres">
      <dgm:prSet presAssocID="{5805825E-3BC3-4961-910E-96065463977D}" presName="parTxOnly" presStyleLbl="node1" presStyleIdx="8" presStyleCnt="10">
        <dgm:presLayoutVars>
          <dgm:chMax val="0"/>
          <dgm:chPref val="0"/>
          <dgm:bulletEnabled val="1"/>
        </dgm:presLayoutVars>
      </dgm:prSet>
      <dgm:spPr/>
    </dgm:pt>
    <dgm:pt modelId="{5FE5E96A-0031-41D2-A1BE-2634D143793A}" type="pres">
      <dgm:prSet presAssocID="{B58F1702-0059-4F53-9A60-77242457BBFA}" presName="parTxOnlySpace" presStyleCnt="0"/>
      <dgm:spPr/>
    </dgm:pt>
    <dgm:pt modelId="{F2510710-7BA2-44B7-8AA7-1347717B483B}" type="pres">
      <dgm:prSet presAssocID="{2D51EAF0-C497-40E9-996D-2D0BC40F318C}" presName="parTxOnly" presStyleLbl="node1" presStyleIdx="9" presStyleCnt="10">
        <dgm:presLayoutVars>
          <dgm:chMax val="0"/>
          <dgm:chPref val="0"/>
          <dgm:bulletEnabled val="1"/>
        </dgm:presLayoutVars>
      </dgm:prSet>
      <dgm:spPr/>
    </dgm:pt>
  </dgm:ptLst>
  <dgm:cxnLst>
    <dgm:cxn modelId="{F8EA3703-CEE5-4162-AB46-CFFF8AC28B48}" srcId="{C782CD9B-2B4B-48D2-BF13-2B0D6056B78A}" destId="{B754C885-66E5-4615-BD33-B6EE917A035D}" srcOrd="1" destOrd="0" parTransId="{65812F9F-DD0E-4752-BF8B-D07282594751}" sibTransId="{79AAED35-18A8-4347-A2B8-6AAE8B34BA56}"/>
    <dgm:cxn modelId="{7BC9B318-E7A6-41F3-853C-1D1DFB2050EF}" srcId="{C782CD9B-2B4B-48D2-BF13-2B0D6056B78A}" destId="{2D51EAF0-C497-40E9-996D-2D0BC40F318C}" srcOrd="9" destOrd="0" parTransId="{43C509B8-DD3A-429A-ADC4-232D55259B3D}" sibTransId="{66A12237-9546-42D0-81C0-2C324670B743}"/>
    <dgm:cxn modelId="{42B22F1F-2C19-4FDE-94E5-BB28C7BC95B6}" type="presOf" srcId="{56EC974B-4690-4A6A-B143-36A5A9DDDB75}" destId="{F9C55CAF-C1A3-4EFD-AD93-3CBF7E30E2FA}" srcOrd="0" destOrd="0" presId="urn:microsoft.com/office/officeart/2005/8/layout/chevron1"/>
    <dgm:cxn modelId="{8B305821-D4B1-414F-A6B2-EECA0AF69BF9}" type="presOf" srcId="{C782CD9B-2B4B-48D2-BF13-2B0D6056B78A}" destId="{2069E263-CA68-447A-859F-7068DC9AF2B6}" srcOrd="0" destOrd="0" presId="urn:microsoft.com/office/officeart/2005/8/layout/chevron1"/>
    <dgm:cxn modelId="{B37E0340-BC5D-40F3-B535-D4E8D7B5894B}" type="presOf" srcId="{A07A8528-D240-4AAE-BA81-005F6AD457F1}" destId="{8CED6B9D-804A-4009-A04D-D699125D11F0}" srcOrd="0" destOrd="0" presId="urn:microsoft.com/office/officeart/2005/8/layout/chevron1"/>
    <dgm:cxn modelId="{539F8D5B-1DFC-4ACB-8A3C-B70D1F81808A}" type="presOf" srcId="{B754C885-66E5-4615-BD33-B6EE917A035D}" destId="{6C62160D-9EC9-4B84-8EFD-9C3E10FC055A}" srcOrd="0" destOrd="0" presId="urn:microsoft.com/office/officeart/2005/8/layout/chevron1"/>
    <dgm:cxn modelId="{94A2B45D-2D69-4650-AFC3-C5574217F910}" srcId="{C782CD9B-2B4B-48D2-BF13-2B0D6056B78A}" destId="{9225496C-39D8-4F53-8BB5-1B069B40EB3E}" srcOrd="3" destOrd="0" parTransId="{D3A21DFB-000A-4FCE-9E9D-8516EBA4DD45}" sibTransId="{1E3F53DD-2537-4C67-AA71-87081D444A81}"/>
    <dgm:cxn modelId="{E68BCB5E-9615-45E2-A789-038F8E772B39}" type="presOf" srcId="{2F442204-E894-4EB6-A3FA-953074E6D5F9}" destId="{A29D7AF6-34C9-459D-B160-0F8E7686BA2B}" srcOrd="0" destOrd="0" presId="urn:microsoft.com/office/officeart/2005/8/layout/chevron1"/>
    <dgm:cxn modelId="{6FD2AE64-BDEB-482D-ACF3-1D5403180A1E}" srcId="{C782CD9B-2B4B-48D2-BF13-2B0D6056B78A}" destId="{2F442204-E894-4EB6-A3FA-953074E6D5F9}" srcOrd="4" destOrd="0" parTransId="{9E6A019B-6886-407A-A3BB-1A2A8D416818}" sibTransId="{07F51AA8-9070-4A56-AF24-8977CF9B6A80}"/>
    <dgm:cxn modelId="{E3DDEA4F-F045-4869-AE22-0A5267FB077C}" type="presOf" srcId="{DFCF748E-4FA2-4C04-B1DF-85DA1021BE5D}" destId="{F7031506-3856-48AD-BFC1-89D9660F7FF7}" srcOrd="0" destOrd="0" presId="urn:microsoft.com/office/officeart/2005/8/layout/chevron1"/>
    <dgm:cxn modelId="{DFAC6651-932A-4D80-A0DA-4AD36FDF977F}" type="presOf" srcId="{7A5D9CDD-E10F-422D-808B-815C691EF2E8}" destId="{A2199658-E72A-4294-AFD3-6892981EEB12}" srcOrd="0" destOrd="0" presId="urn:microsoft.com/office/officeart/2005/8/layout/chevron1"/>
    <dgm:cxn modelId="{BEDD267B-EA80-4783-A782-86B96AAC5B03}" srcId="{C782CD9B-2B4B-48D2-BF13-2B0D6056B78A}" destId="{7A5D9CDD-E10F-422D-808B-815C691EF2E8}" srcOrd="5" destOrd="0" parTransId="{089AE963-8402-4F38-908B-1CA814F78766}" sibTransId="{63A1392B-D9B4-4604-ACED-CDD4B7E19D6E}"/>
    <dgm:cxn modelId="{4317E28D-DB10-4560-9FCB-2C00F663F4F2}" type="presOf" srcId="{5805825E-3BC3-4961-910E-96065463977D}" destId="{0A5AB2D9-0A33-47A4-83C2-3990E2018CD9}" srcOrd="0" destOrd="0" presId="urn:microsoft.com/office/officeart/2005/8/layout/chevron1"/>
    <dgm:cxn modelId="{92751D9D-02E3-45C2-978C-737085227C42}" srcId="{C782CD9B-2B4B-48D2-BF13-2B0D6056B78A}" destId="{DFCF748E-4FA2-4C04-B1DF-85DA1021BE5D}" srcOrd="0" destOrd="0" parTransId="{7DAF1956-B700-4203-9672-92E4451DCC31}" sibTransId="{A0ED7260-8442-4FBF-80B4-500E49A4F3AF}"/>
    <dgm:cxn modelId="{FE5FBCA8-5D6F-44E5-8DFA-D24300AECCE8}" srcId="{C782CD9B-2B4B-48D2-BF13-2B0D6056B78A}" destId="{56EC974B-4690-4A6A-B143-36A5A9DDDB75}" srcOrd="6" destOrd="0" parTransId="{F24B2512-EFC3-4494-92F8-F4C2A580DD56}" sibTransId="{57612FAC-3D38-4A5A-9D54-8452999285F4}"/>
    <dgm:cxn modelId="{CA7250D2-0887-4DDD-AAF3-BBB7BE07B571}" type="presOf" srcId="{72FFD339-6A5F-4ED7-B529-6155AF8C35BB}" destId="{636F50A3-8EFE-4C08-B6BE-284B03274F0B}" srcOrd="0" destOrd="0" presId="urn:microsoft.com/office/officeart/2005/8/layout/chevron1"/>
    <dgm:cxn modelId="{1FCC99DB-C2B1-49AF-BBC1-47864160BC9D}" type="presOf" srcId="{2D51EAF0-C497-40E9-996D-2D0BC40F318C}" destId="{F2510710-7BA2-44B7-8AA7-1347717B483B}" srcOrd="0" destOrd="0" presId="urn:microsoft.com/office/officeart/2005/8/layout/chevron1"/>
    <dgm:cxn modelId="{D6C89AE1-00A8-492D-888B-1E3DDC006D86}" srcId="{C782CD9B-2B4B-48D2-BF13-2B0D6056B78A}" destId="{5805825E-3BC3-4961-910E-96065463977D}" srcOrd="8" destOrd="0" parTransId="{263FA899-3C2D-4809-A47A-DB65911293C7}" sibTransId="{B58F1702-0059-4F53-9A60-77242457BBFA}"/>
    <dgm:cxn modelId="{3B52D2F2-83CE-4FAD-AF68-7F4887CE8779}" type="presOf" srcId="{9225496C-39D8-4F53-8BB5-1B069B40EB3E}" destId="{6BB9B9CD-B911-4E33-8045-BE6A8D7C5B89}" srcOrd="0" destOrd="0" presId="urn:microsoft.com/office/officeart/2005/8/layout/chevron1"/>
    <dgm:cxn modelId="{C381E8F4-D0AE-4AD0-B8F1-4BDFF55901DE}" srcId="{C782CD9B-2B4B-48D2-BF13-2B0D6056B78A}" destId="{72FFD339-6A5F-4ED7-B529-6155AF8C35BB}" srcOrd="2" destOrd="0" parTransId="{ECFEA23F-DCCD-42C6-8706-10917CE3C2B0}" sibTransId="{A3B7292F-5113-4C29-982F-BC1D14C7BE90}"/>
    <dgm:cxn modelId="{C9F268FB-CB20-4E78-9CDC-F035D61B7E09}" srcId="{C782CD9B-2B4B-48D2-BF13-2B0D6056B78A}" destId="{A07A8528-D240-4AAE-BA81-005F6AD457F1}" srcOrd="7" destOrd="0" parTransId="{3C15A388-1B3D-47E8-B2CB-E67F7E1AFFF1}" sibTransId="{7D0C416E-0310-43FE-A0D6-735CD62199B6}"/>
    <dgm:cxn modelId="{33F2B6DE-0166-40DD-97DF-824F37E8D01B}" type="presParOf" srcId="{2069E263-CA68-447A-859F-7068DC9AF2B6}" destId="{F7031506-3856-48AD-BFC1-89D9660F7FF7}" srcOrd="0" destOrd="0" presId="urn:microsoft.com/office/officeart/2005/8/layout/chevron1"/>
    <dgm:cxn modelId="{510E1F63-DEAB-485C-8A40-414F75CFA7B6}" type="presParOf" srcId="{2069E263-CA68-447A-859F-7068DC9AF2B6}" destId="{420EBE6C-A91F-49B7-AF4C-29A127D6266A}" srcOrd="1" destOrd="0" presId="urn:microsoft.com/office/officeart/2005/8/layout/chevron1"/>
    <dgm:cxn modelId="{84A12F45-FF07-46AB-8761-1070DD5A6503}" type="presParOf" srcId="{2069E263-CA68-447A-859F-7068DC9AF2B6}" destId="{6C62160D-9EC9-4B84-8EFD-9C3E10FC055A}" srcOrd="2" destOrd="0" presId="urn:microsoft.com/office/officeart/2005/8/layout/chevron1"/>
    <dgm:cxn modelId="{58475BD1-D52B-446C-AF27-D0E80E60380C}" type="presParOf" srcId="{2069E263-CA68-447A-859F-7068DC9AF2B6}" destId="{6415A264-B3C7-41A6-9BA0-D0AD6AE1DACB}" srcOrd="3" destOrd="0" presId="urn:microsoft.com/office/officeart/2005/8/layout/chevron1"/>
    <dgm:cxn modelId="{15B489D9-3249-41E7-8118-19C8794EDE7E}" type="presParOf" srcId="{2069E263-CA68-447A-859F-7068DC9AF2B6}" destId="{636F50A3-8EFE-4C08-B6BE-284B03274F0B}" srcOrd="4" destOrd="0" presId="urn:microsoft.com/office/officeart/2005/8/layout/chevron1"/>
    <dgm:cxn modelId="{44D0A3E8-9336-4A72-A5CB-7F12DD065BCD}" type="presParOf" srcId="{2069E263-CA68-447A-859F-7068DC9AF2B6}" destId="{B0C5D3FB-8180-4CC6-9F14-5042E96FD8E3}" srcOrd="5" destOrd="0" presId="urn:microsoft.com/office/officeart/2005/8/layout/chevron1"/>
    <dgm:cxn modelId="{0AAE279C-4BB1-4BEF-B3A0-75D4DC89A9EB}" type="presParOf" srcId="{2069E263-CA68-447A-859F-7068DC9AF2B6}" destId="{6BB9B9CD-B911-4E33-8045-BE6A8D7C5B89}" srcOrd="6" destOrd="0" presId="urn:microsoft.com/office/officeart/2005/8/layout/chevron1"/>
    <dgm:cxn modelId="{AA8C8061-4453-43AC-AC74-B1476EAC8AE2}" type="presParOf" srcId="{2069E263-CA68-447A-859F-7068DC9AF2B6}" destId="{60B2C4AD-8A0D-4CB2-93A9-16C6C0E4BD5B}" srcOrd="7" destOrd="0" presId="urn:microsoft.com/office/officeart/2005/8/layout/chevron1"/>
    <dgm:cxn modelId="{3F0D3504-2522-4A8E-B85B-4D2F0F44CCE9}" type="presParOf" srcId="{2069E263-CA68-447A-859F-7068DC9AF2B6}" destId="{A29D7AF6-34C9-459D-B160-0F8E7686BA2B}" srcOrd="8" destOrd="0" presId="urn:microsoft.com/office/officeart/2005/8/layout/chevron1"/>
    <dgm:cxn modelId="{ED3F9AEA-CD63-4E24-A6C2-50FD2F6C82B8}" type="presParOf" srcId="{2069E263-CA68-447A-859F-7068DC9AF2B6}" destId="{7004503D-9639-442B-9C04-FB1247092C40}" srcOrd="9" destOrd="0" presId="urn:microsoft.com/office/officeart/2005/8/layout/chevron1"/>
    <dgm:cxn modelId="{B3BE4F29-D6D7-4F54-AC9E-1B533289875A}" type="presParOf" srcId="{2069E263-CA68-447A-859F-7068DC9AF2B6}" destId="{A2199658-E72A-4294-AFD3-6892981EEB12}" srcOrd="10" destOrd="0" presId="urn:microsoft.com/office/officeart/2005/8/layout/chevron1"/>
    <dgm:cxn modelId="{251E98A5-7C7C-46FC-AC4C-8F8C8EC4D543}" type="presParOf" srcId="{2069E263-CA68-447A-859F-7068DC9AF2B6}" destId="{9B5C0F41-E4E2-4A3A-AA73-E3E4EB6ACD5E}" srcOrd="11" destOrd="0" presId="urn:microsoft.com/office/officeart/2005/8/layout/chevron1"/>
    <dgm:cxn modelId="{1A679B75-9574-4D8F-9851-0723C2100B2A}" type="presParOf" srcId="{2069E263-CA68-447A-859F-7068DC9AF2B6}" destId="{F9C55CAF-C1A3-4EFD-AD93-3CBF7E30E2FA}" srcOrd="12" destOrd="0" presId="urn:microsoft.com/office/officeart/2005/8/layout/chevron1"/>
    <dgm:cxn modelId="{2A594DFD-0A64-4742-9E00-BCCEF7E5913E}" type="presParOf" srcId="{2069E263-CA68-447A-859F-7068DC9AF2B6}" destId="{DDB26EDE-11AF-40B7-9C16-348181381393}" srcOrd="13" destOrd="0" presId="urn:microsoft.com/office/officeart/2005/8/layout/chevron1"/>
    <dgm:cxn modelId="{4A9AF6EC-0659-40A3-8842-DF7D5F0123CD}" type="presParOf" srcId="{2069E263-CA68-447A-859F-7068DC9AF2B6}" destId="{8CED6B9D-804A-4009-A04D-D699125D11F0}" srcOrd="14" destOrd="0" presId="urn:microsoft.com/office/officeart/2005/8/layout/chevron1"/>
    <dgm:cxn modelId="{E1BCDFF0-36A4-475C-B568-8BEBD3FFFDCC}" type="presParOf" srcId="{2069E263-CA68-447A-859F-7068DC9AF2B6}" destId="{C3D8151F-F75F-49EC-B6A3-4B15A8912918}" srcOrd="15" destOrd="0" presId="urn:microsoft.com/office/officeart/2005/8/layout/chevron1"/>
    <dgm:cxn modelId="{2B12EAE5-55E6-4E2B-89C7-963CEE185ED6}" type="presParOf" srcId="{2069E263-CA68-447A-859F-7068DC9AF2B6}" destId="{0A5AB2D9-0A33-47A4-83C2-3990E2018CD9}" srcOrd="16" destOrd="0" presId="urn:microsoft.com/office/officeart/2005/8/layout/chevron1"/>
    <dgm:cxn modelId="{FEEB396D-313D-4794-A29F-597C00C2ACDF}" type="presParOf" srcId="{2069E263-CA68-447A-859F-7068DC9AF2B6}" destId="{5FE5E96A-0031-41D2-A1BE-2634D143793A}" srcOrd="17" destOrd="0" presId="urn:microsoft.com/office/officeart/2005/8/layout/chevron1"/>
    <dgm:cxn modelId="{B17B7D92-C46C-4CBF-ABB0-D17700919BC0}" type="presParOf" srcId="{2069E263-CA68-447A-859F-7068DC9AF2B6}" destId="{F2510710-7BA2-44B7-8AA7-1347717B483B}" srcOrd="18"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C782CD9B-2B4B-48D2-BF13-2B0D6056B78A}"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it-IT"/>
        </a:p>
      </dgm:t>
    </dgm:pt>
    <dgm:pt modelId="{DFCF748E-4FA2-4C04-B1DF-85DA1021BE5D}">
      <dgm:prSet phldrT="[Testo]"/>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Rete viaria complessiva</a:t>
          </a:r>
        </a:p>
      </dgm:t>
    </dgm:pt>
    <dgm:pt modelId="{7DAF1956-B700-4203-9672-92E4451DCC31}" type="parTrans" cxnId="{92751D9D-02E3-45C2-978C-737085227C42}">
      <dgm:prSet/>
      <dgm:spPr/>
      <dgm:t>
        <a:bodyPr/>
        <a:lstStyle/>
        <a:p>
          <a:endParaRPr lang="it-IT"/>
        </a:p>
      </dgm:t>
    </dgm:pt>
    <dgm:pt modelId="{A0ED7260-8442-4FBF-80B4-500E49A4F3AF}" type="sibTrans" cxnId="{92751D9D-02E3-45C2-978C-737085227C42}">
      <dgm:prSet/>
      <dgm:spPr/>
      <dgm:t>
        <a:bodyPr/>
        <a:lstStyle/>
        <a:p>
          <a:endParaRPr lang="it-IT"/>
        </a:p>
      </dgm:t>
    </dgm:pt>
    <dgm:pt modelId="{B754C885-66E5-4615-BD33-B6EE917A035D}">
      <dgm:prSet phldrT="[Testo]"/>
      <dgm:spPr>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dgm:spPr>
      <dgm:t>
        <a:bodyPr/>
        <a:lstStyle/>
        <a:p>
          <a:r>
            <a:rPr lang="it-IT" dirty="0"/>
            <a:t>Risorse</a:t>
          </a:r>
        </a:p>
      </dgm:t>
    </dgm:pt>
    <dgm:pt modelId="{65812F9F-DD0E-4752-BF8B-D07282594751}" type="parTrans" cxnId="{F8EA3703-CEE5-4162-AB46-CFFF8AC28B48}">
      <dgm:prSet/>
      <dgm:spPr/>
      <dgm:t>
        <a:bodyPr/>
        <a:lstStyle/>
        <a:p>
          <a:endParaRPr lang="it-IT"/>
        </a:p>
      </dgm:t>
    </dgm:pt>
    <dgm:pt modelId="{79AAED35-18A8-4347-A2B8-6AAE8B34BA56}" type="sibTrans" cxnId="{F8EA3703-CEE5-4162-AB46-CFFF8AC28B48}">
      <dgm:prSet/>
      <dgm:spPr/>
      <dgm:t>
        <a:bodyPr/>
        <a:lstStyle/>
        <a:p>
          <a:endParaRPr lang="it-IT"/>
        </a:p>
      </dgm:t>
    </dgm:pt>
    <dgm:pt modelId="{9225496C-39D8-4F53-8BB5-1B069B40EB3E}">
      <dgm:prSet phldrT="[Testo]"/>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Affidamenti</a:t>
          </a:r>
        </a:p>
      </dgm:t>
    </dgm:pt>
    <dgm:pt modelId="{D3A21DFB-000A-4FCE-9E9D-8516EBA4DD45}" type="parTrans" cxnId="{94A2B45D-2D69-4650-AFC3-C5574217F910}">
      <dgm:prSet/>
      <dgm:spPr/>
      <dgm:t>
        <a:bodyPr/>
        <a:lstStyle/>
        <a:p>
          <a:endParaRPr lang="it-IT"/>
        </a:p>
      </dgm:t>
    </dgm:pt>
    <dgm:pt modelId="{1E3F53DD-2537-4C67-AA71-87081D444A81}" type="sibTrans" cxnId="{94A2B45D-2D69-4650-AFC3-C5574217F910}">
      <dgm:prSet/>
      <dgm:spPr/>
      <dgm:t>
        <a:bodyPr/>
        <a:lstStyle/>
        <a:p>
          <a:endParaRPr lang="it-IT"/>
        </a:p>
      </dgm:t>
    </dgm:pt>
    <dgm:pt modelId="{2F442204-E894-4EB6-A3FA-953074E6D5F9}">
      <dgm:prSet phldrT="[Testo]" custT="1"/>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sz="700" dirty="0"/>
            <a:t>Investimenti e Produzione</a:t>
          </a:r>
        </a:p>
        <a:p>
          <a:r>
            <a:rPr lang="it-IT" sz="700" dirty="0"/>
            <a:t>MP</a:t>
          </a:r>
        </a:p>
      </dgm:t>
    </dgm:pt>
    <dgm:pt modelId="{9E6A019B-6886-407A-A3BB-1A2A8D416818}" type="parTrans" cxnId="{6FD2AE64-BDEB-482D-ACF3-1D5403180A1E}">
      <dgm:prSet/>
      <dgm:spPr/>
      <dgm:t>
        <a:bodyPr/>
        <a:lstStyle/>
        <a:p>
          <a:endParaRPr lang="it-IT"/>
        </a:p>
      </dgm:t>
    </dgm:pt>
    <dgm:pt modelId="{07F51AA8-9070-4A56-AF24-8977CF9B6A80}" type="sibTrans" cxnId="{6FD2AE64-BDEB-482D-ACF3-1D5403180A1E}">
      <dgm:prSet/>
      <dgm:spPr/>
      <dgm:t>
        <a:bodyPr/>
        <a:lstStyle/>
        <a:p>
          <a:endParaRPr lang="it-IT"/>
        </a:p>
      </dgm:t>
    </dgm:pt>
    <dgm:pt modelId="{2D51EAF0-C497-40E9-996D-2D0BC40F318C}">
      <dgm:prSet phldrT="[Testo]"/>
      <dgm:spPr>
        <a:gradFill flip="none"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16200000" scaled="1"/>
          <a:tileRect/>
        </a:gradFill>
      </dgm:spPr>
      <dgm:t>
        <a:bodyPr/>
        <a:lstStyle/>
        <a:p>
          <a:r>
            <a:rPr lang="it-IT" dirty="0"/>
            <a:t>Pagamenti</a:t>
          </a:r>
        </a:p>
      </dgm:t>
    </dgm:pt>
    <dgm:pt modelId="{43C509B8-DD3A-429A-ADC4-232D55259B3D}" type="parTrans" cxnId="{7BC9B318-E7A6-41F3-853C-1D1DFB2050EF}">
      <dgm:prSet/>
      <dgm:spPr/>
      <dgm:t>
        <a:bodyPr/>
        <a:lstStyle/>
        <a:p>
          <a:endParaRPr lang="it-IT"/>
        </a:p>
      </dgm:t>
    </dgm:pt>
    <dgm:pt modelId="{66A12237-9546-42D0-81C0-2C324670B743}" type="sibTrans" cxnId="{7BC9B318-E7A6-41F3-853C-1D1DFB2050EF}">
      <dgm:prSet/>
      <dgm:spPr/>
      <dgm:t>
        <a:bodyPr/>
        <a:lstStyle/>
        <a:p>
          <a:endParaRPr lang="it-IT"/>
        </a:p>
      </dgm:t>
    </dgm:pt>
    <dgm:pt modelId="{72FFD339-6A5F-4ED7-B529-6155AF8C35BB}">
      <dgm:prSet/>
      <dgm:spPr>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dgm:spPr>
      <dgm:t>
        <a:bodyPr/>
        <a:lstStyle/>
        <a:p>
          <a:r>
            <a:rPr lang="it-IT" dirty="0" err="1"/>
            <a:t>soc</a:t>
          </a:r>
          <a:endParaRPr lang="it-IT" dirty="0"/>
        </a:p>
      </dgm:t>
    </dgm:pt>
    <dgm:pt modelId="{ECFEA23F-DCCD-42C6-8706-10917CE3C2B0}" type="parTrans" cxnId="{C381E8F4-D0AE-4AD0-B8F1-4BDFF55901DE}">
      <dgm:prSet/>
      <dgm:spPr/>
      <dgm:t>
        <a:bodyPr/>
        <a:lstStyle/>
        <a:p>
          <a:endParaRPr lang="it-IT"/>
        </a:p>
      </dgm:t>
    </dgm:pt>
    <dgm:pt modelId="{A3B7292F-5113-4C29-982F-BC1D14C7BE90}" type="sibTrans" cxnId="{C381E8F4-D0AE-4AD0-B8F1-4BDFF55901DE}">
      <dgm:prSet/>
      <dgm:spPr/>
      <dgm:t>
        <a:bodyPr/>
        <a:lstStyle/>
        <a:p>
          <a:endParaRPr lang="it-IT"/>
        </a:p>
      </dgm:t>
    </dgm:pt>
    <dgm:pt modelId="{A07A8528-D240-4AAE-BA81-005F6AD457F1}">
      <dgm:prSet/>
      <dgm:spPr>
        <a:gradFill flip="none"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16200000" scaled="1"/>
          <a:tileRect/>
        </a:gradFill>
      </dgm:spPr>
      <dgm:t>
        <a:bodyPr/>
        <a:lstStyle/>
        <a:p>
          <a:r>
            <a:rPr lang="it-IT" dirty="0"/>
            <a:t>Ispezione Opere D’arte</a:t>
          </a:r>
        </a:p>
      </dgm:t>
    </dgm:pt>
    <dgm:pt modelId="{3C15A388-1B3D-47E8-B2CB-E67F7E1AFFF1}" type="parTrans" cxnId="{C9F268FB-CB20-4E78-9CDC-F035D61B7E09}">
      <dgm:prSet/>
      <dgm:spPr/>
      <dgm:t>
        <a:bodyPr/>
        <a:lstStyle/>
        <a:p>
          <a:endParaRPr lang="it-IT"/>
        </a:p>
      </dgm:t>
    </dgm:pt>
    <dgm:pt modelId="{7D0C416E-0310-43FE-A0D6-735CD62199B6}" type="sibTrans" cxnId="{C9F268FB-CB20-4E78-9CDC-F035D61B7E09}">
      <dgm:prSet/>
      <dgm:spPr/>
      <dgm:t>
        <a:bodyPr/>
        <a:lstStyle/>
        <a:p>
          <a:endParaRPr lang="it-IT"/>
        </a:p>
      </dgm:t>
    </dgm:pt>
    <dgm:pt modelId="{56EC974B-4690-4A6A-B143-36A5A9DDDB75}">
      <dgm:prSet/>
      <dgm:spPr>
        <a:gradFill flip="none"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16200000" scaled="1"/>
          <a:tileRect/>
        </a:gradFill>
      </dgm:spPr>
      <dgm:t>
        <a:bodyPr/>
        <a:lstStyle/>
        <a:p>
          <a:r>
            <a:rPr lang="it-IT" dirty="0"/>
            <a:t>Supporto Tecnico</a:t>
          </a:r>
        </a:p>
      </dgm:t>
    </dgm:pt>
    <dgm:pt modelId="{F24B2512-EFC3-4494-92F8-F4C2A580DD56}" type="parTrans" cxnId="{FE5FBCA8-5D6F-44E5-8DFA-D24300AECCE8}">
      <dgm:prSet/>
      <dgm:spPr/>
      <dgm:t>
        <a:bodyPr/>
        <a:lstStyle/>
        <a:p>
          <a:endParaRPr lang="it-IT"/>
        </a:p>
      </dgm:t>
    </dgm:pt>
    <dgm:pt modelId="{57612FAC-3D38-4A5A-9D54-8452999285F4}" type="sibTrans" cxnId="{FE5FBCA8-5D6F-44E5-8DFA-D24300AECCE8}">
      <dgm:prSet/>
      <dgm:spPr/>
      <dgm:t>
        <a:bodyPr/>
        <a:lstStyle/>
        <a:p>
          <a:endParaRPr lang="it-IT"/>
        </a:p>
      </dgm:t>
    </dgm:pt>
    <dgm:pt modelId="{5805825E-3BC3-4961-910E-96065463977D}">
      <dgm:prSet/>
      <dgm:spPr>
        <a:gradFill flip="none"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16200000" scaled="1"/>
          <a:tileRect/>
        </a:gradFill>
      </dgm:spPr>
      <dgm:t>
        <a:bodyPr/>
        <a:lstStyle/>
        <a:p>
          <a:r>
            <a:rPr lang="it-IT" dirty="0"/>
            <a:t>Interventi Rilevanti</a:t>
          </a:r>
        </a:p>
      </dgm:t>
    </dgm:pt>
    <dgm:pt modelId="{263FA899-3C2D-4809-A47A-DB65911293C7}" type="parTrans" cxnId="{D6C89AE1-00A8-492D-888B-1E3DDC006D86}">
      <dgm:prSet/>
      <dgm:spPr/>
      <dgm:t>
        <a:bodyPr/>
        <a:lstStyle/>
        <a:p>
          <a:endParaRPr lang="it-IT"/>
        </a:p>
      </dgm:t>
    </dgm:pt>
    <dgm:pt modelId="{B58F1702-0059-4F53-9A60-77242457BBFA}" type="sibTrans" cxnId="{D6C89AE1-00A8-492D-888B-1E3DDC006D86}">
      <dgm:prSet/>
      <dgm:spPr/>
      <dgm:t>
        <a:bodyPr/>
        <a:lstStyle/>
        <a:p>
          <a:endParaRPr lang="it-IT"/>
        </a:p>
      </dgm:t>
    </dgm:pt>
    <dgm:pt modelId="{7A5D9CDD-E10F-422D-808B-815C691EF2E8}">
      <dgm:prSet phldrT="[Testo]" custT="1"/>
      <dgm:spPr>
        <a:solidFill>
          <a:schemeClr val="accent1"/>
        </a:solidFill>
      </dgm:spPr>
      <dgm:t>
        <a:bodyPr/>
        <a:lstStyle/>
        <a:p>
          <a:r>
            <a:rPr lang="it-IT" sz="700" dirty="0"/>
            <a:t>Investimenti e Produzione</a:t>
          </a:r>
        </a:p>
        <a:p>
          <a:r>
            <a:rPr lang="it-IT" sz="700" dirty="0"/>
            <a:t>NO</a:t>
          </a:r>
        </a:p>
      </dgm:t>
    </dgm:pt>
    <dgm:pt modelId="{089AE963-8402-4F38-908B-1CA814F78766}" type="parTrans" cxnId="{BEDD267B-EA80-4783-A782-86B96AAC5B03}">
      <dgm:prSet/>
      <dgm:spPr/>
      <dgm:t>
        <a:bodyPr/>
        <a:lstStyle/>
        <a:p>
          <a:endParaRPr lang="it-IT"/>
        </a:p>
      </dgm:t>
    </dgm:pt>
    <dgm:pt modelId="{63A1392B-D9B4-4604-ACED-CDD4B7E19D6E}" type="sibTrans" cxnId="{BEDD267B-EA80-4783-A782-86B96AAC5B03}">
      <dgm:prSet/>
      <dgm:spPr/>
      <dgm:t>
        <a:bodyPr/>
        <a:lstStyle/>
        <a:p>
          <a:endParaRPr lang="it-IT"/>
        </a:p>
      </dgm:t>
    </dgm:pt>
    <dgm:pt modelId="{2069E263-CA68-447A-859F-7068DC9AF2B6}" type="pres">
      <dgm:prSet presAssocID="{C782CD9B-2B4B-48D2-BF13-2B0D6056B78A}" presName="Name0" presStyleCnt="0">
        <dgm:presLayoutVars>
          <dgm:dir/>
          <dgm:animLvl val="lvl"/>
          <dgm:resizeHandles val="exact"/>
        </dgm:presLayoutVars>
      </dgm:prSet>
      <dgm:spPr/>
    </dgm:pt>
    <dgm:pt modelId="{F7031506-3856-48AD-BFC1-89D9660F7FF7}" type="pres">
      <dgm:prSet presAssocID="{DFCF748E-4FA2-4C04-B1DF-85DA1021BE5D}" presName="parTxOnly" presStyleLbl="node1" presStyleIdx="0" presStyleCnt="10">
        <dgm:presLayoutVars>
          <dgm:chMax val="0"/>
          <dgm:chPref val="0"/>
          <dgm:bulletEnabled val="1"/>
        </dgm:presLayoutVars>
      </dgm:prSet>
      <dgm:spPr/>
    </dgm:pt>
    <dgm:pt modelId="{420EBE6C-A91F-49B7-AF4C-29A127D6266A}" type="pres">
      <dgm:prSet presAssocID="{A0ED7260-8442-4FBF-80B4-500E49A4F3AF}" presName="parTxOnlySpace" presStyleCnt="0"/>
      <dgm:spPr/>
    </dgm:pt>
    <dgm:pt modelId="{6C62160D-9EC9-4B84-8EFD-9C3E10FC055A}" type="pres">
      <dgm:prSet presAssocID="{B754C885-66E5-4615-BD33-B6EE917A035D}" presName="parTxOnly" presStyleLbl="node1" presStyleIdx="1" presStyleCnt="10">
        <dgm:presLayoutVars>
          <dgm:chMax val="0"/>
          <dgm:chPref val="0"/>
          <dgm:bulletEnabled val="1"/>
        </dgm:presLayoutVars>
      </dgm:prSet>
      <dgm:spPr/>
    </dgm:pt>
    <dgm:pt modelId="{6415A264-B3C7-41A6-9BA0-D0AD6AE1DACB}" type="pres">
      <dgm:prSet presAssocID="{79AAED35-18A8-4347-A2B8-6AAE8B34BA56}" presName="parTxOnlySpace" presStyleCnt="0"/>
      <dgm:spPr/>
    </dgm:pt>
    <dgm:pt modelId="{636F50A3-8EFE-4C08-B6BE-284B03274F0B}" type="pres">
      <dgm:prSet presAssocID="{72FFD339-6A5F-4ED7-B529-6155AF8C35BB}" presName="parTxOnly" presStyleLbl="node1" presStyleIdx="2" presStyleCnt="10">
        <dgm:presLayoutVars>
          <dgm:chMax val="0"/>
          <dgm:chPref val="0"/>
          <dgm:bulletEnabled val="1"/>
        </dgm:presLayoutVars>
      </dgm:prSet>
      <dgm:spPr/>
    </dgm:pt>
    <dgm:pt modelId="{B0C5D3FB-8180-4CC6-9F14-5042E96FD8E3}" type="pres">
      <dgm:prSet presAssocID="{A3B7292F-5113-4C29-982F-BC1D14C7BE90}" presName="parTxOnlySpace" presStyleCnt="0"/>
      <dgm:spPr/>
    </dgm:pt>
    <dgm:pt modelId="{6BB9B9CD-B911-4E33-8045-BE6A8D7C5B89}" type="pres">
      <dgm:prSet presAssocID="{9225496C-39D8-4F53-8BB5-1B069B40EB3E}" presName="parTxOnly" presStyleLbl="node1" presStyleIdx="3" presStyleCnt="10">
        <dgm:presLayoutVars>
          <dgm:chMax val="0"/>
          <dgm:chPref val="0"/>
          <dgm:bulletEnabled val="1"/>
        </dgm:presLayoutVars>
      </dgm:prSet>
      <dgm:spPr/>
    </dgm:pt>
    <dgm:pt modelId="{60B2C4AD-8A0D-4CB2-93A9-16C6C0E4BD5B}" type="pres">
      <dgm:prSet presAssocID="{1E3F53DD-2537-4C67-AA71-87081D444A81}" presName="parTxOnlySpace" presStyleCnt="0"/>
      <dgm:spPr/>
    </dgm:pt>
    <dgm:pt modelId="{A29D7AF6-34C9-459D-B160-0F8E7686BA2B}" type="pres">
      <dgm:prSet presAssocID="{2F442204-E894-4EB6-A3FA-953074E6D5F9}" presName="parTxOnly" presStyleLbl="node1" presStyleIdx="4" presStyleCnt="10">
        <dgm:presLayoutVars>
          <dgm:chMax val="0"/>
          <dgm:chPref val="0"/>
          <dgm:bulletEnabled val="1"/>
        </dgm:presLayoutVars>
      </dgm:prSet>
      <dgm:spPr/>
    </dgm:pt>
    <dgm:pt modelId="{7004503D-9639-442B-9C04-FB1247092C40}" type="pres">
      <dgm:prSet presAssocID="{07F51AA8-9070-4A56-AF24-8977CF9B6A80}" presName="parTxOnlySpace" presStyleCnt="0"/>
      <dgm:spPr/>
    </dgm:pt>
    <dgm:pt modelId="{A2199658-E72A-4294-AFD3-6892981EEB12}" type="pres">
      <dgm:prSet presAssocID="{7A5D9CDD-E10F-422D-808B-815C691EF2E8}" presName="parTxOnly" presStyleLbl="node1" presStyleIdx="5" presStyleCnt="10">
        <dgm:presLayoutVars>
          <dgm:chMax val="0"/>
          <dgm:chPref val="0"/>
          <dgm:bulletEnabled val="1"/>
        </dgm:presLayoutVars>
      </dgm:prSet>
      <dgm:spPr/>
    </dgm:pt>
    <dgm:pt modelId="{9B5C0F41-E4E2-4A3A-AA73-E3E4EB6ACD5E}" type="pres">
      <dgm:prSet presAssocID="{63A1392B-D9B4-4604-ACED-CDD4B7E19D6E}" presName="parTxOnlySpace" presStyleCnt="0"/>
      <dgm:spPr/>
    </dgm:pt>
    <dgm:pt modelId="{F9C55CAF-C1A3-4EFD-AD93-3CBF7E30E2FA}" type="pres">
      <dgm:prSet presAssocID="{56EC974B-4690-4A6A-B143-36A5A9DDDB75}" presName="parTxOnly" presStyleLbl="node1" presStyleIdx="6" presStyleCnt="10">
        <dgm:presLayoutVars>
          <dgm:chMax val="0"/>
          <dgm:chPref val="0"/>
          <dgm:bulletEnabled val="1"/>
        </dgm:presLayoutVars>
      </dgm:prSet>
      <dgm:spPr/>
    </dgm:pt>
    <dgm:pt modelId="{DDB26EDE-11AF-40B7-9C16-348181381393}" type="pres">
      <dgm:prSet presAssocID="{57612FAC-3D38-4A5A-9D54-8452999285F4}" presName="parTxOnlySpace" presStyleCnt="0"/>
      <dgm:spPr/>
    </dgm:pt>
    <dgm:pt modelId="{8CED6B9D-804A-4009-A04D-D699125D11F0}" type="pres">
      <dgm:prSet presAssocID="{A07A8528-D240-4AAE-BA81-005F6AD457F1}" presName="parTxOnly" presStyleLbl="node1" presStyleIdx="7" presStyleCnt="10">
        <dgm:presLayoutVars>
          <dgm:chMax val="0"/>
          <dgm:chPref val="0"/>
          <dgm:bulletEnabled val="1"/>
        </dgm:presLayoutVars>
      </dgm:prSet>
      <dgm:spPr/>
    </dgm:pt>
    <dgm:pt modelId="{C3D8151F-F75F-49EC-B6A3-4B15A8912918}" type="pres">
      <dgm:prSet presAssocID="{7D0C416E-0310-43FE-A0D6-735CD62199B6}" presName="parTxOnlySpace" presStyleCnt="0"/>
      <dgm:spPr/>
    </dgm:pt>
    <dgm:pt modelId="{0A5AB2D9-0A33-47A4-83C2-3990E2018CD9}" type="pres">
      <dgm:prSet presAssocID="{5805825E-3BC3-4961-910E-96065463977D}" presName="parTxOnly" presStyleLbl="node1" presStyleIdx="8" presStyleCnt="10">
        <dgm:presLayoutVars>
          <dgm:chMax val="0"/>
          <dgm:chPref val="0"/>
          <dgm:bulletEnabled val="1"/>
        </dgm:presLayoutVars>
      </dgm:prSet>
      <dgm:spPr/>
    </dgm:pt>
    <dgm:pt modelId="{5FE5E96A-0031-41D2-A1BE-2634D143793A}" type="pres">
      <dgm:prSet presAssocID="{B58F1702-0059-4F53-9A60-77242457BBFA}" presName="parTxOnlySpace" presStyleCnt="0"/>
      <dgm:spPr/>
    </dgm:pt>
    <dgm:pt modelId="{F2510710-7BA2-44B7-8AA7-1347717B483B}" type="pres">
      <dgm:prSet presAssocID="{2D51EAF0-C497-40E9-996D-2D0BC40F318C}" presName="parTxOnly" presStyleLbl="node1" presStyleIdx="9" presStyleCnt="10">
        <dgm:presLayoutVars>
          <dgm:chMax val="0"/>
          <dgm:chPref val="0"/>
          <dgm:bulletEnabled val="1"/>
        </dgm:presLayoutVars>
      </dgm:prSet>
      <dgm:spPr/>
    </dgm:pt>
  </dgm:ptLst>
  <dgm:cxnLst>
    <dgm:cxn modelId="{F8EA3703-CEE5-4162-AB46-CFFF8AC28B48}" srcId="{C782CD9B-2B4B-48D2-BF13-2B0D6056B78A}" destId="{B754C885-66E5-4615-BD33-B6EE917A035D}" srcOrd="1" destOrd="0" parTransId="{65812F9F-DD0E-4752-BF8B-D07282594751}" sibTransId="{79AAED35-18A8-4347-A2B8-6AAE8B34BA56}"/>
    <dgm:cxn modelId="{0B44FB03-393D-4A15-8B37-BC0933E6388C}" type="presOf" srcId="{DFCF748E-4FA2-4C04-B1DF-85DA1021BE5D}" destId="{F7031506-3856-48AD-BFC1-89D9660F7FF7}" srcOrd="0" destOrd="0" presId="urn:microsoft.com/office/officeart/2005/8/layout/chevron1"/>
    <dgm:cxn modelId="{F0127A10-C254-4301-866F-8E4A53ADB1A1}" type="presOf" srcId="{2D51EAF0-C497-40E9-996D-2D0BC40F318C}" destId="{F2510710-7BA2-44B7-8AA7-1347717B483B}" srcOrd="0" destOrd="0" presId="urn:microsoft.com/office/officeart/2005/8/layout/chevron1"/>
    <dgm:cxn modelId="{4010AD17-749B-4E42-AEB5-8405CF59CCC4}" type="presOf" srcId="{2F442204-E894-4EB6-A3FA-953074E6D5F9}" destId="{A29D7AF6-34C9-459D-B160-0F8E7686BA2B}" srcOrd="0" destOrd="0" presId="urn:microsoft.com/office/officeart/2005/8/layout/chevron1"/>
    <dgm:cxn modelId="{7BC9B318-E7A6-41F3-853C-1D1DFB2050EF}" srcId="{C782CD9B-2B4B-48D2-BF13-2B0D6056B78A}" destId="{2D51EAF0-C497-40E9-996D-2D0BC40F318C}" srcOrd="9" destOrd="0" parTransId="{43C509B8-DD3A-429A-ADC4-232D55259B3D}" sibTransId="{66A12237-9546-42D0-81C0-2C324670B743}"/>
    <dgm:cxn modelId="{83CA6B1A-0E7F-44F9-B72E-43B2FE63B960}" type="presOf" srcId="{56EC974B-4690-4A6A-B143-36A5A9DDDB75}" destId="{F9C55CAF-C1A3-4EFD-AD93-3CBF7E30E2FA}" srcOrd="0" destOrd="0" presId="urn:microsoft.com/office/officeart/2005/8/layout/chevron1"/>
    <dgm:cxn modelId="{80077136-0786-463D-83B2-6D14EBECC360}" type="presOf" srcId="{7A5D9CDD-E10F-422D-808B-815C691EF2E8}" destId="{A2199658-E72A-4294-AFD3-6892981EEB12}" srcOrd="0" destOrd="0" presId="urn:microsoft.com/office/officeart/2005/8/layout/chevron1"/>
    <dgm:cxn modelId="{94A2B45D-2D69-4650-AFC3-C5574217F910}" srcId="{C782CD9B-2B4B-48D2-BF13-2B0D6056B78A}" destId="{9225496C-39D8-4F53-8BB5-1B069B40EB3E}" srcOrd="3" destOrd="0" parTransId="{D3A21DFB-000A-4FCE-9E9D-8516EBA4DD45}" sibTransId="{1E3F53DD-2537-4C67-AA71-87081D444A81}"/>
    <dgm:cxn modelId="{4C0C1B41-5B6F-4F19-9661-DB840E172701}" type="presOf" srcId="{B754C885-66E5-4615-BD33-B6EE917A035D}" destId="{6C62160D-9EC9-4B84-8EFD-9C3E10FC055A}" srcOrd="0" destOrd="0" presId="urn:microsoft.com/office/officeart/2005/8/layout/chevron1"/>
    <dgm:cxn modelId="{BBF41864-C8A2-462E-9174-8679D3BF1087}" type="presOf" srcId="{72FFD339-6A5F-4ED7-B529-6155AF8C35BB}" destId="{636F50A3-8EFE-4C08-B6BE-284B03274F0B}" srcOrd="0" destOrd="0" presId="urn:microsoft.com/office/officeart/2005/8/layout/chevron1"/>
    <dgm:cxn modelId="{6FD2AE64-BDEB-482D-ACF3-1D5403180A1E}" srcId="{C782CD9B-2B4B-48D2-BF13-2B0D6056B78A}" destId="{2F442204-E894-4EB6-A3FA-953074E6D5F9}" srcOrd="4" destOrd="0" parTransId="{9E6A019B-6886-407A-A3BB-1A2A8D416818}" sibTransId="{07F51AA8-9070-4A56-AF24-8977CF9B6A80}"/>
    <dgm:cxn modelId="{BEDD267B-EA80-4783-A782-86B96AAC5B03}" srcId="{C782CD9B-2B4B-48D2-BF13-2B0D6056B78A}" destId="{7A5D9CDD-E10F-422D-808B-815C691EF2E8}" srcOrd="5" destOrd="0" parTransId="{089AE963-8402-4F38-908B-1CA814F78766}" sibTransId="{63A1392B-D9B4-4604-ACED-CDD4B7E19D6E}"/>
    <dgm:cxn modelId="{92751D9D-02E3-45C2-978C-737085227C42}" srcId="{C782CD9B-2B4B-48D2-BF13-2B0D6056B78A}" destId="{DFCF748E-4FA2-4C04-B1DF-85DA1021BE5D}" srcOrd="0" destOrd="0" parTransId="{7DAF1956-B700-4203-9672-92E4451DCC31}" sibTransId="{A0ED7260-8442-4FBF-80B4-500E49A4F3AF}"/>
    <dgm:cxn modelId="{BA0314A7-2F62-4BE0-B850-D995D5724FF9}" type="presOf" srcId="{5805825E-3BC3-4961-910E-96065463977D}" destId="{0A5AB2D9-0A33-47A4-83C2-3990E2018CD9}" srcOrd="0" destOrd="0" presId="urn:microsoft.com/office/officeart/2005/8/layout/chevron1"/>
    <dgm:cxn modelId="{FE5FBCA8-5D6F-44E5-8DFA-D24300AECCE8}" srcId="{C782CD9B-2B4B-48D2-BF13-2B0D6056B78A}" destId="{56EC974B-4690-4A6A-B143-36A5A9DDDB75}" srcOrd="6" destOrd="0" parTransId="{F24B2512-EFC3-4494-92F8-F4C2A580DD56}" sibTransId="{57612FAC-3D38-4A5A-9D54-8452999285F4}"/>
    <dgm:cxn modelId="{F26BDBBA-BD20-421F-97F3-98663F975483}" type="presOf" srcId="{C782CD9B-2B4B-48D2-BF13-2B0D6056B78A}" destId="{2069E263-CA68-447A-859F-7068DC9AF2B6}" srcOrd="0" destOrd="0" presId="urn:microsoft.com/office/officeart/2005/8/layout/chevron1"/>
    <dgm:cxn modelId="{D6C89AE1-00A8-492D-888B-1E3DDC006D86}" srcId="{C782CD9B-2B4B-48D2-BF13-2B0D6056B78A}" destId="{5805825E-3BC3-4961-910E-96065463977D}" srcOrd="8" destOrd="0" parTransId="{263FA899-3C2D-4809-A47A-DB65911293C7}" sibTransId="{B58F1702-0059-4F53-9A60-77242457BBFA}"/>
    <dgm:cxn modelId="{82A5E1E8-9E42-45C6-9308-0BD4798D908C}" type="presOf" srcId="{A07A8528-D240-4AAE-BA81-005F6AD457F1}" destId="{8CED6B9D-804A-4009-A04D-D699125D11F0}" srcOrd="0" destOrd="0" presId="urn:microsoft.com/office/officeart/2005/8/layout/chevron1"/>
    <dgm:cxn modelId="{7F1102ED-E8ED-4F62-B3EE-74C62823543F}" type="presOf" srcId="{9225496C-39D8-4F53-8BB5-1B069B40EB3E}" destId="{6BB9B9CD-B911-4E33-8045-BE6A8D7C5B89}" srcOrd="0" destOrd="0" presId="urn:microsoft.com/office/officeart/2005/8/layout/chevron1"/>
    <dgm:cxn modelId="{C381E8F4-D0AE-4AD0-B8F1-4BDFF55901DE}" srcId="{C782CD9B-2B4B-48D2-BF13-2B0D6056B78A}" destId="{72FFD339-6A5F-4ED7-B529-6155AF8C35BB}" srcOrd="2" destOrd="0" parTransId="{ECFEA23F-DCCD-42C6-8706-10917CE3C2B0}" sibTransId="{A3B7292F-5113-4C29-982F-BC1D14C7BE90}"/>
    <dgm:cxn modelId="{C9F268FB-CB20-4E78-9CDC-F035D61B7E09}" srcId="{C782CD9B-2B4B-48D2-BF13-2B0D6056B78A}" destId="{A07A8528-D240-4AAE-BA81-005F6AD457F1}" srcOrd="7" destOrd="0" parTransId="{3C15A388-1B3D-47E8-B2CB-E67F7E1AFFF1}" sibTransId="{7D0C416E-0310-43FE-A0D6-735CD62199B6}"/>
    <dgm:cxn modelId="{CC8760FC-92AA-4324-8231-B739FAA01E86}" type="presParOf" srcId="{2069E263-CA68-447A-859F-7068DC9AF2B6}" destId="{F7031506-3856-48AD-BFC1-89D9660F7FF7}" srcOrd="0" destOrd="0" presId="urn:microsoft.com/office/officeart/2005/8/layout/chevron1"/>
    <dgm:cxn modelId="{D111D719-5EE3-4835-9E74-943AC6564E50}" type="presParOf" srcId="{2069E263-CA68-447A-859F-7068DC9AF2B6}" destId="{420EBE6C-A91F-49B7-AF4C-29A127D6266A}" srcOrd="1" destOrd="0" presId="urn:microsoft.com/office/officeart/2005/8/layout/chevron1"/>
    <dgm:cxn modelId="{D4F2F01D-9FE1-471E-B25B-CBFCA3604F35}" type="presParOf" srcId="{2069E263-CA68-447A-859F-7068DC9AF2B6}" destId="{6C62160D-9EC9-4B84-8EFD-9C3E10FC055A}" srcOrd="2" destOrd="0" presId="urn:microsoft.com/office/officeart/2005/8/layout/chevron1"/>
    <dgm:cxn modelId="{1018A49B-FA77-475A-ADB9-24CAD43A701E}" type="presParOf" srcId="{2069E263-CA68-447A-859F-7068DC9AF2B6}" destId="{6415A264-B3C7-41A6-9BA0-D0AD6AE1DACB}" srcOrd="3" destOrd="0" presId="urn:microsoft.com/office/officeart/2005/8/layout/chevron1"/>
    <dgm:cxn modelId="{DE19C88E-9229-4B0B-889C-6C43B3CB2BBA}" type="presParOf" srcId="{2069E263-CA68-447A-859F-7068DC9AF2B6}" destId="{636F50A3-8EFE-4C08-B6BE-284B03274F0B}" srcOrd="4" destOrd="0" presId="urn:microsoft.com/office/officeart/2005/8/layout/chevron1"/>
    <dgm:cxn modelId="{0B856EB6-ED13-40D5-A844-92B2AB502D47}" type="presParOf" srcId="{2069E263-CA68-447A-859F-7068DC9AF2B6}" destId="{B0C5D3FB-8180-4CC6-9F14-5042E96FD8E3}" srcOrd="5" destOrd="0" presId="urn:microsoft.com/office/officeart/2005/8/layout/chevron1"/>
    <dgm:cxn modelId="{722AA766-EC0E-412B-885E-5D031913BB10}" type="presParOf" srcId="{2069E263-CA68-447A-859F-7068DC9AF2B6}" destId="{6BB9B9CD-B911-4E33-8045-BE6A8D7C5B89}" srcOrd="6" destOrd="0" presId="urn:microsoft.com/office/officeart/2005/8/layout/chevron1"/>
    <dgm:cxn modelId="{9EA0115E-58B8-4BAC-817B-629DE7FED6D2}" type="presParOf" srcId="{2069E263-CA68-447A-859F-7068DC9AF2B6}" destId="{60B2C4AD-8A0D-4CB2-93A9-16C6C0E4BD5B}" srcOrd="7" destOrd="0" presId="urn:microsoft.com/office/officeart/2005/8/layout/chevron1"/>
    <dgm:cxn modelId="{570E1A07-6DD8-4709-B476-BAE00662CA20}" type="presParOf" srcId="{2069E263-CA68-447A-859F-7068DC9AF2B6}" destId="{A29D7AF6-34C9-459D-B160-0F8E7686BA2B}" srcOrd="8" destOrd="0" presId="urn:microsoft.com/office/officeart/2005/8/layout/chevron1"/>
    <dgm:cxn modelId="{D7E8B08D-016C-4AC3-80DF-7BED9A487632}" type="presParOf" srcId="{2069E263-CA68-447A-859F-7068DC9AF2B6}" destId="{7004503D-9639-442B-9C04-FB1247092C40}" srcOrd="9" destOrd="0" presId="urn:microsoft.com/office/officeart/2005/8/layout/chevron1"/>
    <dgm:cxn modelId="{FDBD332C-87EB-4E87-9A71-9036250EA4CF}" type="presParOf" srcId="{2069E263-CA68-447A-859F-7068DC9AF2B6}" destId="{A2199658-E72A-4294-AFD3-6892981EEB12}" srcOrd="10" destOrd="0" presId="urn:microsoft.com/office/officeart/2005/8/layout/chevron1"/>
    <dgm:cxn modelId="{CED5C4F1-0E19-4619-8F47-31DCC940A41B}" type="presParOf" srcId="{2069E263-CA68-447A-859F-7068DC9AF2B6}" destId="{9B5C0F41-E4E2-4A3A-AA73-E3E4EB6ACD5E}" srcOrd="11" destOrd="0" presId="urn:microsoft.com/office/officeart/2005/8/layout/chevron1"/>
    <dgm:cxn modelId="{F81255CA-743A-4E4C-9D9F-C948CD51A15B}" type="presParOf" srcId="{2069E263-CA68-447A-859F-7068DC9AF2B6}" destId="{F9C55CAF-C1A3-4EFD-AD93-3CBF7E30E2FA}" srcOrd="12" destOrd="0" presId="urn:microsoft.com/office/officeart/2005/8/layout/chevron1"/>
    <dgm:cxn modelId="{61A79A42-2796-4C09-83D9-0AC09016339C}" type="presParOf" srcId="{2069E263-CA68-447A-859F-7068DC9AF2B6}" destId="{DDB26EDE-11AF-40B7-9C16-348181381393}" srcOrd="13" destOrd="0" presId="urn:microsoft.com/office/officeart/2005/8/layout/chevron1"/>
    <dgm:cxn modelId="{70694618-5FD6-49B2-A266-B87158A9AD51}" type="presParOf" srcId="{2069E263-CA68-447A-859F-7068DC9AF2B6}" destId="{8CED6B9D-804A-4009-A04D-D699125D11F0}" srcOrd="14" destOrd="0" presId="urn:microsoft.com/office/officeart/2005/8/layout/chevron1"/>
    <dgm:cxn modelId="{D730C5B1-C7A6-486B-A0D8-A283D29E1AA6}" type="presParOf" srcId="{2069E263-CA68-447A-859F-7068DC9AF2B6}" destId="{C3D8151F-F75F-49EC-B6A3-4B15A8912918}" srcOrd="15" destOrd="0" presId="urn:microsoft.com/office/officeart/2005/8/layout/chevron1"/>
    <dgm:cxn modelId="{70ED161B-BF93-4DFA-843E-F48E8583144A}" type="presParOf" srcId="{2069E263-CA68-447A-859F-7068DC9AF2B6}" destId="{0A5AB2D9-0A33-47A4-83C2-3990E2018CD9}" srcOrd="16" destOrd="0" presId="urn:microsoft.com/office/officeart/2005/8/layout/chevron1"/>
    <dgm:cxn modelId="{C2FD0443-B646-4762-B967-D62E4DE41C97}" type="presParOf" srcId="{2069E263-CA68-447A-859F-7068DC9AF2B6}" destId="{5FE5E96A-0031-41D2-A1BE-2634D143793A}" srcOrd="17" destOrd="0" presId="urn:microsoft.com/office/officeart/2005/8/layout/chevron1"/>
    <dgm:cxn modelId="{95D966EB-51AE-4948-A97F-DB66BE97A7F4}" type="presParOf" srcId="{2069E263-CA68-447A-859F-7068DC9AF2B6}" destId="{F2510710-7BA2-44B7-8AA7-1347717B483B}" srcOrd="18"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C782CD9B-2B4B-48D2-BF13-2B0D6056B78A}"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it-IT"/>
        </a:p>
      </dgm:t>
    </dgm:pt>
    <dgm:pt modelId="{DFCF748E-4FA2-4C04-B1DF-85DA1021BE5D}">
      <dgm:prSet phldrT="[Testo]"/>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Rete viaria complessiva</a:t>
          </a:r>
        </a:p>
      </dgm:t>
    </dgm:pt>
    <dgm:pt modelId="{7DAF1956-B700-4203-9672-92E4451DCC31}" type="parTrans" cxnId="{92751D9D-02E3-45C2-978C-737085227C42}">
      <dgm:prSet/>
      <dgm:spPr/>
      <dgm:t>
        <a:bodyPr/>
        <a:lstStyle/>
        <a:p>
          <a:endParaRPr lang="it-IT"/>
        </a:p>
      </dgm:t>
    </dgm:pt>
    <dgm:pt modelId="{A0ED7260-8442-4FBF-80B4-500E49A4F3AF}" type="sibTrans" cxnId="{92751D9D-02E3-45C2-978C-737085227C42}">
      <dgm:prSet/>
      <dgm:spPr/>
      <dgm:t>
        <a:bodyPr/>
        <a:lstStyle/>
        <a:p>
          <a:endParaRPr lang="it-IT"/>
        </a:p>
      </dgm:t>
    </dgm:pt>
    <dgm:pt modelId="{B754C885-66E5-4615-BD33-B6EE917A035D}">
      <dgm:prSet phldrT="[Testo]"/>
      <dgm:spPr>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dgm:spPr>
      <dgm:t>
        <a:bodyPr/>
        <a:lstStyle/>
        <a:p>
          <a:r>
            <a:rPr lang="it-IT" dirty="0"/>
            <a:t>Risorse</a:t>
          </a:r>
        </a:p>
      </dgm:t>
    </dgm:pt>
    <dgm:pt modelId="{65812F9F-DD0E-4752-BF8B-D07282594751}" type="parTrans" cxnId="{F8EA3703-CEE5-4162-AB46-CFFF8AC28B48}">
      <dgm:prSet/>
      <dgm:spPr/>
      <dgm:t>
        <a:bodyPr/>
        <a:lstStyle/>
        <a:p>
          <a:endParaRPr lang="it-IT"/>
        </a:p>
      </dgm:t>
    </dgm:pt>
    <dgm:pt modelId="{79AAED35-18A8-4347-A2B8-6AAE8B34BA56}" type="sibTrans" cxnId="{F8EA3703-CEE5-4162-AB46-CFFF8AC28B48}">
      <dgm:prSet/>
      <dgm:spPr/>
      <dgm:t>
        <a:bodyPr/>
        <a:lstStyle/>
        <a:p>
          <a:endParaRPr lang="it-IT"/>
        </a:p>
      </dgm:t>
    </dgm:pt>
    <dgm:pt modelId="{9225496C-39D8-4F53-8BB5-1B069B40EB3E}">
      <dgm:prSet phldrT="[Testo]"/>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Affidamenti</a:t>
          </a:r>
        </a:p>
      </dgm:t>
    </dgm:pt>
    <dgm:pt modelId="{D3A21DFB-000A-4FCE-9E9D-8516EBA4DD45}" type="parTrans" cxnId="{94A2B45D-2D69-4650-AFC3-C5574217F910}">
      <dgm:prSet/>
      <dgm:spPr/>
      <dgm:t>
        <a:bodyPr/>
        <a:lstStyle/>
        <a:p>
          <a:endParaRPr lang="it-IT"/>
        </a:p>
      </dgm:t>
    </dgm:pt>
    <dgm:pt modelId="{1E3F53DD-2537-4C67-AA71-87081D444A81}" type="sibTrans" cxnId="{94A2B45D-2D69-4650-AFC3-C5574217F910}">
      <dgm:prSet/>
      <dgm:spPr/>
      <dgm:t>
        <a:bodyPr/>
        <a:lstStyle/>
        <a:p>
          <a:endParaRPr lang="it-IT"/>
        </a:p>
      </dgm:t>
    </dgm:pt>
    <dgm:pt modelId="{2F442204-E894-4EB6-A3FA-953074E6D5F9}">
      <dgm:prSet phldrT="[Testo]" custT="1"/>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sz="700" dirty="0"/>
            <a:t>Investimenti e Produzione</a:t>
          </a:r>
        </a:p>
        <a:p>
          <a:r>
            <a:rPr lang="it-IT" sz="700" dirty="0"/>
            <a:t>MP</a:t>
          </a:r>
        </a:p>
      </dgm:t>
    </dgm:pt>
    <dgm:pt modelId="{9E6A019B-6886-407A-A3BB-1A2A8D416818}" type="parTrans" cxnId="{6FD2AE64-BDEB-482D-ACF3-1D5403180A1E}">
      <dgm:prSet/>
      <dgm:spPr/>
      <dgm:t>
        <a:bodyPr/>
        <a:lstStyle/>
        <a:p>
          <a:endParaRPr lang="it-IT"/>
        </a:p>
      </dgm:t>
    </dgm:pt>
    <dgm:pt modelId="{07F51AA8-9070-4A56-AF24-8977CF9B6A80}" type="sibTrans" cxnId="{6FD2AE64-BDEB-482D-ACF3-1D5403180A1E}">
      <dgm:prSet/>
      <dgm:spPr/>
      <dgm:t>
        <a:bodyPr/>
        <a:lstStyle/>
        <a:p>
          <a:endParaRPr lang="it-IT"/>
        </a:p>
      </dgm:t>
    </dgm:pt>
    <dgm:pt modelId="{2D51EAF0-C497-40E9-996D-2D0BC40F318C}">
      <dgm:prSet phldrT="[Testo]"/>
      <dgm:spPr>
        <a:gradFill flip="none"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16200000" scaled="1"/>
          <a:tileRect/>
        </a:gradFill>
      </dgm:spPr>
      <dgm:t>
        <a:bodyPr/>
        <a:lstStyle/>
        <a:p>
          <a:r>
            <a:rPr lang="it-IT" dirty="0"/>
            <a:t>Pagamenti</a:t>
          </a:r>
        </a:p>
      </dgm:t>
    </dgm:pt>
    <dgm:pt modelId="{43C509B8-DD3A-429A-ADC4-232D55259B3D}" type="parTrans" cxnId="{7BC9B318-E7A6-41F3-853C-1D1DFB2050EF}">
      <dgm:prSet/>
      <dgm:spPr/>
      <dgm:t>
        <a:bodyPr/>
        <a:lstStyle/>
        <a:p>
          <a:endParaRPr lang="it-IT"/>
        </a:p>
      </dgm:t>
    </dgm:pt>
    <dgm:pt modelId="{66A12237-9546-42D0-81C0-2C324670B743}" type="sibTrans" cxnId="{7BC9B318-E7A6-41F3-853C-1D1DFB2050EF}">
      <dgm:prSet/>
      <dgm:spPr/>
      <dgm:t>
        <a:bodyPr/>
        <a:lstStyle/>
        <a:p>
          <a:endParaRPr lang="it-IT"/>
        </a:p>
      </dgm:t>
    </dgm:pt>
    <dgm:pt modelId="{72FFD339-6A5F-4ED7-B529-6155AF8C35BB}">
      <dgm:prSet/>
      <dgm:spPr>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dgm:spPr>
      <dgm:t>
        <a:bodyPr/>
        <a:lstStyle/>
        <a:p>
          <a:r>
            <a:rPr lang="it-IT" dirty="0" err="1"/>
            <a:t>soc</a:t>
          </a:r>
          <a:endParaRPr lang="it-IT" dirty="0"/>
        </a:p>
      </dgm:t>
    </dgm:pt>
    <dgm:pt modelId="{ECFEA23F-DCCD-42C6-8706-10917CE3C2B0}" type="parTrans" cxnId="{C381E8F4-D0AE-4AD0-B8F1-4BDFF55901DE}">
      <dgm:prSet/>
      <dgm:spPr/>
      <dgm:t>
        <a:bodyPr/>
        <a:lstStyle/>
        <a:p>
          <a:endParaRPr lang="it-IT"/>
        </a:p>
      </dgm:t>
    </dgm:pt>
    <dgm:pt modelId="{A3B7292F-5113-4C29-982F-BC1D14C7BE90}" type="sibTrans" cxnId="{C381E8F4-D0AE-4AD0-B8F1-4BDFF55901DE}">
      <dgm:prSet/>
      <dgm:spPr/>
      <dgm:t>
        <a:bodyPr/>
        <a:lstStyle/>
        <a:p>
          <a:endParaRPr lang="it-IT"/>
        </a:p>
      </dgm:t>
    </dgm:pt>
    <dgm:pt modelId="{A07A8528-D240-4AAE-BA81-005F6AD457F1}">
      <dgm:prSet/>
      <dgm:spPr>
        <a:solidFill>
          <a:schemeClr val="accent1"/>
        </a:solidFill>
      </dgm:spPr>
      <dgm:t>
        <a:bodyPr/>
        <a:lstStyle/>
        <a:p>
          <a:r>
            <a:rPr lang="it-IT" dirty="0"/>
            <a:t>Ispezione Opere D’arte</a:t>
          </a:r>
        </a:p>
      </dgm:t>
    </dgm:pt>
    <dgm:pt modelId="{3C15A388-1B3D-47E8-B2CB-E67F7E1AFFF1}" type="parTrans" cxnId="{C9F268FB-CB20-4E78-9CDC-F035D61B7E09}">
      <dgm:prSet/>
      <dgm:spPr/>
      <dgm:t>
        <a:bodyPr/>
        <a:lstStyle/>
        <a:p>
          <a:endParaRPr lang="it-IT"/>
        </a:p>
      </dgm:t>
    </dgm:pt>
    <dgm:pt modelId="{7D0C416E-0310-43FE-A0D6-735CD62199B6}" type="sibTrans" cxnId="{C9F268FB-CB20-4E78-9CDC-F035D61B7E09}">
      <dgm:prSet/>
      <dgm:spPr/>
      <dgm:t>
        <a:bodyPr/>
        <a:lstStyle/>
        <a:p>
          <a:endParaRPr lang="it-IT"/>
        </a:p>
      </dgm:t>
    </dgm:pt>
    <dgm:pt modelId="{56EC974B-4690-4A6A-B143-36A5A9DDDB75}">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Supporto Tecnico</a:t>
          </a:r>
        </a:p>
      </dgm:t>
    </dgm:pt>
    <dgm:pt modelId="{F24B2512-EFC3-4494-92F8-F4C2A580DD56}" type="parTrans" cxnId="{FE5FBCA8-5D6F-44E5-8DFA-D24300AECCE8}">
      <dgm:prSet/>
      <dgm:spPr/>
      <dgm:t>
        <a:bodyPr/>
        <a:lstStyle/>
        <a:p>
          <a:endParaRPr lang="it-IT"/>
        </a:p>
      </dgm:t>
    </dgm:pt>
    <dgm:pt modelId="{57612FAC-3D38-4A5A-9D54-8452999285F4}" type="sibTrans" cxnId="{FE5FBCA8-5D6F-44E5-8DFA-D24300AECCE8}">
      <dgm:prSet/>
      <dgm:spPr/>
      <dgm:t>
        <a:bodyPr/>
        <a:lstStyle/>
        <a:p>
          <a:endParaRPr lang="it-IT"/>
        </a:p>
      </dgm:t>
    </dgm:pt>
    <dgm:pt modelId="{5805825E-3BC3-4961-910E-96065463977D}">
      <dgm:prSet/>
      <dgm:spPr>
        <a:gradFill flip="none"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16200000" scaled="1"/>
          <a:tileRect/>
        </a:gradFill>
      </dgm:spPr>
      <dgm:t>
        <a:bodyPr/>
        <a:lstStyle/>
        <a:p>
          <a:r>
            <a:rPr lang="it-IT" dirty="0"/>
            <a:t>Interventi Rilevanti</a:t>
          </a:r>
        </a:p>
      </dgm:t>
    </dgm:pt>
    <dgm:pt modelId="{263FA899-3C2D-4809-A47A-DB65911293C7}" type="parTrans" cxnId="{D6C89AE1-00A8-492D-888B-1E3DDC006D86}">
      <dgm:prSet/>
      <dgm:spPr/>
      <dgm:t>
        <a:bodyPr/>
        <a:lstStyle/>
        <a:p>
          <a:endParaRPr lang="it-IT"/>
        </a:p>
      </dgm:t>
    </dgm:pt>
    <dgm:pt modelId="{B58F1702-0059-4F53-9A60-77242457BBFA}" type="sibTrans" cxnId="{D6C89AE1-00A8-492D-888B-1E3DDC006D86}">
      <dgm:prSet/>
      <dgm:spPr/>
      <dgm:t>
        <a:bodyPr/>
        <a:lstStyle/>
        <a:p>
          <a:endParaRPr lang="it-IT"/>
        </a:p>
      </dgm:t>
    </dgm:pt>
    <dgm:pt modelId="{7A5D9CDD-E10F-422D-808B-815C691EF2E8}">
      <dgm:prSet phldrT="[Testo]" custT="1"/>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sz="700" dirty="0"/>
            <a:t>Investimenti e Produzione</a:t>
          </a:r>
        </a:p>
        <a:p>
          <a:r>
            <a:rPr lang="it-IT" sz="700" dirty="0"/>
            <a:t>NO</a:t>
          </a:r>
        </a:p>
      </dgm:t>
    </dgm:pt>
    <dgm:pt modelId="{089AE963-8402-4F38-908B-1CA814F78766}" type="parTrans" cxnId="{BEDD267B-EA80-4783-A782-86B96AAC5B03}">
      <dgm:prSet/>
      <dgm:spPr/>
      <dgm:t>
        <a:bodyPr/>
        <a:lstStyle/>
        <a:p>
          <a:endParaRPr lang="it-IT"/>
        </a:p>
      </dgm:t>
    </dgm:pt>
    <dgm:pt modelId="{63A1392B-D9B4-4604-ACED-CDD4B7E19D6E}" type="sibTrans" cxnId="{BEDD267B-EA80-4783-A782-86B96AAC5B03}">
      <dgm:prSet/>
      <dgm:spPr/>
      <dgm:t>
        <a:bodyPr/>
        <a:lstStyle/>
        <a:p>
          <a:endParaRPr lang="it-IT"/>
        </a:p>
      </dgm:t>
    </dgm:pt>
    <dgm:pt modelId="{2069E263-CA68-447A-859F-7068DC9AF2B6}" type="pres">
      <dgm:prSet presAssocID="{C782CD9B-2B4B-48D2-BF13-2B0D6056B78A}" presName="Name0" presStyleCnt="0">
        <dgm:presLayoutVars>
          <dgm:dir/>
          <dgm:animLvl val="lvl"/>
          <dgm:resizeHandles val="exact"/>
        </dgm:presLayoutVars>
      </dgm:prSet>
      <dgm:spPr/>
    </dgm:pt>
    <dgm:pt modelId="{F7031506-3856-48AD-BFC1-89D9660F7FF7}" type="pres">
      <dgm:prSet presAssocID="{DFCF748E-4FA2-4C04-B1DF-85DA1021BE5D}" presName="parTxOnly" presStyleLbl="node1" presStyleIdx="0" presStyleCnt="10">
        <dgm:presLayoutVars>
          <dgm:chMax val="0"/>
          <dgm:chPref val="0"/>
          <dgm:bulletEnabled val="1"/>
        </dgm:presLayoutVars>
      </dgm:prSet>
      <dgm:spPr/>
    </dgm:pt>
    <dgm:pt modelId="{420EBE6C-A91F-49B7-AF4C-29A127D6266A}" type="pres">
      <dgm:prSet presAssocID="{A0ED7260-8442-4FBF-80B4-500E49A4F3AF}" presName="parTxOnlySpace" presStyleCnt="0"/>
      <dgm:spPr/>
    </dgm:pt>
    <dgm:pt modelId="{6C62160D-9EC9-4B84-8EFD-9C3E10FC055A}" type="pres">
      <dgm:prSet presAssocID="{B754C885-66E5-4615-BD33-B6EE917A035D}" presName="parTxOnly" presStyleLbl="node1" presStyleIdx="1" presStyleCnt="10">
        <dgm:presLayoutVars>
          <dgm:chMax val="0"/>
          <dgm:chPref val="0"/>
          <dgm:bulletEnabled val="1"/>
        </dgm:presLayoutVars>
      </dgm:prSet>
      <dgm:spPr/>
    </dgm:pt>
    <dgm:pt modelId="{6415A264-B3C7-41A6-9BA0-D0AD6AE1DACB}" type="pres">
      <dgm:prSet presAssocID="{79AAED35-18A8-4347-A2B8-6AAE8B34BA56}" presName="parTxOnlySpace" presStyleCnt="0"/>
      <dgm:spPr/>
    </dgm:pt>
    <dgm:pt modelId="{636F50A3-8EFE-4C08-B6BE-284B03274F0B}" type="pres">
      <dgm:prSet presAssocID="{72FFD339-6A5F-4ED7-B529-6155AF8C35BB}" presName="parTxOnly" presStyleLbl="node1" presStyleIdx="2" presStyleCnt="10">
        <dgm:presLayoutVars>
          <dgm:chMax val="0"/>
          <dgm:chPref val="0"/>
          <dgm:bulletEnabled val="1"/>
        </dgm:presLayoutVars>
      </dgm:prSet>
      <dgm:spPr/>
    </dgm:pt>
    <dgm:pt modelId="{B0C5D3FB-8180-4CC6-9F14-5042E96FD8E3}" type="pres">
      <dgm:prSet presAssocID="{A3B7292F-5113-4C29-982F-BC1D14C7BE90}" presName="parTxOnlySpace" presStyleCnt="0"/>
      <dgm:spPr/>
    </dgm:pt>
    <dgm:pt modelId="{6BB9B9CD-B911-4E33-8045-BE6A8D7C5B89}" type="pres">
      <dgm:prSet presAssocID="{9225496C-39D8-4F53-8BB5-1B069B40EB3E}" presName="parTxOnly" presStyleLbl="node1" presStyleIdx="3" presStyleCnt="10">
        <dgm:presLayoutVars>
          <dgm:chMax val="0"/>
          <dgm:chPref val="0"/>
          <dgm:bulletEnabled val="1"/>
        </dgm:presLayoutVars>
      </dgm:prSet>
      <dgm:spPr/>
    </dgm:pt>
    <dgm:pt modelId="{60B2C4AD-8A0D-4CB2-93A9-16C6C0E4BD5B}" type="pres">
      <dgm:prSet presAssocID="{1E3F53DD-2537-4C67-AA71-87081D444A81}" presName="parTxOnlySpace" presStyleCnt="0"/>
      <dgm:spPr/>
    </dgm:pt>
    <dgm:pt modelId="{A29D7AF6-34C9-459D-B160-0F8E7686BA2B}" type="pres">
      <dgm:prSet presAssocID="{2F442204-E894-4EB6-A3FA-953074E6D5F9}" presName="parTxOnly" presStyleLbl="node1" presStyleIdx="4" presStyleCnt="10">
        <dgm:presLayoutVars>
          <dgm:chMax val="0"/>
          <dgm:chPref val="0"/>
          <dgm:bulletEnabled val="1"/>
        </dgm:presLayoutVars>
      </dgm:prSet>
      <dgm:spPr/>
    </dgm:pt>
    <dgm:pt modelId="{7004503D-9639-442B-9C04-FB1247092C40}" type="pres">
      <dgm:prSet presAssocID="{07F51AA8-9070-4A56-AF24-8977CF9B6A80}" presName="parTxOnlySpace" presStyleCnt="0"/>
      <dgm:spPr/>
    </dgm:pt>
    <dgm:pt modelId="{A2199658-E72A-4294-AFD3-6892981EEB12}" type="pres">
      <dgm:prSet presAssocID="{7A5D9CDD-E10F-422D-808B-815C691EF2E8}" presName="parTxOnly" presStyleLbl="node1" presStyleIdx="5" presStyleCnt="10">
        <dgm:presLayoutVars>
          <dgm:chMax val="0"/>
          <dgm:chPref val="0"/>
          <dgm:bulletEnabled val="1"/>
        </dgm:presLayoutVars>
      </dgm:prSet>
      <dgm:spPr/>
    </dgm:pt>
    <dgm:pt modelId="{9B5C0F41-E4E2-4A3A-AA73-E3E4EB6ACD5E}" type="pres">
      <dgm:prSet presAssocID="{63A1392B-D9B4-4604-ACED-CDD4B7E19D6E}" presName="parTxOnlySpace" presStyleCnt="0"/>
      <dgm:spPr/>
    </dgm:pt>
    <dgm:pt modelId="{F9C55CAF-C1A3-4EFD-AD93-3CBF7E30E2FA}" type="pres">
      <dgm:prSet presAssocID="{56EC974B-4690-4A6A-B143-36A5A9DDDB75}" presName="parTxOnly" presStyleLbl="node1" presStyleIdx="6" presStyleCnt="10">
        <dgm:presLayoutVars>
          <dgm:chMax val="0"/>
          <dgm:chPref val="0"/>
          <dgm:bulletEnabled val="1"/>
        </dgm:presLayoutVars>
      </dgm:prSet>
      <dgm:spPr/>
    </dgm:pt>
    <dgm:pt modelId="{DDB26EDE-11AF-40B7-9C16-348181381393}" type="pres">
      <dgm:prSet presAssocID="{57612FAC-3D38-4A5A-9D54-8452999285F4}" presName="parTxOnlySpace" presStyleCnt="0"/>
      <dgm:spPr/>
    </dgm:pt>
    <dgm:pt modelId="{8CED6B9D-804A-4009-A04D-D699125D11F0}" type="pres">
      <dgm:prSet presAssocID="{A07A8528-D240-4AAE-BA81-005F6AD457F1}" presName="parTxOnly" presStyleLbl="node1" presStyleIdx="7" presStyleCnt="10">
        <dgm:presLayoutVars>
          <dgm:chMax val="0"/>
          <dgm:chPref val="0"/>
          <dgm:bulletEnabled val="1"/>
        </dgm:presLayoutVars>
      </dgm:prSet>
      <dgm:spPr/>
    </dgm:pt>
    <dgm:pt modelId="{C3D8151F-F75F-49EC-B6A3-4B15A8912918}" type="pres">
      <dgm:prSet presAssocID="{7D0C416E-0310-43FE-A0D6-735CD62199B6}" presName="parTxOnlySpace" presStyleCnt="0"/>
      <dgm:spPr/>
    </dgm:pt>
    <dgm:pt modelId="{0A5AB2D9-0A33-47A4-83C2-3990E2018CD9}" type="pres">
      <dgm:prSet presAssocID="{5805825E-3BC3-4961-910E-96065463977D}" presName="parTxOnly" presStyleLbl="node1" presStyleIdx="8" presStyleCnt="10">
        <dgm:presLayoutVars>
          <dgm:chMax val="0"/>
          <dgm:chPref val="0"/>
          <dgm:bulletEnabled val="1"/>
        </dgm:presLayoutVars>
      </dgm:prSet>
      <dgm:spPr/>
    </dgm:pt>
    <dgm:pt modelId="{5FE5E96A-0031-41D2-A1BE-2634D143793A}" type="pres">
      <dgm:prSet presAssocID="{B58F1702-0059-4F53-9A60-77242457BBFA}" presName="parTxOnlySpace" presStyleCnt="0"/>
      <dgm:spPr/>
    </dgm:pt>
    <dgm:pt modelId="{F2510710-7BA2-44B7-8AA7-1347717B483B}" type="pres">
      <dgm:prSet presAssocID="{2D51EAF0-C497-40E9-996D-2D0BC40F318C}" presName="parTxOnly" presStyleLbl="node1" presStyleIdx="9" presStyleCnt="10">
        <dgm:presLayoutVars>
          <dgm:chMax val="0"/>
          <dgm:chPref val="0"/>
          <dgm:bulletEnabled val="1"/>
        </dgm:presLayoutVars>
      </dgm:prSet>
      <dgm:spPr/>
    </dgm:pt>
  </dgm:ptLst>
  <dgm:cxnLst>
    <dgm:cxn modelId="{F8EA3703-CEE5-4162-AB46-CFFF8AC28B48}" srcId="{C782CD9B-2B4B-48D2-BF13-2B0D6056B78A}" destId="{B754C885-66E5-4615-BD33-B6EE917A035D}" srcOrd="1" destOrd="0" parTransId="{65812F9F-DD0E-4752-BF8B-D07282594751}" sibTransId="{79AAED35-18A8-4347-A2B8-6AAE8B34BA56}"/>
    <dgm:cxn modelId="{7BC9B318-E7A6-41F3-853C-1D1DFB2050EF}" srcId="{C782CD9B-2B4B-48D2-BF13-2B0D6056B78A}" destId="{2D51EAF0-C497-40E9-996D-2D0BC40F318C}" srcOrd="9" destOrd="0" parTransId="{43C509B8-DD3A-429A-ADC4-232D55259B3D}" sibTransId="{66A12237-9546-42D0-81C0-2C324670B743}"/>
    <dgm:cxn modelId="{FB8E7D21-28BC-493D-8C7A-16987C6B12D9}" type="presOf" srcId="{5805825E-3BC3-4961-910E-96065463977D}" destId="{0A5AB2D9-0A33-47A4-83C2-3990E2018CD9}" srcOrd="0" destOrd="0" presId="urn:microsoft.com/office/officeart/2005/8/layout/chevron1"/>
    <dgm:cxn modelId="{9E5BCB25-27B8-4B12-AFCB-466FCCEDC017}" type="presOf" srcId="{7A5D9CDD-E10F-422D-808B-815C691EF2E8}" destId="{A2199658-E72A-4294-AFD3-6892981EEB12}" srcOrd="0" destOrd="0" presId="urn:microsoft.com/office/officeart/2005/8/layout/chevron1"/>
    <dgm:cxn modelId="{EB49E83A-D209-4894-8566-A81A342944B1}" type="presOf" srcId="{56EC974B-4690-4A6A-B143-36A5A9DDDB75}" destId="{F9C55CAF-C1A3-4EFD-AD93-3CBF7E30E2FA}" srcOrd="0" destOrd="0" presId="urn:microsoft.com/office/officeart/2005/8/layout/chevron1"/>
    <dgm:cxn modelId="{94A2B45D-2D69-4650-AFC3-C5574217F910}" srcId="{C782CD9B-2B4B-48D2-BF13-2B0D6056B78A}" destId="{9225496C-39D8-4F53-8BB5-1B069B40EB3E}" srcOrd="3" destOrd="0" parTransId="{D3A21DFB-000A-4FCE-9E9D-8516EBA4DD45}" sibTransId="{1E3F53DD-2537-4C67-AA71-87081D444A81}"/>
    <dgm:cxn modelId="{6FD2AE64-BDEB-482D-ACF3-1D5403180A1E}" srcId="{C782CD9B-2B4B-48D2-BF13-2B0D6056B78A}" destId="{2F442204-E894-4EB6-A3FA-953074E6D5F9}" srcOrd="4" destOrd="0" parTransId="{9E6A019B-6886-407A-A3BB-1A2A8D416818}" sibTransId="{07F51AA8-9070-4A56-AF24-8977CF9B6A80}"/>
    <dgm:cxn modelId="{B5655268-8635-4DD9-9489-E89B8BFD2864}" type="presOf" srcId="{C782CD9B-2B4B-48D2-BF13-2B0D6056B78A}" destId="{2069E263-CA68-447A-859F-7068DC9AF2B6}" srcOrd="0" destOrd="0" presId="urn:microsoft.com/office/officeart/2005/8/layout/chevron1"/>
    <dgm:cxn modelId="{E1454454-72C1-463E-B3DF-5BA0BD687198}" type="presOf" srcId="{2D51EAF0-C497-40E9-996D-2D0BC40F318C}" destId="{F2510710-7BA2-44B7-8AA7-1347717B483B}" srcOrd="0" destOrd="0" presId="urn:microsoft.com/office/officeart/2005/8/layout/chevron1"/>
    <dgm:cxn modelId="{BB6EE177-0F50-4021-B551-AF5D9A678082}" type="presOf" srcId="{A07A8528-D240-4AAE-BA81-005F6AD457F1}" destId="{8CED6B9D-804A-4009-A04D-D699125D11F0}" srcOrd="0" destOrd="0" presId="urn:microsoft.com/office/officeart/2005/8/layout/chevron1"/>
    <dgm:cxn modelId="{02C9DE78-EAF0-49F2-9297-EC8C75433EC7}" type="presOf" srcId="{B754C885-66E5-4615-BD33-B6EE917A035D}" destId="{6C62160D-9EC9-4B84-8EFD-9C3E10FC055A}" srcOrd="0" destOrd="0" presId="urn:microsoft.com/office/officeart/2005/8/layout/chevron1"/>
    <dgm:cxn modelId="{BEDD267B-EA80-4783-A782-86B96AAC5B03}" srcId="{C782CD9B-2B4B-48D2-BF13-2B0D6056B78A}" destId="{7A5D9CDD-E10F-422D-808B-815C691EF2E8}" srcOrd="5" destOrd="0" parTransId="{089AE963-8402-4F38-908B-1CA814F78766}" sibTransId="{63A1392B-D9B4-4604-ACED-CDD4B7E19D6E}"/>
    <dgm:cxn modelId="{9AADE28D-A297-46AA-B79C-C135101D6468}" type="presOf" srcId="{9225496C-39D8-4F53-8BB5-1B069B40EB3E}" destId="{6BB9B9CD-B911-4E33-8045-BE6A8D7C5B89}" srcOrd="0" destOrd="0" presId="urn:microsoft.com/office/officeart/2005/8/layout/chevron1"/>
    <dgm:cxn modelId="{92751D9D-02E3-45C2-978C-737085227C42}" srcId="{C782CD9B-2B4B-48D2-BF13-2B0D6056B78A}" destId="{DFCF748E-4FA2-4C04-B1DF-85DA1021BE5D}" srcOrd="0" destOrd="0" parTransId="{7DAF1956-B700-4203-9672-92E4451DCC31}" sibTransId="{A0ED7260-8442-4FBF-80B4-500E49A4F3AF}"/>
    <dgm:cxn modelId="{5635F6A2-7F6E-488A-8C55-44B33CD83376}" type="presOf" srcId="{72FFD339-6A5F-4ED7-B529-6155AF8C35BB}" destId="{636F50A3-8EFE-4C08-B6BE-284B03274F0B}" srcOrd="0" destOrd="0" presId="urn:microsoft.com/office/officeart/2005/8/layout/chevron1"/>
    <dgm:cxn modelId="{FE5FBCA8-5D6F-44E5-8DFA-D24300AECCE8}" srcId="{C782CD9B-2B4B-48D2-BF13-2B0D6056B78A}" destId="{56EC974B-4690-4A6A-B143-36A5A9DDDB75}" srcOrd="6" destOrd="0" parTransId="{F24B2512-EFC3-4494-92F8-F4C2A580DD56}" sibTransId="{57612FAC-3D38-4A5A-9D54-8452999285F4}"/>
    <dgm:cxn modelId="{89ADF0A8-51C0-4E45-BD17-7EE2B6233A94}" type="presOf" srcId="{DFCF748E-4FA2-4C04-B1DF-85DA1021BE5D}" destId="{F7031506-3856-48AD-BFC1-89D9660F7FF7}" srcOrd="0" destOrd="0" presId="urn:microsoft.com/office/officeart/2005/8/layout/chevron1"/>
    <dgm:cxn modelId="{D6C89AE1-00A8-492D-888B-1E3DDC006D86}" srcId="{C782CD9B-2B4B-48D2-BF13-2B0D6056B78A}" destId="{5805825E-3BC3-4961-910E-96065463977D}" srcOrd="8" destOrd="0" parTransId="{263FA899-3C2D-4809-A47A-DB65911293C7}" sibTransId="{B58F1702-0059-4F53-9A60-77242457BBFA}"/>
    <dgm:cxn modelId="{C381E8F4-D0AE-4AD0-B8F1-4BDFF55901DE}" srcId="{C782CD9B-2B4B-48D2-BF13-2B0D6056B78A}" destId="{72FFD339-6A5F-4ED7-B529-6155AF8C35BB}" srcOrd="2" destOrd="0" parTransId="{ECFEA23F-DCCD-42C6-8706-10917CE3C2B0}" sibTransId="{A3B7292F-5113-4C29-982F-BC1D14C7BE90}"/>
    <dgm:cxn modelId="{1FB6C2F5-AAB2-41DF-AC6D-3AEBCF0C2CC3}" type="presOf" srcId="{2F442204-E894-4EB6-A3FA-953074E6D5F9}" destId="{A29D7AF6-34C9-459D-B160-0F8E7686BA2B}" srcOrd="0" destOrd="0" presId="urn:microsoft.com/office/officeart/2005/8/layout/chevron1"/>
    <dgm:cxn modelId="{C9F268FB-CB20-4E78-9CDC-F035D61B7E09}" srcId="{C782CD9B-2B4B-48D2-BF13-2B0D6056B78A}" destId="{A07A8528-D240-4AAE-BA81-005F6AD457F1}" srcOrd="7" destOrd="0" parTransId="{3C15A388-1B3D-47E8-B2CB-E67F7E1AFFF1}" sibTransId="{7D0C416E-0310-43FE-A0D6-735CD62199B6}"/>
    <dgm:cxn modelId="{388E9C74-FC12-4C3A-95CB-2E3B9ED2BB7C}" type="presParOf" srcId="{2069E263-CA68-447A-859F-7068DC9AF2B6}" destId="{F7031506-3856-48AD-BFC1-89D9660F7FF7}" srcOrd="0" destOrd="0" presId="urn:microsoft.com/office/officeart/2005/8/layout/chevron1"/>
    <dgm:cxn modelId="{4A88669B-360F-483E-9B3A-936B76FE8A8E}" type="presParOf" srcId="{2069E263-CA68-447A-859F-7068DC9AF2B6}" destId="{420EBE6C-A91F-49B7-AF4C-29A127D6266A}" srcOrd="1" destOrd="0" presId="urn:microsoft.com/office/officeart/2005/8/layout/chevron1"/>
    <dgm:cxn modelId="{066426F6-56F4-453E-B150-FC83159A7C44}" type="presParOf" srcId="{2069E263-CA68-447A-859F-7068DC9AF2B6}" destId="{6C62160D-9EC9-4B84-8EFD-9C3E10FC055A}" srcOrd="2" destOrd="0" presId="urn:microsoft.com/office/officeart/2005/8/layout/chevron1"/>
    <dgm:cxn modelId="{E6215558-78F5-4572-A145-2CC3677EA340}" type="presParOf" srcId="{2069E263-CA68-447A-859F-7068DC9AF2B6}" destId="{6415A264-B3C7-41A6-9BA0-D0AD6AE1DACB}" srcOrd="3" destOrd="0" presId="urn:microsoft.com/office/officeart/2005/8/layout/chevron1"/>
    <dgm:cxn modelId="{F32597EC-3EB5-4C96-8A34-B9BD9A026D37}" type="presParOf" srcId="{2069E263-CA68-447A-859F-7068DC9AF2B6}" destId="{636F50A3-8EFE-4C08-B6BE-284B03274F0B}" srcOrd="4" destOrd="0" presId="urn:microsoft.com/office/officeart/2005/8/layout/chevron1"/>
    <dgm:cxn modelId="{FB2E0A81-6E0B-44BC-853C-CA65A6F26B51}" type="presParOf" srcId="{2069E263-CA68-447A-859F-7068DC9AF2B6}" destId="{B0C5D3FB-8180-4CC6-9F14-5042E96FD8E3}" srcOrd="5" destOrd="0" presId="urn:microsoft.com/office/officeart/2005/8/layout/chevron1"/>
    <dgm:cxn modelId="{A3CAFDCF-A909-409E-A426-987F78A13E22}" type="presParOf" srcId="{2069E263-CA68-447A-859F-7068DC9AF2B6}" destId="{6BB9B9CD-B911-4E33-8045-BE6A8D7C5B89}" srcOrd="6" destOrd="0" presId="urn:microsoft.com/office/officeart/2005/8/layout/chevron1"/>
    <dgm:cxn modelId="{B508E794-2122-491D-80F0-C627A9E7E0FA}" type="presParOf" srcId="{2069E263-CA68-447A-859F-7068DC9AF2B6}" destId="{60B2C4AD-8A0D-4CB2-93A9-16C6C0E4BD5B}" srcOrd="7" destOrd="0" presId="urn:microsoft.com/office/officeart/2005/8/layout/chevron1"/>
    <dgm:cxn modelId="{FB23C9E9-1306-46F9-9F04-74D210335914}" type="presParOf" srcId="{2069E263-CA68-447A-859F-7068DC9AF2B6}" destId="{A29D7AF6-34C9-459D-B160-0F8E7686BA2B}" srcOrd="8" destOrd="0" presId="urn:microsoft.com/office/officeart/2005/8/layout/chevron1"/>
    <dgm:cxn modelId="{42B44429-9979-47DA-9874-E684C9609B42}" type="presParOf" srcId="{2069E263-CA68-447A-859F-7068DC9AF2B6}" destId="{7004503D-9639-442B-9C04-FB1247092C40}" srcOrd="9" destOrd="0" presId="urn:microsoft.com/office/officeart/2005/8/layout/chevron1"/>
    <dgm:cxn modelId="{41CD4E79-E07C-429D-BD1D-9A49CFB47E62}" type="presParOf" srcId="{2069E263-CA68-447A-859F-7068DC9AF2B6}" destId="{A2199658-E72A-4294-AFD3-6892981EEB12}" srcOrd="10" destOrd="0" presId="urn:microsoft.com/office/officeart/2005/8/layout/chevron1"/>
    <dgm:cxn modelId="{BD64617C-DA73-4107-AA32-1AF84E52CDDD}" type="presParOf" srcId="{2069E263-CA68-447A-859F-7068DC9AF2B6}" destId="{9B5C0F41-E4E2-4A3A-AA73-E3E4EB6ACD5E}" srcOrd="11" destOrd="0" presId="urn:microsoft.com/office/officeart/2005/8/layout/chevron1"/>
    <dgm:cxn modelId="{09500E20-AA83-46F0-95A3-0C04B4147B11}" type="presParOf" srcId="{2069E263-CA68-447A-859F-7068DC9AF2B6}" destId="{F9C55CAF-C1A3-4EFD-AD93-3CBF7E30E2FA}" srcOrd="12" destOrd="0" presId="urn:microsoft.com/office/officeart/2005/8/layout/chevron1"/>
    <dgm:cxn modelId="{0E67150A-63A5-4CE2-9722-64E1996DD8AA}" type="presParOf" srcId="{2069E263-CA68-447A-859F-7068DC9AF2B6}" destId="{DDB26EDE-11AF-40B7-9C16-348181381393}" srcOrd="13" destOrd="0" presId="urn:microsoft.com/office/officeart/2005/8/layout/chevron1"/>
    <dgm:cxn modelId="{07F9BC56-7FBB-4B1B-8212-B95A5E5D105C}" type="presParOf" srcId="{2069E263-CA68-447A-859F-7068DC9AF2B6}" destId="{8CED6B9D-804A-4009-A04D-D699125D11F0}" srcOrd="14" destOrd="0" presId="urn:microsoft.com/office/officeart/2005/8/layout/chevron1"/>
    <dgm:cxn modelId="{E53E4330-E03C-4918-A065-4B83EA7785C0}" type="presParOf" srcId="{2069E263-CA68-447A-859F-7068DC9AF2B6}" destId="{C3D8151F-F75F-49EC-B6A3-4B15A8912918}" srcOrd="15" destOrd="0" presId="urn:microsoft.com/office/officeart/2005/8/layout/chevron1"/>
    <dgm:cxn modelId="{6A328F77-0849-4E8F-8344-A6179B2BBD17}" type="presParOf" srcId="{2069E263-CA68-447A-859F-7068DC9AF2B6}" destId="{0A5AB2D9-0A33-47A4-83C2-3990E2018CD9}" srcOrd="16" destOrd="0" presId="urn:microsoft.com/office/officeart/2005/8/layout/chevron1"/>
    <dgm:cxn modelId="{B765AE7B-75C7-4342-9EDA-2420F71C2C86}" type="presParOf" srcId="{2069E263-CA68-447A-859F-7068DC9AF2B6}" destId="{5FE5E96A-0031-41D2-A1BE-2634D143793A}" srcOrd="17" destOrd="0" presId="urn:microsoft.com/office/officeart/2005/8/layout/chevron1"/>
    <dgm:cxn modelId="{285C1AFB-9665-4CAD-B646-BF3499784730}" type="presParOf" srcId="{2069E263-CA68-447A-859F-7068DC9AF2B6}" destId="{F2510710-7BA2-44B7-8AA7-1347717B483B}" srcOrd="18" destOrd="0" presId="urn:microsoft.com/office/officeart/2005/8/layout/chevro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C782CD9B-2B4B-48D2-BF13-2B0D6056B78A}"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it-IT"/>
        </a:p>
      </dgm:t>
    </dgm:pt>
    <dgm:pt modelId="{DFCF748E-4FA2-4C04-B1DF-85DA1021BE5D}">
      <dgm:prSet phldrT="[Testo]"/>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Rete viaria complessiva</a:t>
          </a:r>
        </a:p>
      </dgm:t>
    </dgm:pt>
    <dgm:pt modelId="{7DAF1956-B700-4203-9672-92E4451DCC31}" type="parTrans" cxnId="{92751D9D-02E3-45C2-978C-737085227C42}">
      <dgm:prSet/>
      <dgm:spPr/>
      <dgm:t>
        <a:bodyPr/>
        <a:lstStyle/>
        <a:p>
          <a:endParaRPr lang="it-IT"/>
        </a:p>
      </dgm:t>
    </dgm:pt>
    <dgm:pt modelId="{A0ED7260-8442-4FBF-80B4-500E49A4F3AF}" type="sibTrans" cxnId="{92751D9D-02E3-45C2-978C-737085227C42}">
      <dgm:prSet/>
      <dgm:spPr/>
      <dgm:t>
        <a:bodyPr/>
        <a:lstStyle/>
        <a:p>
          <a:endParaRPr lang="it-IT"/>
        </a:p>
      </dgm:t>
    </dgm:pt>
    <dgm:pt modelId="{B754C885-66E5-4615-BD33-B6EE917A035D}">
      <dgm:prSet phldrT="[Testo]"/>
      <dgm:spPr>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dgm:spPr>
      <dgm:t>
        <a:bodyPr/>
        <a:lstStyle/>
        <a:p>
          <a:r>
            <a:rPr lang="it-IT" dirty="0"/>
            <a:t>Risorse</a:t>
          </a:r>
        </a:p>
      </dgm:t>
    </dgm:pt>
    <dgm:pt modelId="{65812F9F-DD0E-4752-BF8B-D07282594751}" type="parTrans" cxnId="{F8EA3703-CEE5-4162-AB46-CFFF8AC28B48}">
      <dgm:prSet/>
      <dgm:spPr/>
      <dgm:t>
        <a:bodyPr/>
        <a:lstStyle/>
        <a:p>
          <a:endParaRPr lang="it-IT"/>
        </a:p>
      </dgm:t>
    </dgm:pt>
    <dgm:pt modelId="{79AAED35-18A8-4347-A2B8-6AAE8B34BA56}" type="sibTrans" cxnId="{F8EA3703-CEE5-4162-AB46-CFFF8AC28B48}">
      <dgm:prSet/>
      <dgm:spPr/>
      <dgm:t>
        <a:bodyPr/>
        <a:lstStyle/>
        <a:p>
          <a:endParaRPr lang="it-IT"/>
        </a:p>
      </dgm:t>
    </dgm:pt>
    <dgm:pt modelId="{9225496C-39D8-4F53-8BB5-1B069B40EB3E}">
      <dgm:prSet phldrT="[Testo]"/>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Affidamenti</a:t>
          </a:r>
        </a:p>
      </dgm:t>
    </dgm:pt>
    <dgm:pt modelId="{D3A21DFB-000A-4FCE-9E9D-8516EBA4DD45}" type="parTrans" cxnId="{94A2B45D-2D69-4650-AFC3-C5574217F910}">
      <dgm:prSet/>
      <dgm:spPr/>
      <dgm:t>
        <a:bodyPr/>
        <a:lstStyle/>
        <a:p>
          <a:endParaRPr lang="it-IT"/>
        </a:p>
      </dgm:t>
    </dgm:pt>
    <dgm:pt modelId="{1E3F53DD-2537-4C67-AA71-87081D444A81}" type="sibTrans" cxnId="{94A2B45D-2D69-4650-AFC3-C5574217F910}">
      <dgm:prSet/>
      <dgm:spPr/>
      <dgm:t>
        <a:bodyPr/>
        <a:lstStyle/>
        <a:p>
          <a:endParaRPr lang="it-IT"/>
        </a:p>
      </dgm:t>
    </dgm:pt>
    <dgm:pt modelId="{2F442204-E894-4EB6-A3FA-953074E6D5F9}">
      <dgm:prSet phldrT="[Testo]" custT="1"/>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sz="700" dirty="0"/>
            <a:t>Investimenti e Produzione</a:t>
          </a:r>
        </a:p>
        <a:p>
          <a:r>
            <a:rPr lang="it-IT" sz="700" dirty="0"/>
            <a:t>MP</a:t>
          </a:r>
        </a:p>
      </dgm:t>
    </dgm:pt>
    <dgm:pt modelId="{9E6A019B-6886-407A-A3BB-1A2A8D416818}" type="parTrans" cxnId="{6FD2AE64-BDEB-482D-ACF3-1D5403180A1E}">
      <dgm:prSet/>
      <dgm:spPr/>
      <dgm:t>
        <a:bodyPr/>
        <a:lstStyle/>
        <a:p>
          <a:endParaRPr lang="it-IT"/>
        </a:p>
      </dgm:t>
    </dgm:pt>
    <dgm:pt modelId="{07F51AA8-9070-4A56-AF24-8977CF9B6A80}" type="sibTrans" cxnId="{6FD2AE64-BDEB-482D-ACF3-1D5403180A1E}">
      <dgm:prSet/>
      <dgm:spPr/>
      <dgm:t>
        <a:bodyPr/>
        <a:lstStyle/>
        <a:p>
          <a:endParaRPr lang="it-IT"/>
        </a:p>
      </dgm:t>
    </dgm:pt>
    <dgm:pt modelId="{2D51EAF0-C497-40E9-996D-2D0BC40F318C}">
      <dgm:prSet phldrT="[Testo]"/>
      <dgm:spPr>
        <a:gradFill flip="none"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16200000" scaled="1"/>
          <a:tileRect/>
        </a:gradFill>
      </dgm:spPr>
      <dgm:t>
        <a:bodyPr/>
        <a:lstStyle/>
        <a:p>
          <a:r>
            <a:rPr lang="it-IT" dirty="0"/>
            <a:t>Pagamenti</a:t>
          </a:r>
        </a:p>
      </dgm:t>
    </dgm:pt>
    <dgm:pt modelId="{43C509B8-DD3A-429A-ADC4-232D55259B3D}" type="parTrans" cxnId="{7BC9B318-E7A6-41F3-853C-1D1DFB2050EF}">
      <dgm:prSet/>
      <dgm:spPr/>
      <dgm:t>
        <a:bodyPr/>
        <a:lstStyle/>
        <a:p>
          <a:endParaRPr lang="it-IT"/>
        </a:p>
      </dgm:t>
    </dgm:pt>
    <dgm:pt modelId="{66A12237-9546-42D0-81C0-2C324670B743}" type="sibTrans" cxnId="{7BC9B318-E7A6-41F3-853C-1D1DFB2050EF}">
      <dgm:prSet/>
      <dgm:spPr/>
      <dgm:t>
        <a:bodyPr/>
        <a:lstStyle/>
        <a:p>
          <a:endParaRPr lang="it-IT"/>
        </a:p>
      </dgm:t>
    </dgm:pt>
    <dgm:pt modelId="{72FFD339-6A5F-4ED7-B529-6155AF8C35BB}">
      <dgm:prSet/>
      <dgm:spPr>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dgm:spPr>
      <dgm:t>
        <a:bodyPr/>
        <a:lstStyle/>
        <a:p>
          <a:r>
            <a:rPr lang="it-IT" dirty="0" err="1"/>
            <a:t>soc</a:t>
          </a:r>
          <a:endParaRPr lang="it-IT" dirty="0"/>
        </a:p>
      </dgm:t>
    </dgm:pt>
    <dgm:pt modelId="{ECFEA23F-DCCD-42C6-8706-10917CE3C2B0}" type="parTrans" cxnId="{C381E8F4-D0AE-4AD0-B8F1-4BDFF55901DE}">
      <dgm:prSet/>
      <dgm:spPr/>
      <dgm:t>
        <a:bodyPr/>
        <a:lstStyle/>
        <a:p>
          <a:endParaRPr lang="it-IT"/>
        </a:p>
      </dgm:t>
    </dgm:pt>
    <dgm:pt modelId="{A3B7292F-5113-4C29-982F-BC1D14C7BE90}" type="sibTrans" cxnId="{C381E8F4-D0AE-4AD0-B8F1-4BDFF55901DE}">
      <dgm:prSet/>
      <dgm:spPr/>
      <dgm:t>
        <a:bodyPr/>
        <a:lstStyle/>
        <a:p>
          <a:endParaRPr lang="it-IT"/>
        </a:p>
      </dgm:t>
    </dgm:pt>
    <dgm:pt modelId="{A07A8528-D240-4AAE-BA81-005F6AD457F1}">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Ispezione Opere D’arte</a:t>
          </a:r>
        </a:p>
      </dgm:t>
    </dgm:pt>
    <dgm:pt modelId="{3C15A388-1B3D-47E8-B2CB-E67F7E1AFFF1}" type="parTrans" cxnId="{C9F268FB-CB20-4E78-9CDC-F035D61B7E09}">
      <dgm:prSet/>
      <dgm:spPr/>
      <dgm:t>
        <a:bodyPr/>
        <a:lstStyle/>
        <a:p>
          <a:endParaRPr lang="it-IT"/>
        </a:p>
      </dgm:t>
    </dgm:pt>
    <dgm:pt modelId="{7D0C416E-0310-43FE-A0D6-735CD62199B6}" type="sibTrans" cxnId="{C9F268FB-CB20-4E78-9CDC-F035D61B7E09}">
      <dgm:prSet/>
      <dgm:spPr/>
      <dgm:t>
        <a:bodyPr/>
        <a:lstStyle/>
        <a:p>
          <a:endParaRPr lang="it-IT"/>
        </a:p>
      </dgm:t>
    </dgm:pt>
    <dgm:pt modelId="{56EC974B-4690-4A6A-B143-36A5A9DDDB75}">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Supporto Tecnico</a:t>
          </a:r>
        </a:p>
      </dgm:t>
    </dgm:pt>
    <dgm:pt modelId="{F24B2512-EFC3-4494-92F8-F4C2A580DD56}" type="parTrans" cxnId="{FE5FBCA8-5D6F-44E5-8DFA-D24300AECCE8}">
      <dgm:prSet/>
      <dgm:spPr/>
      <dgm:t>
        <a:bodyPr/>
        <a:lstStyle/>
        <a:p>
          <a:endParaRPr lang="it-IT"/>
        </a:p>
      </dgm:t>
    </dgm:pt>
    <dgm:pt modelId="{57612FAC-3D38-4A5A-9D54-8452999285F4}" type="sibTrans" cxnId="{FE5FBCA8-5D6F-44E5-8DFA-D24300AECCE8}">
      <dgm:prSet/>
      <dgm:spPr/>
      <dgm:t>
        <a:bodyPr/>
        <a:lstStyle/>
        <a:p>
          <a:endParaRPr lang="it-IT"/>
        </a:p>
      </dgm:t>
    </dgm:pt>
    <dgm:pt modelId="{5805825E-3BC3-4961-910E-96065463977D}">
      <dgm:prSet/>
      <dgm:spPr>
        <a:solidFill>
          <a:schemeClr val="accent1"/>
        </a:solidFill>
      </dgm:spPr>
      <dgm:t>
        <a:bodyPr/>
        <a:lstStyle/>
        <a:p>
          <a:r>
            <a:rPr lang="it-IT" dirty="0"/>
            <a:t>Interventi Rilevanti</a:t>
          </a:r>
        </a:p>
      </dgm:t>
    </dgm:pt>
    <dgm:pt modelId="{263FA899-3C2D-4809-A47A-DB65911293C7}" type="parTrans" cxnId="{D6C89AE1-00A8-492D-888B-1E3DDC006D86}">
      <dgm:prSet/>
      <dgm:spPr/>
      <dgm:t>
        <a:bodyPr/>
        <a:lstStyle/>
        <a:p>
          <a:endParaRPr lang="it-IT"/>
        </a:p>
      </dgm:t>
    </dgm:pt>
    <dgm:pt modelId="{B58F1702-0059-4F53-9A60-77242457BBFA}" type="sibTrans" cxnId="{D6C89AE1-00A8-492D-888B-1E3DDC006D86}">
      <dgm:prSet/>
      <dgm:spPr/>
      <dgm:t>
        <a:bodyPr/>
        <a:lstStyle/>
        <a:p>
          <a:endParaRPr lang="it-IT"/>
        </a:p>
      </dgm:t>
    </dgm:pt>
    <dgm:pt modelId="{7A5D9CDD-E10F-422D-808B-815C691EF2E8}">
      <dgm:prSet phldrT="[Testo]" custT="1"/>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sz="700" dirty="0"/>
            <a:t>Investimenti e Produzione</a:t>
          </a:r>
        </a:p>
        <a:p>
          <a:r>
            <a:rPr lang="it-IT" sz="700" dirty="0"/>
            <a:t>NO</a:t>
          </a:r>
        </a:p>
      </dgm:t>
    </dgm:pt>
    <dgm:pt modelId="{089AE963-8402-4F38-908B-1CA814F78766}" type="parTrans" cxnId="{BEDD267B-EA80-4783-A782-86B96AAC5B03}">
      <dgm:prSet/>
      <dgm:spPr/>
      <dgm:t>
        <a:bodyPr/>
        <a:lstStyle/>
        <a:p>
          <a:endParaRPr lang="it-IT"/>
        </a:p>
      </dgm:t>
    </dgm:pt>
    <dgm:pt modelId="{63A1392B-D9B4-4604-ACED-CDD4B7E19D6E}" type="sibTrans" cxnId="{BEDD267B-EA80-4783-A782-86B96AAC5B03}">
      <dgm:prSet/>
      <dgm:spPr/>
      <dgm:t>
        <a:bodyPr/>
        <a:lstStyle/>
        <a:p>
          <a:endParaRPr lang="it-IT"/>
        </a:p>
      </dgm:t>
    </dgm:pt>
    <dgm:pt modelId="{F647B10F-EAE0-4F41-8E04-352654413B5C}">
      <dgm:prSet/>
      <dgm:spPr>
        <a:solidFill>
          <a:schemeClr val="accent1"/>
        </a:solidFill>
      </dgm:spPr>
      <dgm:t>
        <a:bodyPr/>
        <a:lstStyle/>
        <a:p>
          <a:r>
            <a:rPr lang="it-IT" dirty="0">
              <a:solidFill>
                <a:schemeClr val="bg1"/>
              </a:solidFill>
            </a:rPr>
            <a:t>Smart Road</a:t>
          </a:r>
        </a:p>
      </dgm:t>
    </dgm:pt>
    <dgm:pt modelId="{B824E2BF-99FF-4441-998F-2F60EDE478D5}" type="parTrans" cxnId="{574E61D1-E1F5-4BDC-8306-6A20315F04DE}">
      <dgm:prSet/>
      <dgm:spPr/>
      <dgm:t>
        <a:bodyPr/>
        <a:lstStyle/>
        <a:p>
          <a:endParaRPr lang="it-IT"/>
        </a:p>
      </dgm:t>
    </dgm:pt>
    <dgm:pt modelId="{D3471309-8ADE-4768-921E-7AFA41A86BFC}" type="sibTrans" cxnId="{574E61D1-E1F5-4BDC-8306-6A20315F04DE}">
      <dgm:prSet/>
      <dgm:spPr/>
      <dgm:t>
        <a:bodyPr/>
        <a:lstStyle/>
        <a:p>
          <a:endParaRPr lang="it-IT"/>
        </a:p>
      </dgm:t>
    </dgm:pt>
    <dgm:pt modelId="{2069E263-CA68-447A-859F-7068DC9AF2B6}" type="pres">
      <dgm:prSet presAssocID="{C782CD9B-2B4B-48D2-BF13-2B0D6056B78A}" presName="Name0" presStyleCnt="0">
        <dgm:presLayoutVars>
          <dgm:dir/>
          <dgm:animLvl val="lvl"/>
          <dgm:resizeHandles val="exact"/>
        </dgm:presLayoutVars>
      </dgm:prSet>
      <dgm:spPr/>
    </dgm:pt>
    <dgm:pt modelId="{B014A20F-F8D4-4634-B213-8EDE25927C16}" type="pres">
      <dgm:prSet presAssocID="{DFCF748E-4FA2-4C04-B1DF-85DA1021BE5D}" presName="composite" presStyleCnt="0"/>
      <dgm:spPr/>
    </dgm:pt>
    <dgm:pt modelId="{2763F6D0-FDDE-4CA1-AD92-DB96E5135F54}" type="pres">
      <dgm:prSet presAssocID="{DFCF748E-4FA2-4C04-B1DF-85DA1021BE5D}" presName="parTx" presStyleLbl="node1" presStyleIdx="0" presStyleCnt="10">
        <dgm:presLayoutVars>
          <dgm:chMax val="0"/>
          <dgm:chPref val="0"/>
          <dgm:bulletEnabled val="1"/>
        </dgm:presLayoutVars>
      </dgm:prSet>
      <dgm:spPr/>
    </dgm:pt>
    <dgm:pt modelId="{1FDBE215-54FC-4E50-AA35-0F93F2176D94}" type="pres">
      <dgm:prSet presAssocID="{DFCF748E-4FA2-4C04-B1DF-85DA1021BE5D}" presName="desTx" presStyleLbl="revTx" presStyleIdx="0" presStyleCnt="1">
        <dgm:presLayoutVars>
          <dgm:bulletEnabled val="1"/>
        </dgm:presLayoutVars>
      </dgm:prSet>
      <dgm:spPr/>
    </dgm:pt>
    <dgm:pt modelId="{8E5DAA18-950D-4280-899B-AF93A748A40D}" type="pres">
      <dgm:prSet presAssocID="{A0ED7260-8442-4FBF-80B4-500E49A4F3AF}" presName="space" presStyleCnt="0"/>
      <dgm:spPr/>
    </dgm:pt>
    <dgm:pt modelId="{E1BB1CF0-7FBC-4798-9323-73C4F7CC9C62}" type="pres">
      <dgm:prSet presAssocID="{B754C885-66E5-4615-BD33-B6EE917A035D}" presName="composite" presStyleCnt="0"/>
      <dgm:spPr/>
    </dgm:pt>
    <dgm:pt modelId="{77AB0C57-3732-4A7F-98BE-DE317F185E6C}" type="pres">
      <dgm:prSet presAssocID="{B754C885-66E5-4615-BD33-B6EE917A035D}" presName="parTx" presStyleLbl="node1" presStyleIdx="1" presStyleCnt="10">
        <dgm:presLayoutVars>
          <dgm:chMax val="0"/>
          <dgm:chPref val="0"/>
          <dgm:bulletEnabled val="1"/>
        </dgm:presLayoutVars>
      </dgm:prSet>
      <dgm:spPr/>
    </dgm:pt>
    <dgm:pt modelId="{D404F352-4669-4921-A885-9A65333A8849}" type="pres">
      <dgm:prSet presAssocID="{B754C885-66E5-4615-BD33-B6EE917A035D}" presName="desTx" presStyleLbl="revTx" presStyleIdx="0" presStyleCnt="1">
        <dgm:presLayoutVars>
          <dgm:bulletEnabled val="1"/>
        </dgm:presLayoutVars>
      </dgm:prSet>
      <dgm:spPr/>
    </dgm:pt>
    <dgm:pt modelId="{652222DD-6B83-4984-A2CB-AFC49EBF1201}" type="pres">
      <dgm:prSet presAssocID="{79AAED35-18A8-4347-A2B8-6AAE8B34BA56}" presName="space" presStyleCnt="0"/>
      <dgm:spPr/>
    </dgm:pt>
    <dgm:pt modelId="{7BBACE36-6E6A-4583-BE8A-FF4AFBA2DED4}" type="pres">
      <dgm:prSet presAssocID="{72FFD339-6A5F-4ED7-B529-6155AF8C35BB}" presName="composite" presStyleCnt="0"/>
      <dgm:spPr/>
    </dgm:pt>
    <dgm:pt modelId="{4AD6D448-4CC0-4315-A093-B9CE4EFAE2AC}" type="pres">
      <dgm:prSet presAssocID="{72FFD339-6A5F-4ED7-B529-6155AF8C35BB}" presName="parTx" presStyleLbl="node1" presStyleIdx="2" presStyleCnt="10">
        <dgm:presLayoutVars>
          <dgm:chMax val="0"/>
          <dgm:chPref val="0"/>
          <dgm:bulletEnabled val="1"/>
        </dgm:presLayoutVars>
      </dgm:prSet>
      <dgm:spPr/>
    </dgm:pt>
    <dgm:pt modelId="{DDA49AB9-8E30-494C-B7AD-5D837E47ED84}" type="pres">
      <dgm:prSet presAssocID="{72FFD339-6A5F-4ED7-B529-6155AF8C35BB}" presName="desTx" presStyleLbl="revTx" presStyleIdx="0" presStyleCnt="1">
        <dgm:presLayoutVars>
          <dgm:bulletEnabled val="1"/>
        </dgm:presLayoutVars>
      </dgm:prSet>
      <dgm:spPr/>
    </dgm:pt>
    <dgm:pt modelId="{40B2A213-F41D-4FF4-B7EE-EE2725EE45E1}" type="pres">
      <dgm:prSet presAssocID="{A3B7292F-5113-4C29-982F-BC1D14C7BE90}" presName="space" presStyleCnt="0"/>
      <dgm:spPr/>
    </dgm:pt>
    <dgm:pt modelId="{767FFDEC-573C-4880-9092-95E7AA1D2603}" type="pres">
      <dgm:prSet presAssocID="{9225496C-39D8-4F53-8BB5-1B069B40EB3E}" presName="composite" presStyleCnt="0"/>
      <dgm:spPr/>
    </dgm:pt>
    <dgm:pt modelId="{E74D7A4A-73C2-43FA-824A-4BA72478203F}" type="pres">
      <dgm:prSet presAssocID="{9225496C-39D8-4F53-8BB5-1B069B40EB3E}" presName="parTx" presStyleLbl="node1" presStyleIdx="3" presStyleCnt="10">
        <dgm:presLayoutVars>
          <dgm:chMax val="0"/>
          <dgm:chPref val="0"/>
          <dgm:bulletEnabled val="1"/>
        </dgm:presLayoutVars>
      </dgm:prSet>
      <dgm:spPr/>
    </dgm:pt>
    <dgm:pt modelId="{2AFD2A7A-21F5-4D0F-A3B7-E9DED32F3331}" type="pres">
      <dgm:prSet presAssocID="{9225496C-39D8-4F53-8BB5-1B069B40EB3E}" presName="desTx" presStyleLbl="revTx" presStyleIdx="0" presStyleCnt="1">
        <dgm:presLayoutVars>
          <dgm:bulletEnabled val="1"/>
        </dgm:presLayoutVars>
      </dgm:prSet>
      <dgm:spPr/>
    </dgm:pt>
    <dgm:pt modelId="{05F7048B-DABE-4B40-95CF-B6AD27ED9BD5}" type="pres">
      <dgm:prSet presAssocID="{1E3F53DD-2537-4C67-AA71-87081D444A81}" presName="space" presStyleCnt="0"/>
      <dgm:spPr/>
    </dgm:pt>
    <dgm:pt modelId="{A867F334-218F-4CA0-819D-4BE79732357D}" type="pres">
      <dgm:prSet presAssocID="{2F442204-E894-4EB6-A3FA-953074E6D5F9}" presName="composite" presStyleCnt="0"/>
      <dgm:spPr/>
    </dgm:pt>
    <dgm:pt modelId="{D2550DFF-8A71-41FD-B335-739C8BA82D9F}" type="pres">
      <dgm:prSet presAssocID="{2F442204-E894-4EB6-A3FA-953074E6D5F9}" presName="parTx" presStyleLbl="node1" presStyleIdx="4" presStyleCnt="10">
        <dgm:presLayoutVars>
          <dgm:chMax val="0"/>
          <dgm:chPref val="0"/>
          <dgm:bulletEnabled val="1"/>
        </dgm:presLayoutVars>
      </dgm:prSet>
      <dgm:spPr/>
    </dgm:pt>
    <dgm:pt modelId="{7498A5A7-3469-400E-AB63-840F9E8B383B}" type="pres">
      <dgm:prSet presAssocID="{2F442204-E894-4EB6-A3FA-953074E6D5F9}" presName="desTx" presStyleLbl="revTx" presStyleIdx="0" presStyleCnt="1">
        <dgm:presLayoutVars>
          <dgm:bulletEnabled val="1"/>
        </dgm:presLayoutVars>
      </dgm:prSet>
      <dgm:spPr/>
    </dgm:pt>
    <dgm:pt modelId="{4B783D2D-1CBB-4BA2-941C-EC9FD8E64166}" type="pres">
      <dgm:prSet presAssocID="{07F51AA8-9070-4A56-AF24-8977CF9B6A80}" presName="space" presStyleCnt="0"/>
      <dgm:spPr/>
    </dgm:pt>
    <dgm:pt modelId="{07D27D39-8600-4A66-8934-38664E9F18BF}" type="pres">
      <dgm:prSet presAssocID="{7A5D9CDD-E10F-422D-808B-815C691EF2E8}" presName="composite" presStyleCnt="0"/>
      <dgm:spPr/>
    </dgm:pt>
    <dgm:pt modelId="{7F8529BC-E330-492E-A9A4-85A5B4EDF65B}" type="pres">
      <dgm:prSet presAssocID="{7A5D9CDD-E10F-422D-808B-815C691EF2E8}" presName="parTx" presStyleLbl="node1" presStyleIdx="5" presStyleCnt="10">
        <dgm:presLayoutVars>
          <dgm:chMax val="0"/>
          <dgm:chPref val="0"/>
          <dgm:bulletEnabled val="1"/>
        </dgm:presLayoutVars>
      </dgm:prSet>
      <dgm:spPr/>
    </dgm:pt>
    <dgm:pt modelId="{1D996D85-F9E6-4F82-81F0-5809082FF65D}" type="pres">
      <dgm:prSet presAssocID="{7A5D9CDD-E10F-422D-808B-815C691EF2E8}" presName="desTx" presStyleLbl="revTx" presStyleIdx="0" presStyleCnt="1">
        <dgm:presLayoutVars>
          <dgm:bulletEnabled val="1"/>
        </dgm:presLayoutVars>
      </dgm:prSet>
      <dgm:spPr/>
    </dgm:pt>
    <dgm:pt modelId="{F9339488-9E92-46F4-B541-43B0EE2ABE1A}" type="pres">
      <dgm:prSet presAssocID="{63A1392B-D9B4-4604-ACED-CDD4B7E19D6E}" presName="space" presStyleCnt="0"/>
      <dgm:spPr/>
    </dgm:pt>
    <dgm:pt modelId="{086175FF-30EF-43CB-A158-0E4CCE90FC73}" type="pres">
      <dgm:prSet presAssocID="{56EC974B-4690-4A6A-B143-36A5A9DDDB75}" presName="composite" presStyleCnt="0"/>
      <dgm:spPr/>
    </dgm:pt>
    <dgm:pt modelId="{64BB5E67-0670-4BB3-8535-51113E73DCA3}" type="pres">
      <dgm:prSet presAssocID="{56EC974B-4690-4A6A-B143-36A5A9DDDB75}" presName="parTx" presStyleLbl="node1" presStyleIdx="6" presStyleCnt="10">
        <dgm:presLayoutVars>
          <dgm:chMax val="0"/>
          <dgm:chPref val="0"/>
          <dgm:bulletEnabled val="1"/>
        </dgm:presLayoutVars>
      </dgm:prSet>
      <dgm:spPr/>
    </dgm:pt>
    <dgm:pt modelId="{BA82DF2C-A7E0-42BA-8E91-AB7F26E053FE}" type="pres">
      <dgm:prSet presAssocID="{56EC974B-4690-4A6A-B143-36A5A9DDDB75}" presName="desTx" presStyleLbl="revTx" presStyleIdx="0" presStyleCnt="1">
        <dgm:presLayoutVars>
          <dgm:bulletEnabled val="1"/>
        </dgm:presLayoutVars>
      </dgm:prSet>
      <dgm:spPr/>
    </dgm:pt>
    <dgm:pt modelId="{BA5EA91F-7651-4F0D-A330-7F9521A45049}" type="pres">
      <dgm:prSet presAssocID="{57612FAC-3D38-4A5A-9D54-8452999285F4}" presName="space" presStyleCnt="0"/>
      <dgm:spPr/>
    </dgm:pt>
    <dgm:pt modelId="{12E9865F-12F3-4E92-B40B-EB71524012BC}" type="pres">
      <dgm:prSet presAssocID="{A07A8528-D240-4AAE-BA81-005F6AD457F1}" presName="composite" presStyleCnt="0"/>
      <dgm:spPr/>
    </dgm:pt>
    <dgm:pt modelId="{15CC3617-00D3-4DE6-9B7C-73B0D91CB6A9}" type="pres">
      <dgm:prSet presAssocID="{A07A8528-D240-4AAE-BA81-005F6AD457F1}" presName="parTx" presStyleLbl="node1" presStyleIdx="7" presStyleCnt="10">
        <dgm:presLayoutVars>
          <dgm:chMax val="0"/>
          <dgm:chPref val="0"/>
          <dgm:bulletEnabled val="1"/>
        </dgm:presLayoutVars>
      </dgm:prSet>
      <dgm:spPr/>
    </dgm:pt>
    <dgm:pt modelId="{DB7EB305-1E7A-4C51-97E3-B90DE4D0F534}" type="pres">
      <dgm:prSet presAssocID="{A07A8528-D240-4AAE-BA81-005F6AD457F1}" presName="desTx" presStyleLbl="revTx" presStyleIdx="0" presStyleCnt="1">
        <dgm:presLayoutVars>
          <dgm:bulletEnabled val="1"/>
        </dgm:presLayoutVars>
      </dgm:prSet>
      <dgm:spPr/>
    </dgm:pt>
    <dgm:pt modelId="{81EC4F6B-0A53-43F1-9D3E-DCFE84CFCE49}" type="pres">
      <dgm:prSet presAssocID="{7D0C416E-0310-43FE-A0D6-735CD62199B6}" presName="space" presStyleCnt="0"/>
      <dgm:spPr/>
    </dgm:pt>
    <dgm:pt modelId="{4B595BE9-8766-4C7C-880A-A80BAAF849CD}" type="pres">
      <dgm:prSet presAssocID="{5805825E-3BC3-4961-910E-96065463977D}" presName="composite" presStyleCnt="0"/>
      <dgm:spPr/>
    </dgm:pt>
    <dgm:pt modelId="{E42F589E-6631-42F1-A434-EB9BFC00C129}" type="pres">
      <dgm:prSet presAssocID="{5805825E-3BC3-4961-910E-96065463977D}" presName="parTx" presStyleLbl="node1" presStyleIdx="8" presStyleCnt="10">
        <dgm:presLayoutVars>
          <dgm:chMax val="0"/>
          <dgm:chPref val="0"/>
          <dgm:bulletEnabled val="1"/>
        </dgm:presLayoutVars>
      </dgm:prSet>
      <dgm:spPr/>
    </dgm:pt>
    <dgm:pt modelId="{F883C1BF-A3FE-43BF-9D52-4F40F37DDEA1}" type="pres">
      <dgm:prSet presAssocID="{5805825E-3BC3-4961-910E-96065463977D}" presName="desTx" presStyleLbl="revTx" presStyleIdx="0" presStyleCnt="1">
        <dgm:presLayoutVars>
          <dgm:bulletEnabled val="1"/>
        </dgm:presLayoutVars>
      </dgm:prSet>
      <dgm:spPr/>
    </dgm:pt>
    <dgm:pt modelId="{E8FDC4BD-268C-444C-8D06-0E125426BE2F}" type="pres">
      <dgm:prSet presAssocID="{B58F1702-0059-4F53-9A60-77242457BBFA}" presName="space" presStyleCnt="0"/>
      <dgm:spPr/>
    </dgm:pt>
    <dgm:pt modelId="{0DB85FE3-A0B9-41A1-AEA3-36E4E63078A6}" type="pres">
      <dgm:prSet presAssocID="{2D51EAF0-C497-40E9-996D-2D0BC40F318C}" presName="composite" presStyleCnt="0"/>
      <dgm:spPr/>
    </dgm:pt>
    <dgm:pt modelId="{3724937C-EC74-4482-9E71-5AB7879CEACB}" type="pres">
      <dgm:prSet presAssocID="{2D51EAF0-C497-40E9-996D-2D0BC40F318C}" presName="parTx" presStyleLbl="node1" presStyleIdx="9" presStyleCnt="10">
        <dgm:presLayoutVars>
          <dgm:chMax val="0"/>
          <dgm:chPref val="0"/>
          <dgm:bulletEnabled val="1"/>
        </dgm:presLayoutVars>
      </dgm:prSet>
      <dgm:spPr/>
    </dgm:pt>
    <dgm:pt modelId="{CE1BF28D-E2B5-4EDC-B5BC-BF96DFAEA255}" type="pres">
      <dgm:prSet presAssocID="{2D51EAF0-C497-40E9-996D-2D0BC40F318C}" presName="desTx" presStyleLbl="revTx" presStyleIdx="0" presStyleCnt="1">
        <dgm:presLayoutVars>
          <dgm:bulletEnabled val="1"/>
        </dgm:presLayoutVars>
      </dgm:prSet>
      <dgm:spPr/>
    </dgm:pt>
  </dgm:ptLst>
  <dgm:cxnLst>
    <dgm:cxn modelId="{F8EA3703-CEE5-4162-AB46-CFFF8AC28B48}" srcId="{C782CD9B-2B4B-48D2-BF13-2B0D6056B78A}" destId="{B754C885-66E5-4615-BD33-B6EE917A035D}" srcOrd="1" destOrd="0" parTransId="{65812F9F-DD0E-4752-BF8B-D07282594751}" sibTransId="{79AAED35-18A8-4347-A2B8-6AAE8B34BA56}"/>
    <dgm:cxn modelId="{7BC9B318-E7A6-41F3-853C-1D1DFB2050EF}" srcId="{C782CD9B-2B4B-48D2-BF13-2B0D6056B78A}" destId="{2D51EAF0-C497-40E9-996D-2D0BC40F318C}" srcOrd="9" destOrd="0" parTransId="{43C509B8-DD3A-429A-ADC4-232D55259B3D}" sibTransId="{66A12237-9546-42D0-81C0-2C324670B743}"/>
    <dgm:cxn modelId="{40A1802A-D3D2-4003-B012-D3A0F1736DB8}" type="presOf" srcId="{9225496C-39D8-4F53-8BB5-1B069B40EB3E}" destId="{E74D7A4A-73C2-43FA-824A-4BA72478203F}" srcOrd="0" destOrd="0" presId="urn:microsoft.com/office/officeart/2005/8/layout/chevron1"/>
    <dgm:cxn modelId="{94A2B45D-2D69-4650-AFC3-C5574217F910}" srcId="{C782CD9B-2B4B-48D2-BF13-2B0D6056B78A}" destId="{9225496C-39D8-4F53-8BB5-1B069B40EB3E}" srcOrd="3" destOrd="0" parTransId="{D3A21DFB-000A-4FCE-9E9D-8516EBA4DD45}" sibTransId="{1E3F53DD-2537-4C67-AA71-87081D444A81}"/>
    <dgm:cxn modelId="{E4C38663-AFAA-4DE7-B5A6-DF369C96D883}" type="presOf" srcId="{DFCF748E-4FA2-4C04-B1DF-85DA1021BE5D}" destId="{2763F6D0-FDDE-4CA1-AD92-DB96E5135F54}" srcOrd="0" destOrd="0" presId="urn:microsoft.com/office/officeart/2005/8/layout/chevron1"/>
    <dgm:cxn modelId="{6FD2AE64-BDEB-482D-ACF3-1D5403180A1E}" srcId="{C782CD9B-2B4B-48D2-BF13-2B0D6056B78A}" destId="{2F442204-E894-4EB6-A3FA-953074E6D5F9}" srcOrd="4" destOrd="0" parTransId="{9E6A019B-6886-407A-A3BB-1A2A8D416818}" sibTransId="{07F51AA8-9070-4A56-AF24-8977CF9B6A80}"/>
    <dgm:cxn modelId="{B80E5968-5CB5-46DE-BD0E-AA8919B396CD}" type="presOf" srcId="{C782CD9B-2B4B-48D2-BF13-2B0D6056B78A}" destId="{2069E263-CA68-447A-859F-7068DC9AF2B6}" srcOrd="0" destOrd="0" presId="urn:microsoft.com/office/officeart/2005/8/layout/chevron1"/>
    <dgm:cxn modelId="{E5A2EC49-037A-432F-B2F0-324B2273F4B8}" type="presOf" srcId="{2D51EAF0-C497-40E9-996D-2D0BC40F318C}" destId="{3724937C-EC74-4482-9E71-5AB7879CEACB}" srcOrd="0" destOrd="0" presId="urn:microsoft.com/office/officeart/2005/8/layout/chevron1"/>
    <dgm:cxn modelId="{23C5354C-AC75-4937-8D96-13A95D00FF54}" type="presOf" srcId="{5805825E-3BC3-4961-910E-96065463977D}" destId="{E42F589E-6631-42F1-A434-EB9BFC00C129}" srcOrd="0" destOrd="0" presId="urn:microsoft.com/office/officeart/2005/8/layout/chevron1"/>
    <dgm:cxn modelId="{AAB6AF6E-A180-422B-93B0-33E510E09C63}" type="presOf" srcId="{72FFD339-6A5F-4ED7-B529-6155AF8C35BB}" destId="{4AD6D448-4CC0-4315-A093-B9CE4EFAE2AC}" srcOrd="0" destOrd="0" presId="urn:microsoft.com/office/officeart/2005/8/layout/chevron1"/>
    <dgm:cxn modelId="{0D2A506F-EB46-49FC-890D-662DD8D20044}" type="presOf" srcId="{B754C885-66E5-4615-BD33-B6EE917A035D}" destId="{77AB0C57-3732-4A7F-98BE-DE317F185E6C}" srcOrd="0" destOrd="0" presId="urn:microsoft.com/office/officeart/2005/8/layout/chevron1"/>
    <dgm:cxn modelId="{A9AB2876-619A-479E-B812-58772A74C7C3}" type="presOf" srcId="{2F442204-E894-4EB6-A3FA-953074E6D5F9}" destId="{D2550DFF-8A71-41FD-B335-739C8BA82D9F}" srcOrd="0" destOrd="0" presId="urn:microsoft.com/office/officeart/2005/8/layout/chevron1"/>
    <dgm:cxn modelId="{BEDD267B-EA80-4783-A782-86B96AAC5B03}" srcId="{C782CD9B-2B4B-48D2-BF13-2B0D6056B78A}" destId="{7A5D9CDD-E10F-422D-808B-815C691EF2E8}" srcOrd="5" destOrd="0" parTransId="{089AE963-8402-4F38-908B-1CA814F78766}" sibTransId="{63A1392B-D9B4-4604-ACED-CDD4B7E19D6E}"/>
    <dgm:cxn modelId="{885C4D95-E2B2-4F05-B66C-3DC8B4846EA9}" type="presOf" srcId="{F647B10F-EAE0-4F41-8E04-352654413B5C}" destId="{F883C1BF-A3FE-43BF-9D52-4F40F37DDEA1}" srcOrd="0" destOrd="0" presId="urn:microsoft.com/office/officeart/2005/8/layout/chevron1"/>
    <dgm:cxn modelId="{92751D9D-02E3-45C2-978C-737085227C42}" srcId="{C782CD9B-2B4B-48D2-BF13-2B0D6056B78A}" destId="{DFCF748E-4FA2-4C04-B1DF-85DA1021BE5D}" srcOrd="0" destOrd="0" parTransId="{7DAF1956-B700-4203-9672-92E4451DCC31}" sibTransId="{A0ED7260-8442-4FBF-80B4-500E49A4F3AF}"/>
    <dgm:cxn modelId="{FE5FBCA8-5D6F-44E5-8DFA-D24300AECCE8}" srcId="{C782CD9B-2B4B-48D2-BF13-2B0D6056B78A}" destId="{56EC974B-4690-4A6A-B143-36A5A9DDDB75}" srcOrd="6" destOrd="0" parTransId="{F24B2512-EFC3-4494-92F8-F4C2A580DD56}" sibTransId="{57612FAC-3D38-4A5A-9D54-8452999285F4}"/>
    <dgm:cxn modelId="{079761C9-B9CC-4C47-93CE-8CBC69A9B405}" type="presOf" srcId="{7A5D9CDD-E10F-422D-808B-815C691EF2E8}" destId="{7F8529BC-E330-492E-A9A4-85A5B4EDF65B}" srcOrd="0" destOrd="0" presId="urn:microsoft.com/office/officeart/2005/8/layout/chevron1"/>
    <dgm:cxn modelId="{D6D976CB-A3CD-42D8-984A-D32D2E067361}" type="presOf" srcId="{A07A8528-D240-4AAE-BA81-005F6AD457F1}" destId="{15CC3617-00D3-4DE6-9B7C-73B0D91CB6A9}" srcOrd="0" destOrd="0" presId="urn:microsoft.com/office/officeart/2005/8/layout/chevron1"/>
    <dgm:cxn modelId="{574E61D1-E1F5-4BDC-8306-6A20315F04DE}" srcId="{5805825E-3BC3-4961-910E-96065463977D}" destId="{F647B10F-EAE0-4F41-8E04-352654413B5C}" srcOrd="0" destOrd="0" parTransId="{B824E2BF-99FF-4441-998F-2F60EDE478D5}" sibTransId="{D3471309-8ADE-4768-921E-7AFA41A86BFC}"/>
    <dgm:cxn modelId="{D6C89AE1-00A8-492D-888B-1E3DDC006D86}" srcId="{C782CD9B-2B4B-48D2-BF13-2B0D6056B78A}" destId="{5805825E-3BC3-4961-910E-96065463977D}" srcOrd="8" destOrd="0" parTransId="{263FA899-3C2D-4809-A47A-DB65911293C7}" sibTransId="{B58F1702-0059-4F53-9A60-77242457BBFA}"/>
    <dgm:cxn modelId="{4AEE35F2-BB2C-49D8-BDA8-3A2D942081E0}" type="presOf" srcId="{56EC974B-4690-4A6A-B143-36A5A9DDDB75}" destId="{64BB5E67-0670-4BB3-8535-51113E73DCA3}" srcOrd="0" destOrd="0" presId="urn:microsoft.com/office/officeart/2005/8/layout/chevron1"/>
    <dgm:cxn modelId="{C381E8F4-D0AE-4AD0-B8F1-4BDFF55901DE}" srcId="{C782CD9B-2B4B-48D2-BF13-2B0D6056B78A}" destId="{72FFD339-6A5F-4ED7-B529-6155AF8C35BB}" srcOrd="2" destOrd="0" parTransId="{ECFEA23F-DCCD-42C6-8706-10917CE3C2B0}" sibTransId="{A3B7292F-5113-4C29-982F-BC1D14C7BE90}"/>
    <dgm:cxn modelId="{C9F268FB-CB20-4E78-9CDC-F035D61B7E09}" srcId="{C782CD9B-2B4B-48D2-BF13-2B0D6056B78A}" destId="{A07A8528-D240-4AAE-BA81-005F6AD457F1}" srcOrd="7" destOrd="0" parTransId="{3C15A388-1B3D-47E8-B2CB-E67F7E1AFFF1}" sibTransId="{7D0C416E-0310-43FE-A0D6-735CD62199B6}"/>
    <dgm:cxn modelId="{773E9FC2-9FA1-4E70-9276-E62EEDF2FDD3}" type="presParOf" srcId="{2069E263-CA68-447A-859F-7068DC9AF2B6}" destId="{B014A20F-F8D4-4634-B213-8EDE25927C16}" srcOrd="0" destOrd="0" presId="urn:microsoft.com/office/officeart/2005/8/layout/chevron1"/>
    <dgm:cxn modelId="{3A367007-098E-4FA5-B78F-DA8CA1C2B557}" type="presParOf" srcId="{B014A20F-F8D4-4634-B213-8EDE25927C16}" destId="{2763F6D0-FDDE-4CA1-AD92-DB96E5135F54}" srcOrd="0" destOrd="0" presId="urn:microsoft.com/office/officeart/2005/8/layout/chevron1"/>
    <dgm:cxn modelId="{BC3460FA-F16F-4016-B018-4155A705F36A}" type="presParOf" srcId="{B014A20F-F8D4-4634-B213-8EDE25927C16}" destId="{1FDBE215-54FC-4E50-AA35-0F93F2176D94}" srcOrd="1" destOrd="0" presId="urn:microsoft.com/office/officeart/2005/8/layout/chevron1"/>
    <dgm:cxn modelId="{56FB45A9-FE61-4C9D-90A8-207A99D40E03}" type="presParOf" srcId="{2069E263-CA68-447A-859F-7068DC9AF2B6}" destId="{8E5DAA18-950D-4280-899B-AF93A748A40D}" srcOrd="1" destOrd="0" presId="urn:microsoft.com/office/officeart/2005/8/layout/chevron1"/>
    <dgm:cxn modelId="{83A0B446-B6AD-4B28-9B09-9FC09E87FA23}" type="presParOf" srcId="{2069E263-CA68-447A-859F-7068DC9AF2B6}" destId="{E1BB1CF0-7FBC-4798-9323-73C4F7CC9C62}" srcOrd="2" destOrd="0" presId="urn:microsoft.com/office/officeart/2005/8/layout/chevron1"/>
    <dgm:cxn modelId="{33FE35B7-277D-4DFD-AB51-527AEDB4DCDC}" type="presParOf" srcId="{E1BB1CF0-7FBC-4798-9323-73C4F7CC9C62}" destId="{77AB0C57-3732-4A7F-98BE-DE317F185E6C}" srcOrd="0" destOrd="0" presId="urn:microsoft.com/office/officeart/2005/8/layout/chevron1"/>
    <dgm:cxn modelId="{1F3A1B27-FFD5-42BA-BD63-7A6E29FF440E}" type="presParOf" srcId="{E1BB1CF0-7FBC-4798-9323-73C4F7CC9C62}" destId="{D404F352-4669-4921-A885-9A65333A8849}" srcOrd="1" destOrd="0" presId="urn:microsoft.com/office/officeart/2005/8/layout/chevron1"/>
    <dgm:cxn modelId="{FC7101BD-C30F-49C2-8955-624DD51B10E0}" type="presParOf" srcId="{2069E263-CA68-447A-859F-7068DC9AF2B6}" destId="{652222DD-6B83-4984-A2CB-AFC49EBF1201}" srcOrd="3" destOrd="0" presId="urn:microsoft.com/office/officeart/2005/8/layout/chevron1"/>
    <dgm:cxn modelId="{9BC40F2F-BF85-4D00-89C7-81F0F99B1C16}" type="presParOf" srcId="{2069E263-CA68-447A-859F-7068DC9AF2B6}" destId="{7BBACE36-6E6A-4583-BE8A-FF4AFBA2DED4}" srcOrd="4" destOrd="0" presId="urn:microsoft.com/office/officeart/2005/8/layout/chevron1"/>
    <dgm:cxn modelId="{1596392F-BA8F-4AC0-8394-085CC4E50811}" type="presParOf" srcId="{7BBACE36-6E6A-4583-BE8A-FF4AFBA2DED4}" destId="{4AD6D448-4CC0-4315-A093-B9CE4EFAE2AC}" srcOrd="0" destOrd="0" presId="urn:microsoft.com/office/officeart/2005/8/layout/chevron1"/>
    <dgm:cxn modelId="{917EAAA2-FA11-4CE7-808C-A2232A825FF4}" type="presParOf" srcId="{7BBACE36-6E6A-4583-BE8A-FF4AFBA2DED4}" destId="{DDA49AB9-8E30-494C-B7AD-5D837E47ED84}" srcOrd="1" destOrd="0" presId="urn:microsoft.com/office/officeart/2005/8/layout/chevron1"/>
    <dgm:cxn modelId="{1EB567D5-41C0-4666-8F14-D41E818DADAB}" type="presParOf" srcId="{2069E263-CA68-447A-859F-7068DC9AF2B6}" destId="{40B2A213-F41D-4FF4-B7EE-EE2725EE45E1}" srcOrd="5" destOrd="0" presId="urn:microsoft.com/office/officeart/2005/8/layout/chevron1"/>
    <dgm:cxn modelId="{D47941D8-36BB-4F40-95C2-FFB5ED722F22}" type="presParOf" srcId="{2069E263-CA68-447A-859F-7068DC9AF2B6}" destId="{767FFDEC-573C-4880-9092-95E7AA1D2603}" srcOrd="6" destOrd="0" presId="urn:microsoft.com/office/officeart/2005/8/layout/chevron1"/>
    <dgm:cxn modelId="{098877A0-9795-4ADD-9C09-F565F21E33A5}" type="presParOf" srcId="{767FFDEC-573C-4880-9092-95E7AA1D2603}" destId="{E74D7A4A-73C2-43FA-824A-4BA72478203F}" srcOrd="0" destOrd="0" presId="urn:microsoft.com/office/officeart/2005/8/layout/chevron1"/>
    <dgm:cxn modelId="{8F486DA6-F0E9-455B-8C57-27BB3DC11B41}" type="presParOf" srcId="{767FFDEC-573C-4880-9092-95E7AA1D2603}" destId="{2AFD2A7A-21F5-4D0F-A3B7-E9DED32F3331}" srcOrd="1" destOrd="0" presId="urn:microsoft.com/office/officeart/2005/8/layout/chevron1"/>
    <dgm:cxn modelId="{9DC01D73-8D4F-46D6-B15E-9F22FAF632C4}" type="presParOf" srcId="{2069E263-CA68-447A-859F-7068DC9AF2B6}" destId="{05F7048B-DABE-4B40-95CF-B6AD27ED9BD5}" srcOrd="7" destOrd="0" presId="urn:microsoft.com/office/officeart/2005/8/layout/chevron1"/>
    <dgm:cxn modelId="{6E9A625C-B0B9-4F31-A15D-1A1BB551C970}" type="presParOf" srcId="{2069E263-CA68-447A-859F-7068DC9AF2B6}" destId="{A867F334-218F-4CA0-819D-4BE79732357D}" srcOrd="8" destOrd="0" presId="urn:microsoft.com/office/officeart/2005/8/layout/chevron1"/>
    <dgm:cxn modelId="{7FD40444-9B82-44EC-81AB-EA12660B1705}" type="presParOf" srcId="{A867F334-218F-4CA0-819D-4BE79732357D}" destId="{D2550DFF-8A71-41FD-B335-739C8BA82D9F}" srcOrd="0" destOrd="0" presId="urn:microsoft.com/office/officeart/2005/8/layout/chevron1"/>
    <dgm:cxn modelId="{4A021F68-B1DB-4388-8C1B-A0F57A49EA88}" type="presParOf" srcId="{A867F334-218F-4CA0-819D-4BE79732357D}" destId="{7498A5A7-3469-400E-AB63-840F9E8B383B}" srcOrd="1" destOrd="0" presId="urn:microsoft.com/office/officeart/2005/8/layout/chevron1"/>
    <dgm:cxn modelId="{152EAB62-22B3-4647-8B79-A8C9F725D265}" type="presParOf" srcId="{2069E263-CA68-447A-859F-7068DC9AF2B6}" destId="{4B783D2D-1CBB-4BA2-941C-EC9FD8E64166}" srcOrd="9" destOrd="0" presId="urn:microsoft.com/office/officeart/2005/8/layout/chevron1"/>
    <dgm:cxn modelId="{6FEF514F-C710-4474-BF6B-E15D234DC363}" type="presParOf" srcId="{2069E263-CA68-447A-859F-7068DC9AF2B6}" destId="{07D27D39-8600-4A66-8934-38664E9F18BF}" srcOrd="10" destOrd="0" presId="urn:microsoft.com/office/officeart/2005/8/layout/chevron1"/>
    <dgm:cxn modelId="{DCB76735-3C50-4597-B2B3-CD4DA46D975F}" type="presParOf" srcId="{07D27D39-8600-4A66-8934-38664E9F18BF}" destId="{7F8529BC-E330-492E-A9A4-85A5B4EDF65B}" srcOrd="0" destOrd="0" presId="urn:microsoft.com/office/officeart/2005/8/layout/chevron1"/>
    <dgm:cxn modelId="{EB4E82E8-EE0E-4917-A68C-5D8BD7258C64}" type="presParOf" srcId="{07D27D39-8600-4A66-8934-38664E9F18BF}" destId="{1D996D85-F9E6-4F82-81F0-5809082FF65D}" srcOrd="1" destOrd="0" presId="urn:microsoft.com/office/officeart/2005/8/layout/chevron1"/>
    <dgm:cxn modelId="{64D97D3F-62C3-416C-B330-72593CAC79CA}" type="presParOf" srcId="{2069E263-CA68-447A-859F-7068DC9AF2B6}" destId="{F9339488-9E92-46F4-B541-43B0EE2ABE1A}" srcOrd="11" destOrd="0" presId="urn:microsoft.com/office/officeart/2005/8/layout/chevron1"/>
    <dgm:cxn modelId="{C250C4C9-D910-4FC4-AB01-F3CBBE6E474C}" type="presParOf" srcId="{2069E263-CA68-447A-859F-7068DC9AF2B6}" destId="{086175FF-30EF-43CB-A158-0E4CCE90FC73}" srcOrd="12" destOrd="0" presId="urn:microsoft.com/office/officeart/2005/8/layout/chevron1"/>
    <dgm:cxn modelId="{4F4832F5-5E76-42DF-B3C4-659076AF028B}" type="presParOf" srcId="{086175FF-30EF-43CB-A158-0E4CCE90FC73}" destId="{64BB5E67-0670-4BB3-8535-51113E73DCA3}" srcOrd="0" destOrd="0" presId="urn:microsoft.com/office/officeart/2005/8/layout/chevron1"/>
    <dgm:cxn modelId="{29B55338-A415-41E0-B503-351C3CD7F41F}" type="presParOf" srcId="{086175FF-30EF-43CB-A158-0E4CCE90FC73}" destId="{BA82DF2C-A7E0-42BA-8E91-AB7F26E053FE}" srcOrd="1" destOrd="0" presId="urn:microsoft.com/office/officeart/2005/8/layout/chevron1"/>
    <dgm:cxn modelId="{2256ECC2-FD93-4F6A-9FCB-11ADB92E64A0}" type="presParOf" srcId="{2069E263-CA68-447A-859F-7068DC9AF2B6}" destId="{BA5EA91F-7651-4F0D-A330-7F9521A45049}" srcOrd="13" destOrd="0" presId="urn:microsoft.com/office/officeart/2005/8/layout/chevron1"/>
    <dgm:cxn modelId="{A21139C1-C07A-4F94-B2CD-AFCC6C1182B8}" type="presParOf" srcId="{2069E263-CA68-447A-859F-7068DC9AF2B6}" destId="{12E9865F-12F3-4E92-B40B-EB71524012BC}" srcOrd="14" destOrd="0" presId="urn:microsoft.com/office/officeart/2005/8/layout/chevron1"/>
    <dgm:cxn modelId="{96415AC1-4DE7-4928-95EF-04AE24CE1F25}" type="presParOf" srcId="{12E9865F-12F3-4E92-B40B-EB71524012BC}" destId="{15CC3617-00D3-4DE6-9B7C-73B0D91CB6A9}" srcOrd="0" destOrd="0" presId="urn:microsoft.com/office/officeart/2005/8/layout/chevron1"/>
    <dgm:cxn modelId="{79DEF5DA-8443-4902-AA27-53BA538527CB}" type="presParOf" srcId="{12E9865F-12F3-4E92-B40B-EB71524012BC}" destId="{DB7EB305-1E7A-4C51-97E3-B90DE4D0F534}" srcOrd="1" destOrd="0" presId="urn:microsoft.com/office/officeart/2005/8/layout/chevron1"/>
    <dgm:cxn modelId="{00670441-A064-4AED-B2F2-A46A79A94283}" type="presParOf" srcId="{2069E263-CA68-447A-859F-7068DC9AF2B6}" destId="{81EC4F6B-0A53-43F1-9D3E-DCFE84CFCE49}" srcOrd="15" destOrd="0" presId="urn:microsoft.com/office/officeart/2005/8/layout/chevron1"/>
    <dgm:cxn modelId="{0D055967-11B0-4FBF-AC2B-039C0EA2470C}" type="presParOf" srcId="{2069E263-CA68-447A-859F-7068DC9AF2B6}" destId="{4B595BE9-8766-4C7C-880A-A80BAAF849CD}" srcOrd="16" destOrd="0" presId="urn:microsoft.com/office/officeart/2005/8/layout/chevron1"/>
    <dgm:cxn modelId="{8F041AA4-E5BE-49D4-9158-9287B2896445}" type="presParOf" srcId="{4B595BE9-8766-4C7C-880A-A80BAAF849CD}" destId="{E42F589E-6631-42F1-A434-EB9BFC00C129}" srcOrd="0" destOrd="0" presId="urn:microsoft.com/office/officeart/2005/8/layout/chevron1"/>
    <dgm:cxn modelId="{B5C5040B-9091-4AAE-8F61-230616649D81}" type="presParOf" srcId="{4B595BE9-8766-4C7C-880A-A80BAAF849CD}" destId="{F883C1BF-A3FE-43BF-9D52-4F40F37DDEA1}" srcOrd="1" destOrd="0" presId="urn:microsoft.com/office/officeart/2005/8/layout/chevron1"/>
    <dgm:cxn modelId="{24E876B4-4EF7-4CCC-AAF1-F2591BB82C24}" type="presParOf" srcId="{2069E263-CA68-447A-859F-7068DC9AF2B6}" destId="{E8FDC4BD-268C-444C-8D06-0E125426BE2F}" srcOrd="17" destOrd="0" presId="urn:microsoft.com/office/officeart/2005/8/layout/chevron1"/>
    <dgm:cxn modelId="{05231652-5866-4FD7-9F01-7668BE3C4E10}" type="presParOf" srcId="{2069E263-CA68-447A-859F-7068DC9AF2B6}" destId="{0DB85FE3-A0B9-41A1-AEA3-36E4E63078A6}" srcOrd="18" destOrd="0" presId="urn:microsoft.com/office/officeart/2005/8/layout/chevron1"/>
    <dgm:cxn modelId="{526240BF-2CC3-462A-BCCA-46653BD3F17C}" type="presParOf" srcId="{0DB85FE3-A0B9-41A1-AEA3-36E4E63078A6}" destId="{3724937C-EC74-4482-9E71-5AB7879CEACB}" srcOrd="0" destOrd="0" presId="urn:microsoft.com/office/officeart/2005/8/layout/chevron1"/>
    <dgm:cxn modelId="{52ECC926-EEBE-4DC0-B77B-FA59077FB3A2}" type="presParOf" srcId="{0DB85FE3-A0B9-41A1-AEA3-36E4E63078A6}" destId="{CE1BF28D-E2B5-4EDC-B5BC-BF96DFAEA255}" srcOrd="1" destOrd="0" presId="urn:microsoft.com/office/officeart/2005/8/layout/chevron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9.xml><?xml version="1.0" encoding="utf-8"?>
<dgm:dataModel xmlns:dgm="http://schemas.openxmlformats.org/drawingml/2006/diagram" xmlns:a="http://schemas.openxmlformats.org/drawingml/2006/main">
  <dgm:ptLst>
    <dgm:pt modelId="{C782CD9B-2B4B-48D2-BF13-2B0D6056B78A}"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it-IT"/>
        </a:p>
      </dgm:t>
    </dgm:pt>
    <dgm:pt modelId="{DFCF748E-4FA2-4C04-B1DF-85DA1021BE5D}">
      <dgm:prSet phldrT="[Testo]"/>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Rete viaria complessiva</a:t>
          </a:r>
        </a:p>
      </dgm:t>
    </dgm:pt>
    <dgm:pt modelId="{7DAF1956-B700-4203-9672-92E4451DCC31}" type="parTrans" cxnId="{92751D9D-02E3-45C2-978C-737085227C42}">
      <dgm:prSet/>
      <dgm:spPr/>
      <dgm:t>
        <a:bodyPr/>
        <a:lstStyle/>
        <a:p>
          <a:endParaRPr lang="it-IT"/>
        </a:p>
      </dgm:t>
    </dgm:pt>
    <dgm:pt modelId="{A0ED7260-8442-4FBF-80B4-500E49A4F3AF}" type="sibTrans" cxnId="{92751D9D-02E3-45C2-978C-737085227C42}">
      <dgm:prSet/>
      <dgm:spPr/>
      <dgm:t>
        <a:bodyPr/>
        <a:lstStyle/>
        <a:p>
          <a:endParaRPr lang="it-IT"/>
        </a:p>
      </dgm:t>
    </dgm:pt>
    <dgm:pt modelId="{B754C885-66E5-4615-BD33-B6EE917A035D}">
      <dgm:prSet phldrT="[Testo]"/>
      <dgm:spPr>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dgm:spPr>
      <dgm:t>
        <a:bodyPr/>
        <a:lstStyle/>
        <a:p>
          <a:r>
            <a:rPr lang="it-IT" dirty="0"/>
            <a:t>Risorse</a:t>
          </a:r>
        </a:p>
      </dgm:t>
    </dgm:pt>
    <dgm:pt modelId="{65812F9F-DD0E-4752-BF8B-D07282594751}" type="parTrans" cxnId="{F8EA3703-CEE5-4162-AB46-CFFF8AC28B48}">
      <dgm:prSet/>
      <dgm:spPr/>
      <dgm:t>
        <a:bodyPr/>
        <a:lstStyle/>
        <a:p>
          <a:endParaRPr lang="it-IT"/>
        </a:p>
      </dgm:t>
    </dgm:pt>
    <dgm:pt modelId="{79AAED35-18A8-4347-A2B8-6AAE8B34BA56}" type="sibTrans" cxnId="{F8EA3703-CEE5-4162-AB46-CFFF8AC28B48}">
      <dgm:prSet/>
      <dgm:spPr/>
      <dgm:t>
        <a:bodyPr/>
        <a:lstStyle/>
        <a:p>
          <a:endParaRPr lang="it-IT"/>
        </a:p>
      </dgm:t>
    </dgm:pt>
    <dgm:pt modelId="{9225496C-39D8-4F53-8BB5-1B069B40EB3E}">
      <dgm:prSet phldrT="[Testo]"/>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Affidamenti</a:t>
          </a:r>
        </a:p>
      </dgm:t>
    </dgm:pt>
    <dgm:pt modelId="{D3A21DFB-000A-4FCE-9E9D-8516EBA4DD45}" type="parTrans" cxnId="{94A2B45D-2D69-4650-AFC3-C5574217F910}">
      <dgm:prSet/>
      <dgm:spPr/>
      <dgm:t>
        <a:bodyPr/>
        <a:lstStyle/>
        <a:p>
          <a:endParaRPr lang="it-IT"/>
        </a:p>
      </dgm:t>
    </dgm:pt>
    <dgm:pt modelId="{1E3F53DD-2537-4C67-AA71-87081D444A81}" type="sibTrans" cxnId="{94A2B45D-2D69-4650-AFC3-C5574217F910}">
      <dgm:prSet/>
      <dgm:spPr/>
      <dgm:t>
        <a:bodyPr/>
        <a:lstStyle/>
        <a:p>
          <a:endParaRPr lang="it-IT"/>
        </a:p>
      </dgm:t>
    </dgm:pt>
    <dgm:pt modelId="{2F442204-E894-4EB6-A3FA-953074E6D5F9}">
      <dgm:prSet phldrT="[Testo]" custT="1"/>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sz="700" dirty="0"/>
            <a:t>Investimenti e Produzione</a:t>
          </a:r>
        </a:p>
        <a:p>
          <a:r>
            <a:rPr lang="it-IT" sz="700" dirty="0"/>
            <a:t>MP</a:t>
          </a:r>
        </a:p>
      </dgm:t>
    </dgm:pt>
    <dgm:pt modelId="{9E6A019B-6886-407A-A3BB-1A2A8D416818}" type="parTrans" cxnId="{6FD2AE64-BDEB-482D-ACF3-1D5403180A1E}">
      <dgm:prSet/>
      <dgm:spPr/>
      <dgm:t>
        <a:bodyPr/>
        <a:lstStyle/>
        <a:p>
          <a:endParaRPr lang="it-IT"/>
        </a:p>
      </dgm:t>
    </dgm:pt>
    <dgm:pt modelId="{07F51AA8-9070-4A56-AF24-8977CF9B6A80}" type="sibTrans" cxnId="{6FD2AE64-BDEB-482D-ACF3-1D5403180A1E}">
      <dgm:prSet/>
      <dgm:spPr/>
      <dgm:t>
        <a:bodyPr/>
        <a:lstStyle/>
        <a:p>
          <a:endParaRPr lang="it-IT"/>
        </a:p>
      </dgm:t>
    </dgm:pt>
    <dgm:pt modelId="{2D51EAF0-C497-40E9-996D-2D0BC40F318C}">
      <dgm:prSet phldrT="[Testo]"/>
      <dgm:spPr>
        <a:gradFill flip="none"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16200000" scaled="1"/>
          <a:tileRect/>
        </a:gradFill>
      </dgm:spPr>
      <dgm:t>
        <a:bodyPr/>
        <a:lstStyle/>
        <a:p>
          <a:r>
            <a:rPr lang="it-IT" dirty="0"/>
            <a:t>Pagamenti</a:t>
          </a:r>
        </a:p>
      </dgm:t>
    </dgm:pt>
    <dgm:pt modelId="{43C509B8-DD3A-429A-ADC4-232D55259B3D}" type="parTrans" cxnId="{7BC9B318-E7A6-41F3-853C-1D1DFB2050EF}">
      <dgm:prSet/>
      <dgm:spPr/>
      <dgm:t>
        <a:bodyPr/>
        <a:lstStyle/>
        <a:p>
          <a:endParaRPr lang="it-IT"/>
        </a:p>
      </dgm:t>
    </dgm:pt>
    <dgm:pt modelId="{66A12237-9546-42D0-81C0-2C324670B743}" type="sibTrans" cxnId="{7BC9B318-E7A6-41F3-853C-1D1DFB2050EF}">
      <dgm:prSet/>
      <dgm:spPr/>
      <dgm:t>
        <a:bodyPr/>
        <a:lstStyle/>
        <a:p>
          <a:endParaRPr lang="it-IT"/>
        </a:p>
      </dgm:t>
    </dgm:pt>
    <dgm:pt modelId="{72FFD339-6A5F-4ED7-B529-6155AF8C35BB}">
      <dgm:prSet/>
      <dgm:spPr>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dgm:spPr>
      <dgm:t>
        <a:bodyPr/>
        <a:lstStyle/>
        <a:p>
          <a:r>
            <a:rPr lang="it-IT" dirty="0" err="1"/>
            <a:t>soc</a:t>
          </a:r>
          <a:endParaRPr lang="it-IT" dirty="0"/>
        </a:p>
      </dgm:t>
    </dgm:pt>
    <dgm:pt modelId="{ECFEA23F-DCCD-42C6-8706-10917CE3C2B0}" type="parTrans" cxnId="{C381E8F4-D0AE-4AD0-B8F1-4BDFF55901DE}">
      <dgm:prSet/>
      <dgm:spPr/>
      <dgm:t>
        <a:bodyPr/>
        <a:lstStyle/>
        <a:p>
          <a:endParaRPr lang="it-IT"/>
        </a:p>
      </dgm:t>
    </dgm:pt>
    <dgm:pt modelId="{A3B7292F-5113-4C29-982F-BC1D14C7BE90}" type="sibTrans" cxnId="{C381E8F4-D0AE-4AD0-B8F1-4BDFF55901DE}">
      <dgm:prSet/>
      <dgm:spPr/>
      <dgm:t>
        <a:bodyPr/>
        <a:lstStyle/>
        <a:p>
          <a:endParaRPr lang="it-IT"/>
        </a:p>
      </dgm:t>
    </dgm:pt>
    <dgm:pt modelId="{A07A8528-D240-4AAE-BA81-005F6AD457F1}">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Ispezione Opere D’arte</a:t>
          </a:r>
        </a:p>
      </dgm:t>
    </dgm:pt>
    <dgm:pt modelId="{3C15A388-1B3D-47E8-B2CB-E67F7E1AFFF1}" type="parTrans" cxnId="{C9F268FB-CB20-4E78-9CDC-F035D61B7E09}">
      <dgm:prSet/>
      <dgm:spPr/>
      <dgm:t>
        <a:bodyPr/>
        <a:lstStyle/>
        <a:p>
          <a:endParaRPr lang="it-IT"/>
        </a:p>
      </dgm:t>
    </dgm:pt>
    <dgm:pt modelId="{7D0C416E-0310-43FE-A0D6-735CD62199B6}" type="sibTrans" cxnId="{C9F268FB-CB20-4E78-9CDC-F035D61B7E09}">
      <dgm:prSet/>
      <dgm:spPr/>
      <dgm:t>
        <a:bodyPr/>
        <a:lstStyle/>
        <a:p>
          <a:endParaRPr lang="it-IT"/>
        </a:p>
      </dgm:t>
    </dgm:pt>
    <dgm:pt modelId="{56EC974B-4690-4A6A-B143-36A5A9DDDB75}">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Supporto Tecnico</a:t>
          </a:r>
        </a:p>
      </dgm:t>
    </dgm:pt>
    <dgm:pt modelId="{F24B2512-EFC3-4494-92F8-F4C2A580DD56}" type="parTrans" cxnId="{FE5FBCA8-5D6F-44E5-8DFA-D24300AECCE8}">
      <dgm:prSet/>
      <dgm:spPr/>
      <dgm:t>
        <a:bodyPr/>
        <a:lstStyle/>
        <a:p>
          <a:endParaRPr lang="it-IT"/>
        </a:p>
      </dgm:t>
    </dgm:pt>
    <dgm:pt modelId="{57612FAC-3D38-4A5A-9D54-8452999285F4}" type="sibTrans" cxnId="{FE5FBCA8-5D6F-44E5-8DFA-D24300AECCE8}">
      <dgm:prSet/>
      <dgm:spPr/>
      <dgm:t>
        <a:bodyPr/>
        <a:lstStyle/>
        <a:p>
          <a:endParaRPr lang="it-IT"/>
        </a:p>
      </dgm:t>
    </dgm:pt>
    <dgm:pt modelId="{5805825E-3BC3-4961-910E-96065463977D}">
      <dgm:prSet/>
      <dgm:spPr>
        <a:solidFill>
          <a:schemeClr val="accent1"/>
        </a:solidFill>
      </dgm:spPr>
      <dgm:t>
        <a:bodyPr/>
        <a:lstStyle/>
        <a:p>
          <a:r>
            <a:rPr lang="it-IT" dirty="0"/>
            <a:t>Interventi Rilevanti</a:t>
          </a:r>
        </a:p>
      </dgm:t>
    </dgm:pt>
    <dgm:pt modelId="{263FA899-3C2D-4809-A47A-DB65911293C7}" type="parTrans" cxnId="{D6C89AE1-00A8-492D-888B-1E3DDC006D86}">
      <dgm:prSet/>
      <dgm:spPr/>
      <dgm:t>
        <a:bodyPr/>
        <a:lstStyle/>
        <a:p>
          <a:endParaRPr lang="it-IT"/>
        </a:p>
      </dgm:t>
    </dgm:pt>
    <dgm:pt modelId="{B58F1702-0059-4F53-9A60-77242457BBFA}" type="sibTrans" cxnId="{D6C89AE1-00A8-492D-888B-1E3DDC006D86}">
      <dgm:prSet/>
      <dgm:spPr/>
      <dgm:t>
        <a:bodyPr/>
        <a:lstStyle/>
        <a:p>
          <a:endParaRPr lang="it-IT"/>
        </a:p>
      </dgm:t>
    </dgm:pt>
    <dgm:pt modelId="{7A5D9CDD-E10F-422D-808B-815C691EF2E8}">
      <dgm:prSet phldrT="[Testo]" custT="1"/>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sz="700" dirty="0"/>
            <a:t>Investimenti e Produzione</a:t>
          </a:r>
        </a:p>
        <a:p>
          <a:r>
            <a:rPr lang="it-IT" sz="700" dirty="0"/>
            <a:t>NO</a:t>
          </a:r>
        </a:p>
      </dgm:t>
    </dgm:pt>
    <dgm:pt modelId="{089AE963-8402-4F38-908B-1CA814F78766}" type="parTrans" cxnId="{BEDD267B-EA80-4783-A782-86B96AAC5B03}">
      <dgm:prSet/>
      <dgm:spPr/>
      <dgm:t>
        <a:bodyPr/>
        <a:lstStyle/>
        <a:p>
          <a:endParaRPr lang="it-IT"/>
        </a:p>
      </dgm:t>
    </dgm:pt>
    <dgm:pt modelId="{63A1392B-D9B4-4604-ACED-CDD4B7E19D6E}" type="sibTrans" cxnId="{BEDD267B-EA80-4783-A782-86B96AAC5B03}">
      <dgm:prSet/>
      <dgm:spPr/>
      <dgm:t>
        <a:bodyPr/>
        <a:lstStyle/>
        <a:p>
          <a:endParaRPr lang="it-IT"/>
        </a:p>
      </dgm:t>
    </dgm:pt>
    <dgm:pt modelId="{F647B10F-EAE0-4F41-8E04-352654413B5C}">
      <dgm:prSet/>
      <dgm:spPr>
        <a:solidFill>
          <a:schemeClr val="accent1"/>
        </a:solidFill>
      </dgm:spPr>
      <dgm:t>
        <a:bodyPr/>
        <a:lstStyle/>
        <a:p>
          <a:r>
            <a:rPr lang="it-IT" dirty="0">
              <a:solidFill>
                <a:schemeClr val="bg1"/>
              </a:solidFill>
            </a:rPr>
            <a:t>Smart Road</a:t>
          </a:r>
        </a:p>
      </dgm:t>
    </dgm:pt>
    <dgm:pt modelId="{B824E2BF-99FF-4441-998F-2F60EDE478D5}" type="parTrans" cxnId="{574E61D1-E1F5-4BDC-8306-6A20315F04DE}">
      <dgm:prSet/>
      <dgm:spPr/>
      <dgm:t>
        <a:bodyPr/>
        <a:lstStyle/>
        <a:p>
          <a:endParaRPr lang="it-IT"/>
        </a:p>
      </dgm:t>
    </dgm:pt>
    <dgm:pt modelId="{D3471309-8ADE-4768-921E-7AFA41A86BFC}" type="sibTrans" cxnId="{574E61D1-E1F5-4BDC-8306-6A20315F04DE}">
      <dgm:prSet/>
      <dgm:spPr/>
      <dgm:t>
        <a:bodyPr/>
        <a:lstStyle/>
        <a:p>
          <a:endParaRPr lang="it-IT"/>
        </a:p>
      </dgm:t>
    </dgm:pt>
    <dgm:pt modelId="{2069E263-CA68-447A-859F-7068DC9AF2B6}" type="pres">
      <dgm:prSet presAssocID="{C782CD9B-2B4B-48D2-BF13-2B0D6056B78A}" presName="Name0" presStyleCnt="0">
        <dgm:presLayoutVars>
          <dgm:dir/>
          <dgm:animLvl val="lvl"/>
          <dgm:resizeHandles val="exact"/>
        </dgm:presLayoutVars>
      </dgm:prSet>
      <dgm:spPr/>
    </dgm:pt>
    <dgm:pt modelId="{B014A20F-F8D4-4634-B213-8EDE25927C16}" type="pres">
      <dgm:prSet presAssocID="{DFCF748E-4FA2-4C04-B1DF-85DA1021BE5D}" presName="composite" presStyleCnt="0"/>
      <dgm:spPr/>
    </dgm:pt>
    <dgm:pt modelId="{2763F6D0-FDDE-4CA1-AD92-DB96E5135F54}" type="pres">
      <dgm:prSet presAssocID="{DFCF748E-4FA2-4C04-B1DF-85DA1021BE5D}" presName="parTx" presStyleLbl="node1" presStyleIdx="0" presStyleCnt="10">
        <dgm:presLayoutVars>
          <dgm:chMax val="0"/>
          <dgm:chPref val="0"/>
          <dgm:bulletEnabled val="1"/>
        </dgm:presLayoutVars>
      </dgm:prSet>
      <dgm:spPr/>
    </dgm:pt>
    <dgm:pt modelId="{1FDBE215-54FC-4E50-AA35-0F93F2176D94}" type="pres">
      <dgm:prSet presAssocID="{DFCF748E-4FA2-4C04-B1DF-85DA1021BE5D}" presName="desTx" presStyleLbl="revTx" presStyleIdx="0" presStyleCnt="1">
        <dgm:presLayoutVars>
          <dgm:bulletEnabled val="1"/>
        </dgm:presLayoutVars>
      </dgm:prSet>
      <dgm:spPr/>
    </dgm:pt>
    <dgm:pt modelId="{8E5DAA18-950D-4280-899B-AF93A748A40D}" type="pres">
      <dgm:prSet presAssocID="{A0ED7260-8442-4FBF-80B4-500E49A4F3AF}" presName="space" presStyleCnt="0"/>
      <dgm:spPr/>
    </dgm:pt>
    <dgm:pt modelId="{E1BB1CF0-7FBC-4798-9323-73C4F7CC9C62}" type="pres">
      <dgm:prSet presAssocID="{B754C885-66E5-4615-BD33-B6EE917A035D}" presName="composite" presStyleCnt="0"/>
      <dgm:spPr/>
    </dgm:pt>
    <dgm:pt modelId="{77AB0C57-3732-4A7F-98BE-DE317F185E6C}" type="pres">
      <dgm:prSet presAssocID="{B754C885-66E5-4615-BD33-B6EE917A035D}" presName="parTx" presStyleLbl="node1" presStyleIdx="1" presStyleCnt="10">
        <dgm:presLayoutVars>
          <dgm:chMax val="0"/>
          <dgm:chPref val="0"/>
          <dgm:bulletEnabled val="1"/>
        </dgm:presLayoutVars>
      </dgm:prSet>
      <dgm:spPr/>
    </dgm:pt>
    <dgm:pt modelId="{D404F352-4669-4921-A885-9A65333A8849}" type="pres">
      <dgm:prSet presAssocID="{B754C885-66E5-4615-BD33-B6EE917A035D}" presName="desTx" presStyleLbl="revTx" presStyleIdx="0" presStyleCnt="1">
        <dgm:presLayoutVars>
          <dgm:bulletEnabled val="1"/>
        </dgm:presLayoutVars>
      </dgm:prSet>
      <dgm:spPr/>
    </dgm:pt>
    <dgm:pt modelId="{652222DD-6B83-4984-A2CB-AFC49EBF1201}" type="pres">
      <dgm:prSet presAssocID="{79AAED35-18A8-4347-A2B8-6AAE8B34BA56}" presName="space" presStyleCnt="0"/>
      <dgm:spPr/>
    </dgm:pt>
    <dgm:pt modelId="{7BBACE36-6E6A-4583-BE8A-FF4AFBA2DED4}" type="pres">
      <dgm:prSet presAssocID="{72FFD339-6A5F-4ED7-B529-6155AF8C35BB}" presName="composite" presStyleCnt="0"/>
      <dgm:spPr/>
    </dgm:pt>
    <dgm:pt modelId="{4AD6D448-4CC0-4315-A093-B9CE4EFAE2AC}" type="pres">
      <dgm:prSet presAssocID="{72FFD339-6A5F-4ED7-B529-6155AF8C35BB}" presName="parTx" presStyleLbl="node1" presStyleIdx="2" presStyleCnt="10">
        <dgm:presLayoutVars>
          <dgm:chMax val="0"/>
          <dgm:chPref val="0"/>
          <dgm:bulletEnabled val="1"/>
        </dgm:presLayoutVars>
      </dgm:prSet>
      <dgm:spPr/>
    </dgm:pt>
    <dgm:pt modelId="{DDA49AB9-8E30-494C-B7AD-5D837E47ED84}" type="pres">
      <dgm:prSet presAssocID="{72FFD339-6A5F-4ED7-B529-6155AF8C35BB}" presName="desTx" presStyleLbl="revTx" presStyleIdx="0" presStyleCnt="1">
        <dgm:presLayoutVars>
          <dgm:bulletEnabled val="1"/>
        </dgm:presLayoutVars>
      </dgm:prSet>
      <dgm:spPr/>
    </dgm:pt>
    <dgm:pt modelId="{40B2A213-F41D-4FF4-B7EE-EE2725EE45E1}" type="pres">
      <dgm:prSet presAssocID="{A3B7292F-5113-4C29-982F-BC1D14C7BE90}" presName="space" presStyleCnt="0"/>
      <dgm:spPr/>
    </dgm:pt>
    <dgm:pt modelId="{767FFDEC-573C-4880-9092-95E7AA1D2603}" type="pres">
      <dgm:prSet presAssocID="{9225496C-39D8-4F53-8BB5-1B069B40EB3E}" presName="composite" presStyleCnt="0"/>
      <dgm:spPr/>
    </dgm:pt>
    <dgm:pt modelId="{E74D7A4A-73C2-43FA-824A-4BA72478203F}" type="pres">
      <dgm:prSet presAssocID="{9225496C-39D8-4F53-8BB5-1B069B40EB3E}" presName="parTx" presStyleLbl="node1" presStyleIdx="3" presStyleCnt="10">
        <dgm:presLayoutVars>
          <dgm:chMax val="0"/>
          <dgm:chPref val="0"/>
          <dgm:bulletEnabled val="1"/>
        </dgm:presLayoutVars>
      </dgm:prSet>
      <dgm:spPr/>
    </dgm:pt>
    <dgm:pt modelId="{2AFD2A7A-21F5-4D0F-A3B7-E9DED32F3331}" type="pres">
      <dgm:prSet presAssocID="{9225496C-39D8-4F53-8BB5-1B069B40EB3E}" presName="desTx" presStyleLbl="revTx" presStyleIdx="0" presStyleCnt="1">
        <dgm:presLayoutVars>
          <dgm:bulletEnabled val="1"/>
        </dgm:presLayoutVars>
      </dgm:prSet>
      <dgm:spPr/>
    </dgm:pt>
    <dgm:pt modelId="{05F7048B-DABE-4B40-95CF-B6AD27ED9BD5}" type="pres">
      <dgm:prSet presAssocID="{1E3F53DD-2537-4C67-AA71-87081D444A81}" presName="space" presStyleCnt="0"/>
      <dgm:spPr/>
    </dgm:pt>
    <dgm:pt modelId="{A867F334-218F-4CA0-819D-4BE79732357D}" type="pres">
      <dgm:prSet presAssocID="{2F442204-E894-4EB6-A3FA-953074E6D5F9}" presName="composite" presStyleCnt="0"/>
      <dgm:spPr/>
    </dgm:pt>
    <dgm:pt modelId="{D2550DFF-8A71-41FD-B335-739C8BA82D9F}" type="pres">
      <dgm:prSet presAssocID="{2F442204-E894-4EB6-A3FA-953074E6D5F9}" presName="parTx" presStyleLbl="node1" presStyleIdx="4" presStyleCnt="10">
        <dgm:presLayoutVars>
          <dgm:chMax val="0"/>
          <dgm:chPref val="0"/>
          <dgm:bulletEnabled val="1"/>
        </dgm:presLayoutVars>
      </dgm:prSet>
      <dgm:spPr/>
    </dgm:pt>
    <dgm:pt modelId="{7498A5A7-3469-400E-AB63-840F9E8B383B}" type="pres">
      <dgm:prSet presAssocID="{2F442204-E894-4EB6-A3FA-953074E6D5F9}" presName="desTx" presStyleLbl="revTx" presStyleIdx="0" presStyleCnt="1">
        <dgm:presLayoutVars>
          <dgm:bulletEnabled val="1"/>
        </dgm:presLayoutVars>
      </dgm:prSet>
      <dgm:spPr/>
    </dgm:pt>
    <dgm:pt modelId="{4B783D2D-1CBB-4BA2-941C-EC9FD8E64166}" type="pres">
      <dgm:prSet presAssocID="{07F51AA8-9070-4A56-AF24-8977CF9B6A80}" presName="space" presStyleCnt="0"/>
      <dgm:spPr/>
    </dgm:pt>
    <dgm:pt modelId="{07D27D39-8600-4A66-8934-38664E9F18BF}" type="pres">
      <dgm:prSet presAssocID="{7A5D9CDD-E10F-422D-808B-815C691EF2E8}" presName="composite" presStyleCnt="0"/>
      <dgm:spPr/>
    </dgm:pt>
    <dgm:pt modelId="{7F8529BC-E330-492E-A9A4-85A5B4EDF65B}" type="pres">
      <dgm:prSet presAssocID="{7A5D9CDD-E10F-422D-808B-815C691EF2E8}" presName="parTx" presStyleLbl="node1" presStyleIdx="5" presStyleCnt="10">
        <dgm:presLayoutVars>
          <dgm:chMax val="0"/>
          <dgm:chPref val="0"/>
          <dgm:bulletEnabled val="1"/>
        </dgm:presLayoutVars>
      </dgm:prSet>
      <dgm:spPr/>
    </dgm:pt>
    <dgm:pt modelId="{1D996D85-F9E6-4F82-81F0-5809082FF65D}" type="pres">
      <dgm:prSet presAssocID="{7A5D9CDD-E10F-422D-808B-815C691EF2E8}" presName="desTx" presStyleLbl="revTx" presStyleIdx="0" presStyleCnt="1">
        <dgm:presLayoutVars>
          <dgm:bulletEnabled val="1"/>
        </dgm:presLayoutVars>
      </dgm:prSet>
      <dgm:spPr/>
    </dgm:pt>
    <dgm:pt modelId="{F9339488-9E92-46F4-B541-43B0EE2ABE1A}" type="pres">
      <dgm:prSet presAssocID="{63A1392B-D9B4-4604-ACED-CDD4B7E19D6E}" presName="space" presStyleCnt="0"/>
      <dgm:spPr/>
    </dgm:pt>
    <dgm:pt modelId="{086175FF-30EF-43CB-A158-0E4CCE90FC73}" type="pres">
      <dgm:prSet presAssocID="{56EC974B-4690-4A6A-B143-36A5A9DDDB75}" presName="composite" presStyleCnt="0"/>
      <dgm:spPr/>
    </dgm:pt>
    <dgm:pt modelId="{64BB5E67-0670-4BB3-8535-51113E73DCA3}" type="pres">
      <dgm:prSet presAssocID="{56EC974B-4690-4A6A-B143-36A5A9DDDB75}" presName="parTx" presStyleLbl="node1" presStyleIdx="6" presStyleCnt="10">
        <dgm:presLayoutVars>
          <dgm:chMax val="0"/>
          <dgm:chPref val="0"/>
          <dgm:bulletEnabled val="1"/>
        </dgm:presLayoutVars>
      </dgm:prSet>
      <dgm:spPr/>
    </dgm:pt>
    <dgm:pt modelId="{BA82DF2C-A7E0-42BA-8E91-AB7F26E053FE}" type="pres">
      <dgm:prSet presAssocID="{56EC974B-4690-4A6A-B143-36A5A9DDDB75}" presName="desTx" presStyleLbl="revTx" presStyleIdx="0" presStyleCnt="1">
        <dgm:presLayoutVars>
          <dgm:bulletEnabled val="1"/>
        </dgm:presLayoutVars>
      </dgm:prSet>
      <dgm:spPr/>
    </dgm:pt>
    <dgm:pt modelId="{BA5EA91F-7651-4F0D-A330-7F9521A45049}" type="pres">
      <dgm:prSet presAssocID="{57612FAC-3D38-4A5A-9D54-8452999285F4}" presName="space" presStyleCnt="0"/>
      <dgm:spPr/>
    </dgm:pt>
    <dgm:pt modelId="{12E9865F-12F3-4E92-B40B-EB71524012BC}" type="pres">
      <dgm:prSet presAssocID="{A07A8528-D240-4AAE-BA81-005F6AD457F1}" presName="composite" presStyleCnt="0"/>
      <dgm:spPr/>
    </dgm:pt>
    <dgm:pt modelId="{15CC3617-00D3-4DE6-9B7C-73B0D91CB6A9}" type="pres">
      <dgm:prSet presAssocID="{A07A8528-D240-4AAE-BA81-005F6AD457F1}" presName="parTx" presStyleLbl="node1" presStyleIdx="7" presStyleCnt="10">
        <dgm:presLayoutVars>
          <dgm:chMax val="0"/>
          <dgm:chPref val="0"/>
          <dgm:bulletEnabled val="1"/>
        </dgm:presLayoutVars>
      </dgm:prSet>
      <dgm:spPr/>
    </dgm:pt>
    <dgm:pt modelId="{DB7EB305-1E7A-4C51-97E3-B90DE4D0F534}" type="pres">
      <dgm:prSet presAssocID="{A07A8528-D240-4AAE-BA81-005F6AD457F1}" presName="desTx" presStyleLbl="revTx" presStyleIdx="0" presStyleCnt="1">
        <dgm:presLayoutVars>
          <dgm:bulletEnabled val="1"/>
        </dgm:presLayoutVars>
      </dgm:prSet>
      <dgm:spPr/>
    </dgm:pt>
    <dgm:pt modelId="{81EC4F6B-0A53-43F1-9D3E-DCFE84CFCE49}" type="pres">
      <dgm:prSet presAssocID="{7D0C416E-0310-43FE-A0D6-735CD62199B6}" presName="space" presStyleCnt="0"/>
      <dgm:spPr/>
    </dgm:pt>
    <dgm:pt modelId="{4B595BE9-8766-4C7C-880A-A80BAAF849CD}" type="pres">
      <dgm:prSet presAssocID="{5805825E-3BC3-4961-910E-96065463977D}" presName="composite" presStyleCnt="0"/>
      <dgm:spPr/>
    </dgm:pt>
    <dgm:pt modelId="{E42F589E-6631-42F1-A434-EB9BFC00C129}" type="pres">
      <dgm:prSet presAssocID="{5805825E-3BC3-4961-910E-96065463977D}" presName="parTx" presStyleLbl="node1" presStyleIdx="8" presStyleCnt="10">
        <dgm:presLayoutVars>
          <dgm:chMax val="0"/>
          <dgm:chPref val="0"/>
          <dgm:bulletEnabled val="1"/>
        </dgm:presLayoutVars>
      </dgm:prSet>
      <dgm:spPr/>
    </dgm:pt>
    <dgm:pt modelId="{F883C1BF-A3FE-43BF-9D52-4F40F37DDEA1}" type="pres">
      <dgm:prSet presAssocID="{5805825E-3BC3-4961-910E-96065463977D}" presName="desTx" presStyleLbl="revTx" presStyleIdx="0" presStyleCnt="1">
        <dgm:presLayoutVars>
          <dgm:bulletEnabled val="1"/>
        </dgm:presLayoutVars>
      </dgm:prSet>
      <dgm:spPr/>
    </dgm:pt>
    <dgm:pt modelId="{E8FDC4BD-268C-444C-8D06-0E125426BE2F}" type="pres">
      <dgm:prSet presAssocID="{B58F1702-0059-4F53-9A60-77242457BBFA}" presName="space" presStyleCnt="0"/>
      <dgm:spPr/>
    </dgm:pt>
    <dgm:pt modelId="{0DB85FE3-A0B9-41A1-AEA3-36E4E63078A6}" type="pres">
      <dgm:prSet presAssocID="{2D51EAF0-C497-40E9-996D-2D0BC40F318C}" presName="composite" presStyleCnt="0"/>
      <dgm:spPr/>
    </dgm:pt>
    <dgm:pt modelId="{3724937C-EC74-4482-9E71-5AB7879CEACB}" type="pres">
      <dgm:prSet presAssocID="{2D51EAF0-C497-40E9-996D-2D0BC40F318C}" presName="parTx" presStyleLbl="node1" presStyleIdx="9" presStyleCnt="10">
        <dgm:presLayoutVars>
          <dgm:chMax val="0"/>
          <dgm:chPref val="0"/>
          <dgm:bulletEnabled val="1"/>
        </dgm:presLayoutVars>
      </dgm:prSet>
      <dgm:spPr/>
    </dgm:pt>
    <dgm:pt modelId="{CE1BF28D-E2B5-4EDC-B5BC-BF96DFAEA255}" type="pres">
      <dgm:prSet presAssocID="{2D51EAF0-C497-40E9-996D-2D0BC40F318C}" presName="desTx" presStyleLbl="revTx" presStyleIdx="0" presStyleCnt="1">
        <dgm:presLayoutVars>
          <dgm:bulletEnabled val="1"/>
        </dgm:presLayoutVars>
      </dgm:prSet>
      <dgm:spPr/>
    </dgm:pt>
  </dgm:ptLst>
  <dgm:cxnLst>
    <dgm:cxn modelId="{31AAEA02-4970-4AF9-8548-E7563D970EEA}" type="presOf" srcId="{A07A8528-D240-4AAE-BA81-005F6AD457F1}" destId="{15CC3617-00D3-4DE6-9B7C-73B0D91CB6A9}" srcOrd="0" destOrd="0" presId="urn:microsoft.com/office/officeart/2005/8/layout/chevron1"/>
    <dgm:cxn modelId="{F8EA3703-CEE5-4162-AB46-CFFF8AC28B48}" srcId="{C782CD9B-2B4B-48D2-BF13-2B0D6056B78A}" destId="{B754C885-66E5-4615-BD33-B6EE917A035D}" srcOrd="1" destOrd="0" parTransId="{65812F9F-DD0E-4752-BF8B-D07282594751}" sibTransId="{79AAED35-18A8-4347-A2B8-6AAE8B34BA56}"/>
    <dgm:cxn modelId="{7BC9B318-E7A6-41F3-853C-1D1DFB2050EF}" srcId="{C782CD9B-2B4B-48D2-BF13-2B0D6056B78A}" destId="{2D51EAF0-C497-40E9-996D-2D0BC40F318C}" srcOrd="9" destOrd="0" parTransId="{43C509B8-DD3A-429A-ADC4-232D55259B3D}" sibTransId="{66A12237-9546-42D0-81C0-2C324670B743}"/>
    <dgm:cxn modelId="{A4DE7D33-42F4-4341-BAC8-5491F2694E39}" type="presOf" srcId="{72FFD339-6A5F-4ED7-B529-6155AF8C35BB}" destId="{4AD6D448-4CC0-4315-A093-B9CE4EFAE2AC}" srcOrd="0" destOrd="0" presId="urn:microsoft.com/office/officeart/2005/8/layout/chevron1"/>
    <dgm:cxn modelId="{8270F83D-E90F-4D11-B667-1BC846A3C55A}" type="presOf" srcId="{9225496C-39D8-4F53-8BB5-1B069B40EB3E}" destId="{E74D7A4A-73C2-43FA-824A-4BA72478203F}" srcOrd="0" destOrd="0" presId="urn:microsoft.com/office/officeart/2005/8/layout/chevron1"/>
    <dgm:cxn modelId="{94A2B45D-2D69-4650-AFC3-C5574217F910}" srcId="{C782CD9B-2B4B-48D2-BF13-2B0D6056B78A}" destId="{9225496C-39D8-4F53-8BB5-1B069B40EB3E}" srcOrd="3" destOrd="0" parTransId="{D3A21DFB-000A-4FCE-9E9D-8516EBA4DD45}" sibTransId="{1E3F53DD-2537-4C67-AA71-87081D444A81}"/>
    <dgm:cxn modelId="{6FD2AE64-BDEB-482D-ACF3-1D5403180A1E}" srcId="{C782CD9B-2B4B-48D2-BF13-2B0D6056B78A}" destId="{2F442204-E894-4EB6-A3FA-953074E6D5F9}" srcOrd="4" destOrd="0" parTransId="{9E6A019B-6886-407A-A3BB-1A2A8D416818}" sibTransId="{07F51AA8-9070-4A56-AF24-8977CF9B6A80}"/>
    <dgm:cxn modelId="{5591A478-DA48-4A25-BABB-FA9F0042AF6C}" type="presOf" srcId="{DFCF748E-4FA2-4C04-B1DF-85DA1021BE5D}" destId="{2763F6D0-FDDE-4CA1-AD92-DB96E5135F54}" srcOrd="0" destOrd="0" presId="urn:microsoft.com/office/officeart/2005/8/layout/chevron1"/>
    <dgm:cxn modelId="{BEDD267B-EA80-4783-A782-86B96AAC5B03}" srcId="{C782CD9B-2B4B-48D2-BF13-2B0D6056B78A}" destId="{7A5D9CDD-E10F-422D-808B-815C691EF2E8}" srcOrd="5" destOrd="0" parTransId="{089AE963-8402-4F38-908B-1CA814F78766}" sibTransId="{63A1392B-D9B4-4604-ACED-CDD4B7E19D6E}"/>
    <dgm:cxn modelId="{FA616D83-C629-4977-85A4-0D9BBE3B59D7}" type="presOf" srcId="{7A5D9CDD-E10F-422D-808B-815C691EF2E8}" destId="{7F8529BC-E330-492E-A9A4-85A5B4EDF65B}" srcOrd="0" destOrd="0" presId="urn:microsoft.com/office/officeart/2005/8/layout/chevron1"/>
    <dgm:cxn modelId="{BC81308C-74CF-4478-B53B-225C41B30E97}" type="presOf" srcId="{2F442204-E894-4EB6-A3FA-953074E6D5F9}" destId="{D2550DFF-8A71-41FD-B335-739C8BA82D9F}" srcOrd="0" destOrd="0" presId="urn:microsoft.com/office/officeart/2005/8/layout/chevron1"/>
    <dgm:cxn modelId="{519D529A-09F1-4AA3-B75D-12910F4A0F08}" type="presOf" srcId="{C782CD9B-2B4B-48D2-BF13-2B0D6056B78A}" destId="{2069E263-CA68-447A-859F-7068DC9AF2B6}" srcOrd="0" destOrd="0" presId="urn:microsoft.com/office/officeart/2005/8/layout/chevron1"/>
    <dgm:cxn modelId="{92751D9D-02E3-45C2-978C-737085227C42}" srcId="{C782CD9B-2B4B-48D2-BF13-2B0D6056B78A}" destId="{DFCF748E-4FA2-4C04-B1DF-85DA1021BE5D}" srcOrd="0" destOrd="0" parTransId="{7DAF1956-B700-4203-9672-92E4451DCC31}" sibTransId="{A0ED7260-8442-4FBF-80B4-500E49A4F3AF}"/>
    <dgm:cxn modelId="{B4EDFE9F-08DF-4958-B50C-792E1B69BC3A}" type="presOf" srcId="{F647B10F-EAE0-4F41-8E04-352654413B5C}" destId="{F883C1BF-A3FE-43BF-9D52-4F40F37DDEA1}" srcOrd="0" destOrd="0" presId="urn:microsoft.com/office/officeart/2005/8/layout/chevron1"/>
    <dgm:cxn modelId="{FE5FBCA8-5D6F-44E5-8DFA-D24300AECCE8}" srcId="{C782CD9B-2B4B-48D2-BF13-2B0D6056B78A}" destId="{56EC974B-4690-4A6A-B143-36A5A9DDDB75}" srcOrd="6" destOrd="0" parTransId="{F24B2512-EFC3-4494-92F8-F4C2A580DD56}" sibTransId="{57612FAC-3D38-4A5A-9D54-8452999285F4}"/>
    <dgm:cxn modelId="{F4522EB7-A7A4-4A2B-A591-D5D438C6E57D}" type="presOf" srcId="{2D51EAF0-C497-40E9-996D-2D0BC40F318C}" destId="{3724937C-EC74-4482-9E71-5AB7879CEACB}" srcOrd="0" destOrd="0" presId="urn:microsoft.com/office/officeart/2005/8/layout/chevron1"/>
    <dgm:cxn modelId="{DD0BDFBB-4F5A-4D25-8BEC-86885BA953B4}" type="presOf" srcId="{B754C885-66E5-4615-BD33-B6EE917A035D}" destId="{77AB0C57-3732-4A7F-98BE-DE317F185E6C}" srcOrd="0" destOrd="0" presId="urn:microsoft.com/office/officeart/2005/8/layout/chevron1"/>
    <dgm:cxn modelId="{B8861FCD-52FC-4ADB-902E-0F08A544A746}" type="presOf" srcId="{5805825E-3BC3-4961-910E-96065463977D}" destId="{E42F589E-6631-42F1-A434-EB9BFC00C129}" srcOrd="0" destOrd="0" presId="urn:microsoft.com/office/officeart/2005/8/layout/chevron1"/>
    <dgm:cxn modelId="{574E61D1-E1F5-4BDC-8306-6A20315F04DE}" srcId="{5805825E-3BC3-4961-910E-96065463977D}" destId="{F647B10F-EAE0-4F41-8E04-352654413B5C}" srcOrd="0" destOrd="0" parTransId="{B824E2BF-99FF-4441-998F-2F60EDE478D5}" sibTransId="{D3471309-8ADE-4768-921E-7AFA41A86BFC}"/>
    <dgm:cxn modelId="{27F9BDE0-0D2E-4597-8B99-015D69B35748}" type="presOf" srcId="{56EC974B-4690-4A6A-B143-36A5A9DDDB75}" destId="{64BB5E67-0670-4BB3-8535-51113E73DCA3}" srcOrd="0" destOrd="0" presId="urn:microsoft.com/office/officeart/2005/8/layout/chevron1"/>
    <dgm:cxn modelId="{D6C89AE1-00A8-492D-888B-1E3DDC006D86}" srcId="{C782CD9B-2B4B-48D2-BF13-2B0D6056B78A}" destId="{5805825E-3BC3-4961-910E-96065463977D}" srcOrd="8" destOrd="0" parTransId="{263FA899-3C2D-4809-A47A-DB65911293C7}" sibTransId="{B58F1702-0059-4F53-9A60-77242457BBFA}"/>
    <dgm:cxn modelId="{C381E8F4-D0AE-4AD0-B8F1-4BDFF55901DE}" srcId="{C782CD9B-2B4B-48D2-BF13-2B0D6056B78A}" destId="{72FFD339-6A5F-4ED7-B529-6155AF8C35BB}" srcOrd="2" destOrd="0" parTransId="{ECFEA23F-DCCD-42C6-8706-10917CE3C2B0}" sibTransId="{A3B7292F-5113-4C29-982F-BC1D14C7BE90}"/>
    <dgm:cxn modelId="{C9F268FB-CB20-4E78-9CDC-F035D61B7E09}" srcId="{C782CD9B-2B4B-48D2-BF13-2B0D6056B78A}" destId="{A07A8528-D240-4AAE-BA81-005F6AD457F1}" srcOrd="7" destOrd="0" parTransId="{3C15A388-1B3D-47E8-B2CB-E67F7E1AFFF1}" sibTransId="{7D0C416E-0310-43FE-A0D6-735CD62199B6}"/>
    <dgm:cxn modelId="{67E637F0-70B0-4D98-84E5-5D10F618436C}" type="presParOf" srcId="{2069E263-CA68-447A-859F-7068DC9AF2B6}" destId="{B014A20F-F8D4-4634-B213-8EDE25927C16}" srcOrd="0" destOrd="0" presId="urn:microsoft.com/office/officeart/2005/8/layout/chevron1"/>
    <dgm:cxn modelId="{0569E306-F788-4EC4-864B-8B2FE7442644}" type="presParOf" srcId="{B014A20F-F8D4-4634-B213-8EDE25927C16}" destId="{2763F6D0-FDDE-4CA1-AD92-DB96E5135F54}" srcOrd="0" destOrd="0" presId="urn:microsoft.com/office/officeart/2005/8/layout/chevron1"/>
    <dgm:cxn modelId="{1029F166-38C4-4B5B-92C9-6BF629D4E33C}" type="presParOf" srcId="{B014A20F-F8D4-4634-B213-8EDE25927C16}" destId="{1FDBE215-54FC-4E50-AA35-0F93F2176D94}" srcOrd="1" destOrd="0" presId="urn:microsoft.com/office/officeart/2005/8/layout/chevron1"/>
    <dgm:cxn modelId="{E7366889-CD56-41BF-858A-F5AF0BA61AB7}" type="presParOf" srcId="{2069E263-CA68-447A-859F-7068DC9AF2B6}" destId="{8E5DAA18-950D-4280-899B-AF93A748A40D}" srcOrd="1" destOrd="0" presId="urn:microsoft.com/office/officeart/2005/8/layout/chevron1"/>
    <dgm:cxn modelId="{4C9012D3-27F2-40BB-BA6F-0DEAF8AD49E8}" type="presParOf" srcId="{2069E263-CA68-447A-859F-7068DC9AF2B6}" destId="{E1BB1CF0-7FBC-4798-9323-73C4F7CC9C62}" srcOrd="2" destOrd="0" presId="urn:microsoft.com/office/officeart/2005/8/layout/chevron1"/>
    <dgm:cxn modelId="{2C61C96F-07E9-4D58-AEC4-4625B435413E}" type="presParOf" srcId="{E1BB1CF0-7FBC-4798-9323-73C4F7CC9C62}" destId="{77AB0C57-3732-4A7F-98BE-DE317F185E6C}" srcOrd="0" destOrd="0" presId="urn:microsoft.com/office/officeart/2005/8/layout/chevron1"/>
    <dgm:cxn modelId="{7C48EB1E-E69B-4EE8-8380-194FFEBE3625}" type="presParOf" srcId="{E1BB1CF0-7FBC-4798-9323-73C4F7CC9C62}" destId="{D404F352-4669-4921-A885-9A65333A8849}" srcOrd="1" destOrd="0" presId="urn:microsoft.com/office/officeart/2005/8/layout/chevron1"/>
    <dgm:cxn modelId="{C89F9FE4-5759-4470-A850-ED3E4345EFA9}" type="presParOf" srcId="{2069E263-CA68-447A-859F-7068DC9AF2B6}" destId="{652222DD-6B83-4984-A2CB-AFC49EBF1201}" srcOrd="3" destOrd="0" presId="urn:microsoft.com/office/officeart/2005/8/layout/chevron1"/>
    <dgm:cxn modelId="{0CC3F24E-AD79-486A-9EF1-12F60135E290}" type="presParOf" srcId="{2069E263-CA68-447A-859F-7068DC9AF2B6}" destId="{7BBACE36-6E6A-4583-BE8A-FF4AFBA2DED4}" srcOrd="4" destOrd="0" presId="urn:microsoft.com/office/officeart/2005/8/layout/chevron1"/>
    <dgm:cxn modelId="{9F05CA37-CDEC-4CAB-873D-4404F7DF57B5}" type="presParOf" srcId="{7BBACE36-6E6A-4583-BE8A-FF4AFBA2DED4}" destId="{4AD6D448-4CC0-4315-A093-B9CE4EFAE2AC}" srcOrd="0" destOrd="0" presId="urn:microsoft.com/office/officeart/2005/8/layout/chevron1"/>
    <dgm:cxn modelId="{5B276EFA-6A52-40F4-A394-FE264C8BDD71}" type="presParOf" srcId="{7BBACE36-6E6A-4583-BE8A-FF4AFBA2DED4}" destId="{DDA49AB9-8E30-494C-B7AD-5D837E47ED84}" srcOrd="1" destOrd="0" presId="urn:microsoft.com/office/officeart/2005/8/layout/chevron1"/>
    <dgm:cxn modelId="{6833BCB0-AFB8-439D-9AA8-965597AC9505}" type="presParOf" srcId="{2069E263-CA68-447A-859F-7068DC9AF2B6}" destId="{40B2A213-F41D-4FF4-B7EE-EE2725EE45E1}" srcOrd="5" destOrd="0" presId="urn:microsoft.com/office/officeart/2005/8/layout/chevron1"/>
    <dgm:cxn modelId="{15852454-061C-435C-A51C-B22D196D7DD2}" type="presParOf" srcId="{2069E263-CA68-447A-859F-7068DC9AF2B6}" destId="{767FFDEC-573C-4880-9092-95E7AA1D2603}" srcOrd="6" destOrd="0" presId="urn:microsoft.com/office/officeart/2005/8/layout/chevron1"/>
    <dgm:cxn modelId="{2BE36455-76AB-4837-B084-7CBCEABD5B52}" type="presParOf" srcId="{767FFDEC-573C-4880-9092-95E7AA1D2603}" destId="{E74D7A4A-73C2-43FA-824A-4BA72478203F}" srcOrd="0" destOrd="0" presId="urn:microsoft.com/office/officeart/2005/8/layout/chevron1"/>
    <dgm:cxn modelId="{FC9D2089-053F-4D8D-A776-63D09BD84804}" type="presParOf" srcId="{767FFDEC-573C-4880-9092-95E7AA1D2603}" destId="{2AFD2A7A-21F5-4D0F-A3B7-E9DED32F3331}" srcOrd="1" destOrd="0" presId="urn:microsoft.com/office/officeart/2005/8/layout/chevron1"/>
    <dgm:cxn modelId="{85204D3D-6532-464F-8B84-F6A5219060E6}" type="presParOf" srcId="{2069E263-CA68-447A-859F-7068DC9AF2B6}" destId="{05F7048B-DABE-4B40-95CF-B6AD27ED9BD5}" srcOrd="7" destOrd="0" presId="urn:microsoft.com/office/officeart/2005/8/layout/chevron1"/>
    <dgm:cxn modelId="{E47779B0-F8BC-4A9C-A321-CE7D7C2B5792}" type="presParOf" srcId="{2069E263-CA68-447A-859F-7068DC9AF2B6}" destId="{A867F334-218F-4CA0-819D-4BE79732357D}" srcOrd="8" destOrd="0" presId="urn:microsoft.com/office/officeart/2005/8/layout/chevron1"/>
    <dgm:cxn modelId="{56467B4C-60C6-405C-A62A-F639A552A45A}" type="presParOf" srcId="{A867F334-218F-4CA0-819D-4BE79732357D}" destId="{D2550DFF-8A71-41FD-B335-739C8BA82D9F}" srcOrd="0" destOrd="0" presId="urn:microsoft.com/office/officeart/2005/8/layout/chevron1"/>
    <dgm:cxn modelId="{EC68C99A-C86F-4045-ABD6-471E1EFE18FA}" type="presParOf" srcId="{A867F334-218F-4CA0-819D-4BE79732357D}" destId="{7498A5A7-3469-400E-AB63-840F9E8B383B}" srcOrd="1" destOrd="0" presId="urn:microsoft.com/office/officeart/2005/8/layout/chevron1"/>
    <dgm:cxn modelId="{D5F4F801-349D-4818-AE7B-570DB325B351}" type="presParOf" srcId="{2069E263-CA68-447A-859F-7068DC9AF2B6}" destId="{4B783D2D-1CBB-4BA2-941C-EC9FD8E64166}" srcOrd="9" destOrd="0" presId="urn:microsoft.com/office/officeart/2005/8/layout/chevron1"/>
    <dgm:cxn modelId="{12F65A83-B6F6-4418-84AD-A9DC43BD5EE8}" type="presParOf" srcId="{2069E263-CA68-447A-859F-7068DC9AF2B6}" destId="{07D27D39-8600-4A66-8934-38664E9F18BF}" srcOrd="10" destOrd="0" presId="urn:microsoft.com/office/officeart/2005/8/layout/chevron1"/>
    <dgm:cxn modelId="{1501D783-3721-4A4D-AD71-27DF93445DD4}" type="presParOf" srcId="{07D27D39-8600-4A66-8934-38664E9F18BF}" destId="{7F8529BC-E330-492E-A9A4-85A5B4EDF65B}" srcOrd="0" destOrd="0" presId="urn:microsoft.com/office/officeart/2005/8/layout/chevron1"/>
    <dgm:cxn modelId="{5798F313-C3B1-448E-87AE-EE26269B8CB9}" type="presParOf" srcId="{07D27D39-8600-4A66-8934-38664E9F18BF}" destId="{1D996D85-F9E6-4F82-81F0-5809082FF65D}" srcOrd="1" destOrd="0" presId="urn:microsoft.com/office/officeart/2005/8/layout/chevron1"/>
    <dgm:cxn modelId="{2C1FFE8D-2DB8-4674-9501-84A20EAF3F44}" type="presParOf" srcId="{2069E263-CA68-447A-859F-7068DC9AF2B6}" destId="{F9339488-9E92-46F4-B541-43B0EE2ABE1A}" srcOrd="11" destOrd="0" presId="urn:microsoft.com/office/officeart/2005/8/layout/chevron1"/>
    <dgm:cxn modelId="{6B054384-6712-46AF-898D-E94D92C26792}" type="presParOf" srcId="{2069E263-CA68-447A-859F-7068DC9AF2B6}" destId="{086175FF-30EF-43CB-A158-0E4CCE90FC73}" srcOrd="12" destOrd="0" presId="urn:microsoft.com/office/officeart/2005/8/layout/chevron1"/>
    <dgm:cxn modelId="{D3147C2C-BCA8-49E5-AEA3-B5C52DFBF0B9}" type="presParOf" srcId="{086175FF-30EF-43CB-A158-0E4CCE90FC73}" destId="{64BB5E67-0670-4BB3-8535-51113E73DCA3}" srcOrd="0" destOrd="0" presId="urn:microsoft.com/office/officeart/2005/8/layout/chevron1"/>
    <dgm:cxn modelId="{780775EC-9B90-48AA-A454-E19F575ED505}" type="presParOf" srcId="{086175FF-30EF-43CB-A158-0E4CCE90FC73}" destId="{BA82DF2C-A7E0-42BA-8E91-AB7F26E053FE}" srcOrd="1" destOrd="0" presId="urn:microsoft.com/office/officeart/2005/8/layout/chevron1"/>
    <dgm:cxn modelId="{E04467F2-52C2-4946-B4FB-8398CD4C3A8E}" type="presParOf" srcId="{2069E263-CA68-447A-859F-7068DC9AF2B6}" destId="{BA5EA91F-7651-4F0D-A330-7F9521A45049}" srcOrd="13" destOrd="0" presId="urn:microsoft.com/office/officeart/2005/8/layout/chevron1"/>
    <dgm:cxn modelId="{88CA9195-B407-427A-BCD9-804EA64A8D32}" type="presParOf" srcId="{2069E263-CA68-447A-859F-7068DC9AF2B6}" destId="{12E9865F-12F3-4E92-B40B-EB71524012BC}" srcOrd="14" destOrd="0" presId="urn:microsoft.com/office/officeart/2005/8/layout/chevron1"/>
    <dgm:cxn modelId="{0E172915-A896-47BD-8F91-E1A5B239A585}" type="presParOf" srcId="{12E9865F-12F3-4E92-B40B-EB71524012BC}" destId="{15CC3617-00D3-4DE6-9B7C-73B0D91CB6A9}" srcOrd="0" destOrd="0" presId="urn:microsoft.com/office/officeart/2005/8/layout/chevron1"/>
    <dgm:cxn modelId="{29DA5443-2AE1-4D6D-BB10-F959D91BD9D6}" type="presParOf" srcId="{12E9865F-12F3-4E92-B40B-EB71524012BC}" destId="{DB7EB305-1E7A-4C51-97E3-B90DE4D0F534}" srcOrd="1" destOrd="0" presId="urn:microsoft.com/office/officeart/2005/8/layout/chevron1"/>
    <dgm:cxn modelId="{4D348155-4891-45FC-BCFC-AA71FA981889}" type="presParOf" srcId="{2069E263-CA68-447A-859F-7068DC9AF2B6}" destId="{81EC4F6B-0A53-43F1-9D3E-DCFE84CFCE49}" srcOrd="15" destOrd="0" presId="urn:microsoft.com/office/officeart/2005/8/layout/chevron1"/>
    <dgm:cxn modelId="{C61EE19F-59A7-4E94-85A6-88B169370956}" type="presParOf" srcId="{2069E263-CA68-447A-859F-7068DC9AF2B6}" destId="{4B595BE9-8766-4C7C-880A-A80BAAF849CD}" srcOrd="16" destOrd="0" presId="urn:microsoft.com/office/officeart/2005/8/layout/chevron1"/>
    <dgm:cxn modelId="{CF686ED0-7D02-4ACB-880F-4D5CA6CCA629}" type="presParOf" srcId="{4B595BE9-8766-4C7C-880A-A80BAAF849CD}" destId="{E42F589E-6631-42F1-A434-EB9BFC00C129}" srcOrd="0" destOrd="0" presId="urn:microsoft.com/office/officeart/2005/8/layout/chevron1"/>
    <dgm:cxn modelId="{CB7886CC-8C53-4172-AEAF-1A7517952B22}" type="presParOf" srcId="{4B595BE9-8766-4C7C-880A-A80BAAF849CD}" destId="{F883C1BF-A3FE-43BF-9D52-4F40F37DDEA1}" srcOrd="1" destOrd="0" presId="urn:microsoft.com/office/officeart/2005/8/layout/chevron1"/>
    <dgm:cxn modelId="{F4678EF5-F069-4515-9882-5276114543E7}" type="presParOf" srcId="{2069E263-CA68-447A-859F-7068DC9AF2B6}" destId="{E8FDC4BD-268C-444C-8D06-0E125426BE2F}" srcOrd="17" destOrd="0" presId="urn:microsoft.com/office/officeart/2005/8/layout/chevron1"/>
    <dgm:cxn modelId="{1CA2873F-56D5-4DDE-BAEA-A11D437D2C5E}" type="presParOf" srcId="{2069E263-CA68-447A-859F-7068DC9AF2B6}" destId="{0DB85FE3-A0B9-41A1-AEA3-36E4E63078A6}" srcOrd="18" destOrd="0" presId="urn:microsoft.com/office/officeart/2005/8/layout/chevron1"/>
    <dgm:cxn modelId="{FEA1837B-5593-471A-BDB8-9527D292D4F1}" type="presParOf" srcId="{0DB85FE3-A0B9-41A1-AEA3-36E4E63078A6}" destId="{3724937C-EC74-4482-9E71-5AB7879CEACB}" srcOrd="0" destOrd="0" presId="urn:microsoft.com/office/officeart/2005/8/layout/chevron1"/>
    <dgm:cxn modelId="{E44F9530-C124-4305-A6B9-4D5A6B2D4EC5}" type="presParOf" srcId="{0DB85FE3-A0B9-41A1-AEA3-36E4E63078A6}" destId="{CE1BF28D-E2B5-4EDC-B5BC-BF96DFAEA255}" srcOrd="1"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782CD9B-2B4B-48D2-BF13-2B0D6056B78A}"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it-IT"/>
        </a:p>
      </dgm:t>
    </dgm:pt>
    <dgm:pt modelId="{DFCF748E-4FA2-4C04-B1DF-85DA1021BE5D}">
      <dgm:prSet phldrT="[Testo]"/>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Rete viaria complessiva</a:t>
          </a:r>
        </a:p>
      </dgm:t>
    </dgm:pt>
    <dgm:pt modelId="{7DAF1956-B700-4203-9672-92E4451DCC31}" type="parTrans" cxnId="{92751D9D-02E3-45C2-978C-737085227C42}">
      <dgm:prSet/>
      <dgm:spPr/>
      <dgm:t>
        <a:bodyPr/>
        <a:lstStyle/>
        <a:p>
          <a:endParaRPr lang="it-IT"/>
        </a:p>
      </dgm:t>
    </dgm:pt>
    <dgm:pt modelId="{A0ED7260-8442-4FBF-80B4-500E49A4F3AF}" type="sibTrans" cxnId="{92751D9D-02E3-45C2-978C-737085227C42}">
      <dgm:prSet/>
      <dgm:spPr/>
      <dgm:t>
        <a:bodyPr/>
        <a:lstStyle/>
        <a:p>
          <a:endParaRPr lang="it-IT"/>
        </a:p>
      </dgm:t>
    </dgm:pt>
    <dgm:pt modelId="{B754C885-66E5-4615-BD33-B6EE917A035D}">
      <dgm:prSet phldrT="[Testo]"/>
      <dgm:spPr>
        <a:solidFill>
          <a:schemeClr val="accent1"/>
        </a:solidFill>
      </dgm:spPr>
      <dgm:t>
        <a:bodyPr/>
        <a:lstStyle/>
        <a:p>
          <a:r>
            <a:rPr lang="it-IT" dirty="0"/>
            <a:t>Risorse</a:t>
          </a:r>
        </a:p>
      </dgm:t>
    </dgm:pt>
    <dgm:pt modelId="{65812F9F-DD0E-4752-BF8B-D07282594751}" type="parTrans" cxnId="{F8EA3703-CEE5-4162-AB46-CFFF8AC28B48}">
      <dgm:prSet/>
      <dgm:spPr/>
      <dgm:t>
        <a:bodyPr/>
        <a:lstStyle/>
        <a:p>
          <a:endParaRPr lang="it-IT"/>
        </a:p>
      </dgm:t>
    </dgm:pt>
    <dgm:pt modelId="{79AAED35-18A8-4347-A2B8-6AAE8B34BA56}" type="sibTrans" cxnId="{F8EA3703-CEE5-4162-AB46-CFFF8AC28B48}">
      <dgm:prSet/>
      <dgm:spPr/>
      <dgm:t>
        <a:bodyPr/>
        <a:lstStyle/>
        <a:p>
          <a:endParaRPr lang="it-IT"/>
        </a:p>
      </dgm:t>
    </dgm:pt>
    <dgm:pt modelId="{9225496C-39D8-4F53-8BB5-1B069B40EB3E}">
      <dgm:prSet phldrT="[Testo]"/>
      <dgm:spPr>
        <a:gradFill flip="none"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16200000" scaled="1"/>
          <a:tileRect/>
        </a:gradFill>
      </dgm:spPr>
      <dgm:t>
        <a:bodyPr/>
        <a:lstStyle/>
        <a:p>
          <a:r>
            <a:rPr lang="it-IT" dirty="0"/>
            <a:t>Affidamenti</a:t>
          </a:r>
        </a:p>
      </dgm:t>
    </dgm:pt>
    <dgm:pt modelId="{D3A21DFB-000A-4FCE-9E9D-8516EBA4DD45}" type="parTrans" cxnId="{94A2B45D-2D69-4650-AFC3-C5574217F910}">
      <dgm:prSet/>
      <dgm:spPr/>
      <dgm:t>
        <a:bodyPr/>
        <a:lstStyle/>
        <a:p>
          <a:endParaRPr lang="it-IT"/>
        </a:p>
      </dgm:t>
    </dgm:pt>
    <dgm:pt modelId="{1E3F53DD-2537-4C67-AA71-87081D444A81}" type="sibTrans" cxnId="{94A2B45D-2D69-4650-AFC3-C5574217F910}">
      <dgm:prSet/>
      <dgm:spPr/>
      <dgm:t>
        <a:bodyPr/>
        <a:lstStyle/>
        <a:p>
          <a:endParaRPr lang="it-IT"/>
        </a:p>
      </dgm:t>
    </dgm:pt>
    <dgm:pt modelId="{2F442204-E894-4EB6-A3FA-953074E6D5F9}">
      <dgm:prSet phldrT="[Testo]" custT="1"/>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sz="700" dirty="0"/>
            <a:t>Investimenti e Produzione</a:t>
          </a:r>
        </a:p>
        <a:p>
          <a:r>
            <a:rPr lang="it-IT" sz="700" dirty="0"/>
            <a:t>MP</a:t>
          </a:r>
        </a:p>
      </dgm:t>
    </dgm:pt>
    <dgm:pt modelId="{9E6A019B-6886-407A-A3BB-1A2A8D416818}" type="parTrans" cxnId="{6FD2AE64-BDEB-482D-ACF3-1D5403180A1E}">
      <dgm:prSet/>
      <dgm:spPr/>
      <dgm:t>
        <a:bodyPr/>
        <a:lstStyle/>
        <a:p>
          <a:endParaRPr lang="it-IT"/>
        </a:p>
      </dgm:t>
    </dgm:pt>
    <dgm:pt modelId="{07F51AA8-9070-4A56-AF24-8977CF9B6A80}" type="sibTrans" cxnId="{6FD2AE64-BDEB-482D-ACF3-1D5403180A1E}">
      <dgm:prSet/>
      <dgm:spPr/>
      <dgm:t>
        <a:bodyPr/>
        <a:lstStyle/>
        <a:p>
          <a:endParaRPr lang="it-IT"/>
        </a:p>
      </dgm:t>
    </dgm:pt>
    <dgm:pt modelId="{2D51EAF0-C497-40E9-996D-2D0BC40F318C}">
      <dgm:prSet phldrT="[Testo]"/>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Pagamenti</a:t>
          </a:r>
        </a:p>
      </dgm:t>
    </dgm:pt>
    <dgm:pt modelId="{43C509B8-DD3A-429A-ADC4-232D55259B3D}" type="parTrans" cxnId="{7BC9B318-E7A6-41F3-853C-1D1DFB2050EF}">
      <dgm:prSet/>
      <dgm:spPr/>
      <dgm:t>
        <a:bodyPr/>
        <a:lstStyle/>
        <a:p>
          <a:endParaRPr lang="it-IT"/>
        </a:p>
      </dgm:t>
    </dgm:pt>
    <dgm:pt modelId="{66A12237-9546-42D0-81C0-2C324670B743}" type="sibTrans" cxnId="{7BC9B318-E7A6-41F3-853C-1D1DFB2050EF}">
      <dgm:prSet/>
      <dgm:spPr/>
      <dgm:t>
        <a:bodyPr/>
        <a:lstStyle/>
        <a:p>
          <a:endParaRPr lang="it-IT"/>
        </a:p>
      </dgm:t>
    </dgm:pt>
    <dgm:pt modelId="{72FFD339-6A5F-4ED7-B529-6155AF8C35BB}">
      <dgm:prSet/>
      <dgm:spPr>
        <a:gradFill flip="none"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16200000" scaled="1"/>
          <a:tileRect/>
        </a:gradFill>
      </dgm:spPr>
      <dgm:t>
        <a:bodyPr/>
        <a:lstStyle/>
        <a:p>
          <a:r>
            <a:rPr lang="it-IT" dirty="0" err="1"/>
            <a:t>soc</a:t>
          </a:r>
          <a:endParaRPr lang="it-IT" dirty="0"/>
        </a:p>
      </dgm:t>
    </dgm:pt>
    <dgm:pt modelId="{ECFEA23F-DCCD-42C6-8706-10917CE3C2B0}" type="parTrans" cxnId="{C381E8F4-D0AE-4AD0-B8F1-4BDFF55901DE}">
      <dgm:prSet/>
      <dgm:spPr/>
      <dgm:t>
        <a:bodyPr/>
        <a:lstStyle/>
        <a:p>
          <a:endParaRPr lang="it-IT"/>
        </a:p>
      </dgm:t>
    </dgm:pt>
    <dgm:pt modelId="{A3B7292F-5113-4C29-982F-BC1D14C7BE90}" type="sibTrans" cxnId="{C381E8F4-D0AE-4AD0-B8F1-4BDFF55901DE}">
      <dgm:prSet/>
      <dgm:spPr/>
      <dgm:t>
        <a:bodyPr/>
        <a:lstStyle/>
        <a:p>
          <a:endParaRPr lang="it-IT"/>
        </a:p>
      </dgm:t>
    </dgm:pt>
    <dgm:pt modelId="{A07A8528-D240-4AAE-BA81-005F6AD457F1}">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Ispezione Opere D’arte</a:t>
          </a:r>
        </a:p>
      </dgm:t>
    </dgm:pt>
    <dgm:pt modelId="{3C15A388-1B3D-47E8-B2CB-E67F7E1AFFF1}" type="parTrans" cxnId="{C9F268FB-CB20-4E78-9CDC-F035D61B7E09}">
      <dgm:prSet/>
      <dgm:spPr/>
      <dgm:t>
        <a:bodyPr/>
        <a:lstStyle/>
        <a:p>
          <a:endParaRPr lang="it-IT"/>
        </a:p>
      </dgm:t>
    </dgm:pt>
    <dgm:pt modelId="{7D0C416E-0310-43FE-A0D6-735CD62199B6}" type="sibTrans" cxnId="{C9F268FB-CB20-4E78-9CDC-F035D61B7E09}">
      <dgm:prSet/>
      <dgm:spPr/>
      <dgm:t>
        <a:bodyPr/>
        <a:lstStyle/>
        <a:p>
          <a:endParaRPr lang="it-IT"/>
        </a:p>
      </dgm:t>
    </dgm:pt>
    <dgm:pt modelId="{56EC974B-4690-4A6A-B143-36A5A9DDDB75}">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Supporto Tecnico</a:t>
          </a:r>
        </a:p>
      </dgm:t>
    </dgm:pt>
    <dgm:pt modelId="{F24B2512-EFC3-4494-92F8-F4C2A580DD56}" type="parTrans" cxnId="{FE5FBCA8-5D6F-44E5-8DFA-D24300AECCE8}">
      <dgm:prSet/>
      <dgm:spPr/>
      <dgm:t>
        <a:bodyPr/>
        <a:lstStyle/>
        <a:p>
          <a:endParaRPr lang="it-IT"/>
        </a:p>
      </dgm:t>
    </dgm:pt>
    <dgm:pt modelId="{57612FAC-3D38-4A5A-9D54-8452999285F4}" type="sibTrans" cxnId="{FE5FBCA8-5D6F-44E5-8DFA-D24300AECCE8}">
      <dgm:prSet/>
      <dgm:spPr/>
      <dgm:t>
        <a:bodyPr/>
        <a:lstStyle/>
        <a:p>
          <a:endParaRPr lang="it-IT"/>
        </a:p>
      </dgm:t>
    </dgm:pt>
    <dgm:pt modelId="{5805825E-3BC3-4961-910E-96065463977D}">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Interventi Rilevanti</a:t>
          </a:r>
        </a:p>
      </dgm:t>
    </dgm:pt>
    <dgm:pt modelId="{263FA899-3C2D-4809-A47A-DB65911293C7}" type="parTrans" cxnId="{D6C89AE1-00A8-492D-888B-1E3DDC006D86}">
      <dgm:prSet/>
      <dgm:spPr/>
      <dgm:t>
        <a:bodyPr/>
        <a:lstStyle/>
        <a:p>
          <a:endParaRPr lang="it-IT"/>
        </a:p>
      </dgm:t>
    </dgm:pt>
    <dgm:pt modelId="{B58F1702-0059-4F53-9A60-77242457BBFA}" type="sibTrans" cxnId="{D6C89AE1-00A8-492D-888B-1E3DDC006D86}">
      <dgm:prSet/>
      <dgm:spPr/>
      <dgm:t>
        <a:bodyPr/>
        <a:lstStyle/>
        <a:p>
          <a:endParaRPr lang="it-IT"/>
        </a:p>
      </dgm:t>
    </dgm:pt>
    <dgm:pt modelId="{7A5D9CDD-E10F-422D-808B-815C691EF2E8}">
      <dgm:prSet phldrT="[Testo]" custT="1"/>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sz="700" dirty="0"/>
            <a:t>Investimenti e Produzione</a:t>
          </a:r>
        </a:p>
        <a:p>
          <a:r>
            <a:rPr lang="it-IT" sz="700" dirty="0"/>
            <a:t>NO</a:t>
          </a:r>
        </a:p>
      </dgm:t>
    </dgm:pt>
    <dgm:pt modelId="{089AE963-8402-4F38-908B-1CA814F78766}" type="parTrans" cxnId="{BEDD267B-EA80-4783-A782-86B96AAC5B03}">
      <dgm:prSet/>
      <dgm:spPr/>
      <dgm:t>
        <a:bodyPr/>
        <a:lstStyle/>
        <a:p>
          <a:endParaRPr lang="it-IT"/>
        </a:p>
      </dgm:t>
    </dgm:pt>
    <dgm:pt modelId="{63A1392B-D9B4-4604-ACED-CDD4B7E19D6E}" type="sibTrans" cxnId="{BEDD267B-EA80-4783-A782-86B96AAC5B03}">
      <dgm:prSet/>
      <dgm:spPr/>
      <dgm:t>
        <a:bodyPr/>
        <a:lstStyle/>
        <a:p>
          <a:endParaRPr lang="it-IT"/>
        </a:p>
      </dgm:t>
    </dgm:pt>
    <dgm:pt modelId="{2069E263-CA68-447A-859F-7068DC9AF2B6}" type="pres">
      <dgm:prSet presAssocID="{C782CD9B-2B4B-48D2-BF13-2B0D6056B78A}" presName="Name0" presStyleCnt="0">
        <dgm:presLayoutVars>
          <dgm:dir/>
          <dgm:animLvl val="lvl"/>
          <dgm:resizeHandles val="exact"/>
        </dgm:presLayoutVars>
      </dgm:prSet>
      <dgm:spPr/>
    </dgm:pt>
    <dgm:pt modelId="{F7031506-3856-48AD-BFC1-89D9660F7FF7}" type="pres">
      <dgm:prSet presAssocID="{DFCF748E-4FA2-4C04-B1DF-85DA1021BE5D}" presName="parTxOnly" presStyleLbl="node1" presStyleIdx="0" presStyleCnt="10">
        <dgm:presLayoutVars>
          <dgm:chMax val="0"/>
          <dgm:chPref val="0"/>
          <dgm:bulletEnabled val="1"/>
        </dgm:presLayoutVars>
      </dgm:prSet>
      <dgm:spPr/>
    </dgm:pt>
    <dgm:pt modelId="{420EBE6C-A91F-49B7-AF4C-29A127D6266A}" type="pres">
      <dgm:prSet presAssocID="{A0ED7260-8442-4FBF-80B4-500E49A4F3AF}" presName="parTxOnlySpace" presStyleCnt="0"/>
      <dgm:spPr/>
    </dgm:pt>
    <dgm:pt modelId="{6C62160D-9EC9-4B84-8EFD-9C3E10FC055A}" type="pres">
      <dgm:prSet presAssocID="{B754C885-66E5-4615-BD33-B6EE917A035D}" presName="parTxOnly" presStyleLbl="node1" presStyleIdx="1" presStyleCnt="10">
        <dgm:presLayoutVars>
          <dgm:chMax val="0"/>
          <dgm:chPref val="0"/>
          <dgm:bulletEnabled val="1"/>
        </dgm:presLayoutVars>
      </dgm:prSet>
      <dgm:spPr/>
    </dgm:pt>
    <dgm:pt modelId="{6415A264-B3C7-41A6-9BA0-D0AD6AE1DACB}" type="pres">
      <dgm:prSet presAssocID="{79AAED35-18A8-4347-A2B8-6AAE8B34BA56}" presName="parTxOnlySpace" presStyleCnt="0"/>
      <dgm:spPr/>
    </dgm:pt>
    <dgm:pt modelId="{636F50A3-8EFE-4C08-B6BE-284B03274F0B}" type="pres">
      <dgm:prSet presAssocID="{72FFD339-6A5F-4ED7-B529-6155AF8C35BB}" presName="parTxOnly" presStyleLbl="node1" presStyleIdx="2" presStyleCnt="10">
        <dgm:presLayoutVars>
          <dgm:chMax val="0"/>
          <dgm:chPref val="0"/>
          <dgm:bulletEnabled val="1"/>
        </dgm:presLayoutVars>
      </dgm:prSet>
      <dgm:spPr/>
    </dgm:pt>
    <dgm:pt modelId="{B0C5D3FB-8180-4CC6-9F14-5042E96FD8E3}" type="pres">
      <dgm:prSet presAssocID="{A3B7292F-5113-4C29-982F-BC1D14C7BE90}" presName="parTxOnlySpace" presStyleCnt="0"/>
      <dgm:spPr/>
    </dgm:pt>
    <dgm:pt modelId="{6BB9B9CD-B911-4E33-8045-BE6A8D7C5B89}" type="pres">
      <dgm:prSet presAssocID="{9225496C-39D8-4F53-8BB5-1B069B40EB3E}" presName="parTxOnly" presStyleLbl="node1" presStyleIdx="3" presStyleCnt="10">
        <dgm:presLayoutVars>
          <dgm:chMax val="0"/>
          <dgm:chPref val="0"/>
          <dgm:bulletEnabled val="1"/>
        </dgm:presLayoutVars>
      </dgm:prSet>
      <dgm:spPr/>
    </dgm:pt>
    <dgm:pt modelId="{60B2C4AD-8A0D-4CB2-93A9-16C6C0E4BD5B}" type="pres">
      <dgm:prSet presAssocID="{1E3F53DD-2537-4C67-AA71-87081D444A81}" presName="parTxOnlySpace" presStyleCnt="0"/>
      <dgm:spPr/>
    </dgm:pt>
    <dgm:pt modelId="{A29D7AF6-34C9-459D-B160-0F8E7686BA2B}" type="pres">
      <dgm:prSet presAssocID="{2F442204-E894-4EB6-A3FA-953074E6D5F9}" presName="parTxOnly" presStyleLbl="node1" presStyleIdx="4" presStyleCnt="10">
        <dgm:presLayoutVars>
          <dgm:chMax val="0"/>
          <dgm:chPref val="0"/>
          <dgm:bulletEnabled val="1"/>
        </dgm:presLayoutVars>
      </dgm:prSet>
      <dgm:spPr/>
    </dgm:pt>
    <dgm:pt modelId="{7004503D-9639-442B-9C04-FB1247092C40}" type="pres">
      <dgm:prSet presAssocID="{07F51AA8-9070-4A56-AF24-8977CF9B6A80}" presName="parTxOnlySpace" presStyleCnt="0"/>
      <dgm:spPr/>
    </dgm:pt>
    <dgm:pt modelId="{A2199658-E72A-4294-AFD3-6892981EEB12}" type="pres">
      <dgm:prSet presAssocID="{7A5D9CDD-E10F-422D-808B-815C691EF2E8}" presName="parTxOnly" presStyleLbl="node1" presStyleIdx="5" presStyleCnt="10">
        <dgm:presLayoutVars>
          <dgm:chMax val="0"/>
          <dgm:chPref val="0"/>
          <dgm:bulletEnabled val="1"/>
        </dgm:presLayoutVars>
      </dgm:prSet>
      <dgm:spPr/>
    </dgm:pt>
    <dgm:pt modelId="{9B5C0F41-E4E2-4A3A-AA73-E3E4EB6ACD5E}" type="pres">
      <dgm:prSet presAssocID="{63A1392B-D9B4-4604-ACED-CDD4B7E19D6E}" presName="parTxOnlySpace" presStyleCnt="0"/>
      <dgm:spPr/>
    </dgm:pt>
    <dgm:pt modelId="{F9C55CAF-C1A3-4EFD-AD93-3CBF7E30E2FA}" type="pres">
      <dgm:prSet presAssocID="{56EC974B-4690-4A6A-B143-36A5A9DDDB75}" presName="parTxOnly" presStyleLbl="node1" presStyleIdx="6" presStyleCnt="10">
        <dgm:presLayoutVars>
          <dgm:chMax val="0"/>
          <dgm:chPref val="0"/>
          <dgm:bulletEnabled val="1"/>
        </dgm:presLayoutVars>
      </dgm:prSet>
      <dgm:spPr/>
    </dgm:pt>
    <dgm:pt modelId="{DDB26EDE-11AF-40B7-9C16-348181381393}" type="pres">
      <dgm:prSet presAssocID="{57612FAC-3D38-4A5A-9D54-8452999285F4}" presName="parTxOnlySpace" presStyleCnt="0"/>
      <dgm:spPr/>
    </dgm:pt>
    <dgm:pt modelId="{8CED6B9D-804A-4009-A04D-D699125D11F0}" type="pres">
      <dgm:prSet presAssocID="{A07A8528-D240-4AAE-BA81-005F6AD457F1}" presName="parTxOnly" presStyleLbl="node1" presStyleIdx="7" presStyleCnt="10">
        <dgm:presLayoutVars>
          <dgm:chMax val="0"/>
          <dgm:chPref val="0"/>
          <dgm:bulletEnabled val="1"/>
        </dgm:presLayoutVars>
      </dgm:prSet>
      <dgm:spPr/>
    </dgm:pt>
    <dgm:pt modelId="{C3D8151F-F75F-49EC-B6A3-4B15A8912918}" type="pres">
      <dgm:prSet presAssocID="{7D0C416E-0310-43FE-A0D6-735CD62199B6}" presName="parTxOnlySpace" presStyleCnt="0"/>
      <dgm:spPr/>
    </dgm:pt>
    <dgm:pt modelId="{0A5AB2D9-0A33-47A4-83C2-3990E2018CD9}" type="pres">
      <dgm:prSet presAssocID="{5805825E-3BC3-4961-910E-96065463977D}" presName="parTxOnly" presStyleLbl="node1" presStyleIdx="8" presStyleCnt="10">
        <dgm:presLayoutVars>
          <dgm:chMax val="0"/>
          <dgm:chPref val="0"/>
          <dgm:bulletEnabled val="1"/>
        </dgm:presLayoutVars>
      </dgm:prSet>
      <dgm:spPr/>
    </dgm:pt>
    <dgm:pt modelId="{5FE5E96A-0031-41D2-A1BE-2634D143793A}" type="pres">
      <dgm:prSet presAssocID="{B58F1702-0059-4F53-9A60-77242457BBFA}" presName="parTxOnlySpace" presStyleCnt="0"/>
      <dgm:spPr/>
    </dgm:pt>
    <dgm:pt modelId="{F2510710-7BA2-44B7-8AA7-1347717B483B}" type="pres">
      <dgm:prSet presAssocID="{2D51EAF0-C497-40E9-996D-2D0BC40F318C}" presName="parTxOnly" presStyleLbl="node1" presStyleIdx="9" presStyleCnt="10">
        <dgm:presLayoutVars>
          <dgm:chMax val="0"/>
          <dgm:chPref val="0"/>
          <dgm:bulletEnabled val="1"/>
        </dgm:presLayoutVars>
      </dgm:prSet>
      <dgm:spPr/>
    </dgm:pt>
  </dgm:ptLst>
  <dgm:cxnLst>
    <dgm:cxn modelId="{F8EA3703-CEE5-4162-AB46-CFFF8AC28B48}" srcId="{C782CD9B-2B4B-48D2-BF13-2B0D6056B78A}" destId="{B754C885-66E5-4615-BD33-B6EE917A035D}" srcOrd="1" destOrd="0" parTransId="{65812F9F-DD0E-4752-BF8B-D07282594751}" sibTransId="{79AAED35-18A8-4347-A2B8-6AAE8B34BA56}"/>
    <dgm:cxn modelId="{7BC9B318-E7A6-41F3-853C-1D1DFB2050EF}" srcId="{C782CD9B-2B4B-48D2-BF13-2B0D6056B78A}" destId="{2D51EAF0-C497-40E9-996D-2D0BC40F318C}" srcOrd="9" destOrd="0" parTransId="{43C509B8-DD3A-429A-ADC4-232D55259B3D}" sibTransId="{66A12237-9546-42D0-81C0-2C324670B743}"/>
    <dgm:cxn modelId="{347F6F35-9B73-4343-98DA-AC2B18E5F5F3}" type="presOf" srcId="{7A5D9CDD-E10F-422D-808B-815C691EF2E8}" destId="{A2199658-E72A-4294-AFD3-6892981EEB12}" srcOrd="0" destOrd="0" presId="urn:microsoft.com/office/officeart/2005/8/layout/chevron1"/>
    <dgm:cxn modelId="{0D18AB5B-273D-4D53-B3E4-7367C02A2FFF}" type="presOf" srcId="{A07A8528-D240-4AAE-BA81-005F6AD457F1}" destId="{8CED6B9D-804A-4009-A04D-D699125D11F0}" srcOrd="0" destOrd="0" presId="urn:microsoft.com/office/officeart/2005/8/layout/chevron1"/>
    <dgm:cxn modelId="{94A2B45D-2D69-4650-AFC3-C5574217F910}" srcId="{C782CD9B-2B4B-48D2-BF13-2B0D6056B78A}" destId="{9225496C-39D8-4F53-8BB5-1B069B40EB3E}" srcOrd="3" destOrd="0" parTransId="{D3A21DFB-000A-4FCE-9E9D-8516EBA4DD45}" sibTransId="{1E3F53DD-2537-4C67-AA71-87081D444A81}"/>
    <dgm:cxn modelId="{821DC65D-2285-4E61-AAC8-2C4C6D3C959D}" type="presOf" srcId="{B754C885-66E5-4615-BD33-B6EE917A035D}" destId="{6C62160D-9EC9-4B84-8EFD-9C3E10FC055A}" srcOrd="0" destOrd="0" presId="urn:microsoft.com/office/officeart/2005/8/layout/chevron1"/>
    <dgm:cxn modelId="{6FD2AE64-BDEB-482D-ACF3-1D5403180A1E}" srcId="{C782CD9B-2B4B-48D2-BF13-2B0D6056B78A}" destId="{2F442204-E894-4EB6-A3FA-953074E6D5F9}" srcOrd="4" destOrd="0" parTransId="{9E6A019B-6886-407A-A3BB-1A2A8D416818}" sibTransId="{07F51AA8-9070-4A56-AF24-8977CF9B6A80}"/>
    <dgm:cxn modelId="{86F51B69-57FE-463B-92B0-AF9102583869}" type="presOf" srcId="{DFCF748E-4FA2-4C04-B1DF-85DA1021BE5D}" destId="{F7031506-3856-48AD-BFC1-89D9660F7FF7}" srcOrd="0" destOrd="0" presId="urn:microsoft.com/office/officeart/2005/8/layout/chevron1"/>
    <dgm:cxn modelId="{4C055975-C40A-429C-A1B6-397768A3B4AC}" type="presOf" srcId="{2D51EAF0-C497-40E9-996D-2D0BC40F318C}" destId="{F2510710-7BA2-44B7-8AA7-1347717B483B}" srcOrd="0" destOrd="0" presId="urn:microsoft.com/office/officeart/2005/8/layout/chevron1"/>
    <dgm:cxn modelId="{AA0DD976-B038-4306-89A4-119D70DE2378}" type="presOf" srcId="{56EC974B-4690-4A6A-B143-36A5A9DDDB75}" destId="{F9C55CAF-C1A3-4EFD-AD93-3CBF7E30E2FA}" srcOrd="0" destOrd="0" presId="urn:microsoft.com/office/officeart/2005/8/layout/chevron1"/>
    <dgm:cxn modelId="{BEDD267B-EA80-4783-A782-86B96AAC5B03}" srcId="{C782CD9B-2B4B-48D2-BF13-2B0D6056B78A}" destId="{7A5D9CDD-E10F-422D-808B-815C691EF2E8}" srcOrd="5" destOrd="0" parTransId="{089AE963-8402-4F38-908B-1CA814F78766}" sibTransId="{63A1392B-D9B4-4604-ACED-CDD4B7E19D6E}"/>
    <dgm:cxn modelId="{A4643782-09F1-4CD4-AECB-465D5AA756DB}" type="presOf" srcId="{5805825E-3BC3-4961-910E-96065463977D}" destId="{0A5AB2D9-0A33-47A4-83C2-3990E2018CD9}" srcOrd="0" destOrd="0" presId="urn:microsoft.com/office/officeart/2005/8/layout/chevron1"/>
    <dgm:cxn modelId="{82063A92-0D0B-4004-874F-8781D47A17EE}" type="presOf" srcId="{72FFD339-6A5F-4ED7-B529-6155AF8C35BB}" destId="{636F50A3-8EFE-4C08-B6BE-284B03274F0B}" srcOrd="0" destOrd="0" presId="urn:microsoft.com/office/officeart/2005/8/layout/chevron1"/>
    <dgm:cxn modelId="{92751D9D-02E3-45C2-978C-737085227C42}" srcId="{C782CD9B-2B4B-48D2-BF13-2B0D6056B78A}" destId="{DFCF748E-4FA2-4C04-B1DF-85DA1021BE5D}" srcOrd="0" destOrd="0" parTransId="{7DAF1956-B700-4203-9672-92E4451DCC31}" sibTransId="{A0ED7260-8442-4FBF-80B4-500E49A4F3AF}"/>
    <dgm:cxn modelId="{FE5FBCA8-5D6F-44E5-8DFA-D24300AECCE8}" srcId="{C782CD9B-2B4B-48D2-BF13-2B0D6056B78A}" destId="{56EC974B-4690-4A6A-B143-36A5A9DDDB75}" srcOrd="6" destOrd="0" parTransId="{F24B2512-EFC3-4494-92F8-F4C2A580DD56}" sibTransId="{57612FAC-3D38-4A5A-9D54-8452999285F4}"/>
    <dgm:cxn modelId="{F61CB2CB-8070-49CB-A7EB-AEBA3F9F82FC}" type="presOf" srcId="{2F442204-E894-4EB6-A3FA-953074E6D5F9}" destId="{A29D7AF6-34C9-459D-B160-0F8E7686BA2B}" srcOrd="0" destOrd="0" presId="urn:microsoft.com/office/officeart/2005/8/layout/chevron1"/>
    <dgm:cxn modelId="{D31771D5-E1E8-4485-9C21-912CD296F528}" type="presOf" srcId="{9225496C-39D8-4F53-8BB5-1B069B40EB3E}" destId="{6BB9B9CD-B911-4E33-8045-BE6A8D7C5B89}" srcOrd="0" destOrd="0" presId="urn:microsoft.com/office/officeart/2005/8/layout/chevron1"/>
    <dgm:cxn modelId="{D6C89AE1-00A8-492D-888B-1E3DDC006D86}" srcId="{C782CD9B-2B4B-48D2-BF13-2B0D6056B78A}" destId="{5805825E-3BC3-4961-910E-96065463977D}" srcOrd="8" destOrd="0" parTransId="{263FA899-3C2D-4809-A47A-DB65911293C7}" sibTransId="{B58F1702-0059-4F53-9A60-77242457BBFA}"/>
    <dgm:cxn modelId="{1BFFEBEF-0514-4266-8971-A397E4ACE9BE}" type="presOf" srcId="{C782CD9B-2B4B-48D2-BF13-2B0D6056B78A}" destId="{2069E263-CA68-447A-859F-7068DC9AF2B6}" srcOrd="0" destOrd="0" presId="urn:microsoft.com/office/officeart/2005/8/layout/chevron1"/>
    <dgm:cxn modelId="{C381E8F4-D0AE-4AD0-B8F1-4BDFF55901DE}" srcId="{C782CD9B-2B4B-48D2-BF13-2B0D6056B78A}" destId="{72FFD339-6A5F-4ED7-B529-6155AF8C35BB}" srcOrd="2" destOrd="0" parTransId="{ECFEA23F-DCCD-42C6-8706-10917CE3C2B0}" sibTransId="{A3B7292F-5113-4C29-982F-BC1D14C7BE90}"/>
    <dgm:cxn modelId="{C9F268FB-CB20-4E78-9CDC-F035D61B7E09}" srcId="{C782CD9B-2B4B-48D2-BF13-2B0D6056B78A}" destId="{A07A8528-D240-4AAE-BA81-005F6AD457F1}" srcOrd="7" destOrd="0" parTransId="{3C15A388-1B3D-47E8-B2CB-E67F7E1AFFF1}" sibTransId="{7D0C416E-0310-43FE-A0D6-735CD62199B6}"/>
    <dgm:cxn modelId="{0DBE53EF-AD97-447A-A309-58E5ECC89F83}" type="presParOf" srcId="{2069E263-CA68-447A-859F-7068DC9AF2B6}" destId="{F7031506-3856-48AD-BFC1-89D9660F7FF7}" srcOrd="0" destOrd="0" presId="urn:microsoft.com/office/officeart/2005/8/layout/chevron1"/>
    <dgm:cxn modelId="{005C92D3-C32F-448C-A36C-8A704F3EA741}" type="presParOf" srcId="{2069E263-CA68-447A-859F-7068DC9AF2B6}" destId="{420EBE6C-A91F-49B7-AF4C-29A127D6266A}" srcOrd="1" destOrd="0" presId="urn:microsoft.com/office/officeart/2005/8/layout/chevron1"/>
    <dgm:cxn modelId="{4A12A865-32F5-4927-8924-97CF2BD40BB6}" type="presParOf" srcId="{2069E263-CA68-447A-859F-7068DC9AF2B6}" destId="{6C62160D-9EC9-4B84-8EFD-9C3E10FC055A}" srcOrd="2" destOrd="0" presId="urn:microsoft.com/office/officeart/2005/8/layout/chevron1"/>
    <dgm:cxn modelId="{06DA4CCB-9238-41D6-9ADA-C7659DE790B5}" type="presParOf" srcId="{2069E263-CA68-447A-859F-7068DC9AF2B6}" destId="{6415A264-B3C7-41A6-9BA0-D0AD6AE1DACB}" srcOrd="3" destOrd="0" presId="urn:microsoft.com/office/officeart/2005/8/layout/chevron1"/>
    <dgm:cxn modelId="{7C9B6284-ABC0-4465-A189-216172B633FA}" type="presParOf" srcId="{2069E263-CA68-447A-859F-7068DC9AF2B6}" destId="{636F50A3-8EFE-4C08-B6BE-284B03274F0B}" srcOrd="4" destOrd="0" presId="urn:microsoft.com/office/officeart/2005/8/layout/chevron1"/>
    <dgm:cxn modelId="{083BD3F4-23CD-4A5D-9D9E-D42F4AEB1E07}" type="presParOf" srcId="{2069E263-CA68-447A-859F-7068DC9AF2B6}" destId="{B0C5D3FB-8180-4CC6-9F14-5042E96FD8E3}" srcOrd="5" destOrd="0" presId="urn:microsoft.com/office/officeart/2005/8/layout/chevron1"/>
    <dgm:cxn modelId="{F54BB134-248F-4DF9-BC7F-52E9E99D88C8}" type="presParOf" srcId="{2069E263-CA68-447A-859F-7068DC9AF2B6}" destId="{6BB9B9CD-B911-4E33-8045-BE6A8D7C5B89}" srcOrd="6" destOrd="0" presId="urn:microsoft.com/office/officeart/2005/8/layout/chevron1"/>
    <dgm:cxn modelId="{55ACB649-0602-45F5-ACD1-3F4CD2E83F43}" type="presParOf" srcId="{2069E263-CA68-447A-859F-7068DC9AF2B6}" destId="{60B2C4AD-8A0D-4CB2-93A9-16C6C0E4BD5B}" srcOrd="7" destOrd="0" presId="urn:microsoft.com/office/officeart/2005/8/layout/chevron1"/>
    <dgm:cxn modelId="{9CD35F18-052E-4931-B048-7E9E37D3A8B6}" type="presParOf" srcId="{2069E263-CA68-447A-859F-7068DC9AF2B6}" destId="{A29D7AF6-34C9-459D-B160-0F8E7686BA2B}" srcOrd="8" destOrd="0" presId="urn:microsoft.com/office/officeart/2005/8/layout/chevron1"/>
    <dgm:cxn modelId="{9630C7A8-7082-48B5-B578-F23ECC748DE2}" type="presParOf" srcId="{2069E263-CA68-447A-859F-7068DC9AF2B6}" destId="{7004503D-9639-442B-9C04-FB1247092C40}" srcOrd="9" destOrd="0" presId="urn:microsoft.com/office/officeart/2005/8/layout/chevron1"/>
    <dgm:cxn modelId="{BA41912F-C6DC-4533-A9F2-E14D0E9F271C}" type="presParOf" srcId="{2069E263-CA68-447A-859F-7068DC9AF2B6}" destId="{A2199658-E72A-4294-AFD3-6892981EEB12}" srcOrd="10" destOrd="0" presId="urn:microsoft.com/office/officeart/2005/8/layout/chevron1"/>
    <dgm:cxn modelId="{D228ACBE-203C-474D-B711-844C0C6270B1}" type="presParOf" srcId="{2069E263-CA68-447A-859F-7068DC9AF2B6}" destId="{9B5C0F41-E4E2-4A3A-AA73-E3E4EB6ACD5E}" srcOrd="11" destOrd="0" presId="urn:microsoft.com/office/officeart/2005/8/layout/chevron1"/>
    <dgm:cxn modelId="{7D23D0A6-2633-4BE4-A2DF-7A855843DE09}" type="presParOf" srcId="{2069E263-CA68-447A-859F-7068DC9AF2B6}" destId="{F9C55CAF-C1A3-4EFD-AD93-3CBF7E30E2FA}" srcOrd="12" destOrd="0" presId="urn:microsoft.com/office/officeart/2005/8/layout/chevron1"/>
    <dgm:cxn modelId="{6135B307-E22A-45CB-A477-449603073917}" type="presParOf" srcId="{2069E263-CA68-447A-859F-7068DC9AF2B6}" destId="{DDB26EDE-11AF-40B7-9C16-348181381393}" srcOrd="13" destOrd="0" presId="urn:microsoft.com/office/officeart/2005/8/layout/chevron1"/>
    <dgm:cxn modelId="{9E40AB59-43C6-4C14-A971-5210E75731D7}" type="presParOf" srcId="{2069E263-CA68-447A-859F-7068DC9AF2B6}" destId="{8CED6B9D-804A-4009-A04D-D699125D11F0}" srcOrd="14" destOrd="0" presId="urn:microsoft.com/office/officeart/2005/8/layout/chevron1"/>
    <dgm:cxn modelId="{570579C5-E4BE-4C80-AC1D-F605940400D6}" type="presParOf" srcId="{2069E263-CA68-447A-859F-7068DC9AF2B6}" destId="{C3D8151F-F75F-49EC-B6A3-4B15A8912918}" srcOrd="15" destOrd="0" presId="urn:microsoft.com/office/officeart/2005/8/layout/chevron1"/>
    <dgm:cxn modelId="{675E4C3A-F6CC-4A66-BF5C-39A3116B979F}" type="presParOf" srcId="{2069E263-CA68-447A-859F-7068DC9AF2B6}" destId="{0A5AB2D9-0A33-47A4-83C2-3990E2018CD9}" srcOrd="16" destOrd="0" presId="urn:microsoft.com/office/officeart/2005/8/layout/chevron1"/>
    <dgm:cxn modelId="{A6597DE7-8C22-4515-9259-4C625228A22D}" type="presParOf" srcId="{2069E263-CA68-447A-859F-7068DC9AF2B6}" destId="{5FE5E96A-0031-41D2-A1BE-2634D143793A}" srcOrd="17" destOrd="0" presId="urn:microsoft.com/office/officeart/2005/8/layout/chevron1"/>
    <dgm:cxn modelId="{0A73382A-1270-44B1-9D8B-70511C280EA9}" type="presParOf" srcId="{2069E263-CA68-447A-859F-7068DC9AF2B6}" destId="{F2510710-7BA2-44B7-8AA7-1347717B483B}" srcOrd="18" destOrd="0" presId="urn:microsoft.com/office/officeart/2005/8/layout/chevron1"/>
  </dgm:cxnLst>
  <dgm:bg/>
  <dgm:whole/>
  <dgm:extLst>
    <a:ext uri="http://schemas.microsoft.com/office/drawing/2008/diagram">
      <dsp:dataModelExt xmlns:dsp="http://schemas.microsoft.com/office/drawing/2008/diagram" relId="rId15" minVer="http://schemas.openxmlformats.org/drawingml/2006/diagram"/>
    </a:ext>
  </dgm:extLst>
</dgm:dataModel>
</file>

<file path=ppt/diagrams/data30.xml><?xml version="1.0" encoding="utf-8"?>
<dgm:dataModel xmlns:dgm="http://schemas.openxmlformats.org/drawingml/2006/diagram" xmlns:a="http://schemas.openxmlformats.org/drawingml/2006/main">
  <dgm:ptLst>
    <dgm:pt modelId="{C782CD9B-2B4B-48D2-BF13-2B0D6056B78A}"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it-IT"/>
        </a:p>
      </dgm:t>
    </dgm:pt>
    <dgm:pt modelId="{DFCF748E-4FA2-4C04-B1DF-85DA1021BE5D}">
      <dgm:prSet phldrT="[Testo]"/>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Rete viaria complessiva</a:t>
          </a:r>
        </a:p>
      </dgm:t>
    </dgm:pt>
    <dgm:pt modelId="{7DAF1956-B700-4203-9672-92E4451DCC31}" type="parTrans" cxnId="{92751D9D-02E3-45C2-978C-737085227C42}">
      <dgm:prSet/>
      <dgm:spPr/>
      <dgm:t>
        <a:bodyPr/>
        <a:lstStyle/>
        <a:p>
          <a:endParaRPr lang="it-IT"/>
        </a:p>
      </dgm:t>
    </dgm:pt>
    <dgm:pt modelId="{A0ED7260-8442-4FBF-80B4-500E49A4F3AF}" type="sibTrans" cxnId="{92751D9D-02E3-45C2-978C-737085227C42}">
      <dgm:prSet/>
      <dgm:spPr/>
      <dgm:t>
        <a:bodyPr/>
        <a:lstStyle/>
        <a:p>
          <a:endParaRPr lang="it-IT"/>
        </a:p>
      </dgm:t>
    </dgm:pt>
    <dgm:pt modelId="{B754C885-66E5-4615-BD33-B6EE917A035D}">
      <dgm:prSet phldrT="[Testo]"/>
      <dgm:spPr>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dgm:spPr>
      <dgm:t>
        <a:bodyPr/>
        <a:lstStyle/>
        <a:p>
          <a:r>
            <a:rPr lang="it-IT" dirty="0"/>
            <a:t>Risorse</a:t>
          </a:r>
        </a:p>
      </dgm:t>
    </dgm:pt>
    <dgm:pt modelId="{65812F9F-DD0E-4752-BF8B-D07282594751}" type="parTrans" cxnId="{F8EA3703-CEE5-4162-AB46-CFFF8AC28B48}">
      <dgm:prSet/>
      <dgm:spPr/>
      <dgm:t>
        <a:bodyPr/>
        <a:lstStyle/>
        <a:p>
          <a:endParaRPr lang="it-IT"/>
        </a:p>
      </dgm:t>
    </dgm:pt>
    <dgm:pt modelId="{79AAED35-18A8-4347-A2B8-6AAE8B34BA56}" type="sibTrans" cxnId="{F8EA3703-CEE5-4162-AB46-CFFF8AC28B48}">
      <dgm:prSet/>
      <dgm:spPr/>
      <dgm:t>
        <a:bodyPr/>
        <a:lstStyle/>
        <a:p>
          <a:endParaRPr lang="it-IT"/>
        </a:p>
      </dgm:t>
    </dgm:pt>
    <dgm:pt modelId="{9225496C-39D8-4F53-8BB5-1B069B40EB3E}">
      <dgm:prSet phldrT="[Testo]"/>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Affidamenti</a:t>
          </a:r>
        </a:p>
      </dgm:t>
    </dgm:pt>
    <dgm:pt modelId="{D3A21DFB-000A-4FCE-9E9D-8516EBA4DD45}" type="parTrans" cxnId="{94A2B45D-2D69-4650-AFC3-C5574217F910}">
      <dgm:prSet/>
      <dgm:spPr/>
      <dgm:t>
        <a:bodyPr/>
        <a:lstStyle/>
        <a:p>
          <a:endParaRPr lang="it-IT"/>
        </a:p>
      </dgm:t>
    </dgm:pt>
    <dgm:pt modelId="{1E3F53DD-2537-4C67-AA71-87081D444A81}" type="sibTrans" cxnId="{94A2B45D-2D69-4650-AFC3-C5574217F910}">
      <dgm:prSet/>
      <dgm:spPr/>
      <dgm:t>
        <a:bodyPr/>
        <a:lstStyle/>
        <a:p>
          <a:endParaRPr lang="it-IT"/>
        </a:p>
      </dgm:t>
    </dgm:pt>
    <dgm:pt modelId="{2F442204-E894-4EB6-A3FA-953074E6D5F9}">
      <dgm:prSet phldrT="[Testo]" custT="1"/>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sz="700" dirty="0"/>
            <a:t>Investimenti e Produzione</a:t>
          </a:r>
        </a:p>
        <a:p>
          <a:r>
            <a:rPr lang="it-IT" sz="700" dirty="0"/>
            <a:t>MP</a:t>
          </a:r>
        </a:p>
      </dgm:t>
    </dgm:pt>
    <dgm:pt modelId="{9E6A019B-6886-407A-A3BB-1A2A8D416818}" type="parTrans" cxnId="{6FD2AE64-BDEB-482D-ACF3-1D5403180A1E}">
      <dgm:prSet/>
      <dgm:spPr/>
      <dgm:t>
        <a:bodyPr/>
        <a:lstStyle/>
        <a:p>
          <a:endParaRPr lang="it-IT"/>
        </a:p>
      </dgm:t>
    </dgm:pt>
    <dgm:pt modelId="{07F51AA8-9070-4A56-AF24-8977CF9B6A80}" type="sibTrans" cxnId="{6FD2AE64-BDEB-482D-ACF3-1D5403180A1E}">
      <dgm:prSet/>
      <dgm:spPr/>
      <dgm:t>
        <a:bodyPr/>
        <a:lstStyle/>
        <a:p>
          <a:endParaRPr lang="it-IT"/>
        </a:p>
      </dgm:t>
    </dgm:pt>
    <dgm:pt modelId="{2D51EAF0-C497-40E9-996D-2D0BC40F318C}">
      <dgm:prSet phldrT="[Testo]"/>
      <dgm:spPr>
        <a:gradFill flip="none"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16200000" scaled="1"/>
          <a:tileRect/>
        </a:gradFill>
      </dgm:spPr>
      <dgm:t>
        <a:bodyPr/>
        <a:lstStyle/>
        <a:p>
          <a:r>
            <a:rPr lang="it-IT" dirty="0"/>
            <a:t>Pagamenti</a:t>
          </a:r>
        </a:p>
      </dgm:t>
    </dgm:pt>
    <dgm:pt modelId="{43C509B8-DD3A-429A-ADC4-232D55259B3D}" type="parTrans" cxnId="{7BC9B318-E7A6-41F3-853C-1D1DFB2050EF}">
      <dgm:prSet/>
      <dgm:spPr/>
      <dgm:t>
        <a:bodyPr/>
        <a:lstStyle/>
        <a:p>
          <a:endParaRPr lang="it-IT"/>
        </a:p>
      </dgm:t>
    </dgm:pt>
    <dgm:pt modelId="{66A12237-9546-42D0-81C0-2C324670B743}" type="sibTrans" cxnId="{7BC9B318-E7A6-41F3-853C-1D1DFB2050EF}">
      <dgm:prSet/>
      <dgm:spPr/>
      <dgm:t>
        <a:bodyPr/>
        <a:lstStyle/>
        <a:p>
          <a:endParaRPr lang="it-IT"/>
        </a:p>
      </dgm:t>
    </dgm:pt>
    <dgm:pt modelId="{72FFD339-6A5F-4ED7-B529-6155AF8C35BB}">
      <dgm:prSet/>
      <dgm:spPr>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dgm:spPr>
      <dgm:t>
        <a:bodyPr/>
        <a:lstStyle/>
        <a:p>
          <a:r>
            <a:rPr lang="it-IT" dirty="0" err="1"/>
            <a:t>soc</a:t>
          </a:r>
          <a:endParaRPr lang="it-IT" dirty="0"/>
        </a:p>
      </dgm:t>
    </dgm:pt>
    <dgm:pt modelId="{ECFEA23F-DCCD-42C6-8706-10917CE3C2B0}" type="parTrans" cxnId="{C381E8F4-D0AE-4AD0-B8F1-4BDFF55901DE}">
      <dgm:prSet/>
      <dgm:spPr/>
      <dgm:t>
        <a:bodyPr/>
        <a:lstStyle/>
        <a:p>
          <a:endParaRPr lang="it-IT"/>
        </a:p>
      </dgm:t>
    </dgm:pt>
    <dgm:pt modelId="{A3B7292F-5113-4C29-982F-BC1D14C7BE90}" type="sibTrans" cxnId="{C381E8F4-D0AE-4AD0-B8F1-4BDFF55901DE}">
      <dgm:prSet/>
      <dgm:spPr/>
      <dgm:t>
        <a:bodyPr/>
        <a:lstStyle/>
        <a:p>
          <a:endParaRPr lang="it-IT"/>
        </a:p>
      </dgm:t>
    </dgm:pt>
    <dgm:pt modelId="{A07A8528-D240-4AAE-BA81-005F6AD457F1}">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Ispezione Opere D’arte</a:t>
          </a:r>
        </a:p>
      </dgm:t>
    </dgm:pt>
    <dgm:pt modelId="{3C15A388-1B3D-47E8-B2CB-E67F7E1AFFF1}" type="parTrans" cxnId="{C9F268FB-CB20-4E78-9CDC-F035D61B7E09}">
      <dgm:prSet/>
      <dgm:spPr/>
      <dgm:t>
        <a:bodyPr/>
        <a:lstStyle/>
        <a:p>
          <a:endParaRPr lang="it-IT"/>
        </a:p>
      </dgm:t>
    </dgm:pt>
    <dgm:pt modelId="{7D0C416E-0310-43FE-A0D6-735CD62199B6}" type="sibTrans" cxnId="{C9F268FB-CB20-4E78-9CDC-F035D61B7E09}">
      <dgm:prSet/>
      <dgm:spPr/>
      <dgm:t>
        <a:bodyPr/>
        <a:lstStyle/>
        <a:p>
          <a:endParaRPr lang="it-IT"/>
        </a:p>
      </dgm:t>
    </dgm:pt>
    <dgm:pt modelId="{56EC974B-4690-4A6A-B143-36A5A9DDDB75}">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Supporto Tecnico</a:t>
          </a:r>
        </a:p>
      </dgm:t>
    </dgm:pt>
    <dgm:pt modelId="{F24B2512-EFC3-4494-92F8-F4C2A580DD56}" type="parTrans" cxnId="{FE5FBCA8-5D6F-44E5-8DFA-D24300AECCE8}">
      <dgm:prSet/>
      <dgm:spPr/>
      <dgm:t>
        <a:bodyPr/>
        <a:lstStyle/>
        <a:p>
          <a:endParaRPr lang="it-IT"/>
        </a:p>
      </dgm:t>
    </dgm:pt>
    <dgm:pt modelId="{57612FAC-3D38-4A5A-9D54-8452999285F4}" type="sibTrans" cxnId="{FE5FBCA8-5D6F-44E5-8DFA-D24300AECCE8}">
      <dgm:prSet/>
      <dgm:spPr/>
      <dgm:t>
        <a:bodyPr/>
        <a:lstStyle/>
        <a:p>
          <a:endParaRPr lang="it-IT"/>
        </a:p>
      </dgm:t>
    </dgm:pt>
    <dgm:pt modelId="{5805825E-3BC3-4961-910E-96065463977D}">
      <dgm:prSet/>
      <dgm:spPr>
        <a:solidFill>
          <a:schemeClr val="accent1"/>
        </a:solidFill>
      </dgm:spPr>
      <dgm:t>
        <a:bodyPr/>
        <a:lstStyle/>
        <a:p>
          <a:r>
            <a:rPr lang="it-IT" dirty="0"/>
            <a:t>Interventi Rilevanti</a:t>
          </a:r>
        </a:p>
      </dgm:t>
    </dgm:pt>
    <dgm:pt modelId="{263FA899-3C2D-4809-A47A-DB65911293C7}" type="parTrans" cxnId="{D6C89AE1-00A8-492D-888B-1E3DDC006D86}">
      <dgm:prSet/>
      <dgm:spPr/>
      <dgm:t>
        <a:bodyPr/>
        <a:lstStyle/>
        <a:p>
          <a:endParaRPr lang="it-IT"/>
        </a:p>
      </dgm:t>
    </dgm:pt>
    <dgm:pt modelId="{B58F1702-0059-4F53-9A60-77242457BBFA}" type="sibTrans" cxnId="{D6C89AE1-00A8-492D-888B-1E3DDC006D86}">
      <dgm:prSet/>
      <dgm:spPr/>
      <dgm:t>
        <a:bodyPr/>
        <a:lstStyle/>
        <a:p>
          <a:endParaRPr lang="it-IT"/>
        </a:p>
      </dgm:t>
    </dgm:pt>
    <dgm:pt modelId="{7A5D9CDD-E10F-422D-808B-815C691EF2E8}">
      <dgm:prSet phldrT="[Testo]" custT="1"/>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sz="700" dirty="0"/>
            <a:t>Investimenti e Produzione</a:t>
          </a:r>
        </a:p>
        <a:p>
          <a:r>
            <a:rPr lang="it-IT" sz="700" dirty="0"/>
            <a:t>NO</a:t>
          </a:r>
        </a:p>
      </dgm:t>
    </dgm:pt>
    <dgm:pt modelId="{089AE963-8402-4F38-908B-1CA814F78766}" type="parTrans" cxnId="{BEDD267B-EA80-4783-A782-86B96AAC5B03}">
      <dgm:prSet/>
      <dgm:spPr/>
      <dgm:t>
        <a:bodyPr/>
        <a:lstStyle/>
        <a:p>
          <a:endParaRPr lang="it-IT"/>
        </a:p>
      </dgm:t>
    </dgm:pt>
    <dgm:pt modelId="{63A1392B-D9B4-4604-ACED-CDD4B7E19D6E}" type="sibTrans" cxnId="{BEDD267B-EA80-4783-A782-86B96AAC5B03}">
      <dgm:prSet/>
      <dgm:spPr/>
      <dgm:t>
        <a:bodyPr/>
        <a:lstStyle/>
        <a:p>
          <a:endParaRPr lang="it-IT"/>
        </a:p>
      </dgm:t>
    </dgm:pt>
    <dgm:pt modelId="{F647B10F-EAE0-4F41-8E04-352654413B5C}">
      <dgm:prSet/>
      <dgm:spPr>
        <a:solidFill>
          <a:schemeClr val="accent1"/>
        </a:solidFill>
      </dgm:spPr>
      <dgm:t>
        <a:bodyPr/>
        <a:lstStyle/>
        <a:p>
          <a:r>
            <a:rPr lang="it-IT" dirty="0">
              <a:solidFill>
                <a:schemeClr val="bg1"/>
              </a:solidFill>
            </a:rPr>
            <a:t>Smart Road</a:t>
          </a:r>
        </a:p>
      </dgm:t>
    </dgm:pt>
    <dgm:pt modelId="{B824E2BF-99FF-4441-998F-2F60EDE478D5}" type="parTrans" cxnId="{574E61D1-E1F5-4BDC-8306-6A20315F04DE}">
      <dgm:prSet/>
      <dgm:spPr/>
      <dgm:t>
        <a:bodyPr/>
        <a:lstStyle/>
        <a:p>
          <a:endParaRPr lang="it-IT"/>
        </a:p>
      </dgm:t>
    </dgm:pt>
    <dgm:pt modelId="{D3471309-8ADE-4768-921E-7AFA41A86BFC}" type="sibTrans" cxnId="{574E61D1-E1F5-4BDC-8306-6A20315F04DE}">
      <dgm:prSet/>
      <dgm:spPr/>
      <dgm:t>
        <a:bodyPr/>
        <a:lstStyle/>
        <a:p>
          <a:endParaRPr lang="it-IT"/>
        </a:p>
      </dgm:t>
    </dgm:pt>
    <dgm:pt modelId="{2069E263-CA68-447A-859F-7068DC9AF2B6}" type="pres">
      <dgm:prSet presAssocID="{C782CD9B-2B4B-48D2-BF13-2B0D6056B78A}" presName="Name0" presStyleCnt="0">
        <dgm:presLayoutVars>
          <dgm:dir/>
          <dgm:animLvl val="lvl"/>
          <dgm:resizeHandles val="exact"/>
        </dgm:presLayoutVars>
      </dgm:prSet>
      <dgm:spPr/>
    </dgm:pt>
    <dgm:pt modelId="{B014A20F-F8D4-4634-B213-8EDE25927C16}" type="pres">
      <dgm:prSet presAssocID="{DFCF748E-4FA2-4C04-B1DF-85DA1021BE5D}" presName="composite" presStyleCnt="0"/>
      <dgm:spPr/>
    </dgm:pt>
    <dgm:pt modelId="{2763F6D0-FDDE-4CA1-AD92-DB96E5135F54}" type="pres">
      <dgm:prSet presAssocID="{DFCF748E-4FA2-4C04-B1DF-85DA1021BE5D}" presName="parTx" presStyleLbl="node1" presStyleIdx="0" presStyleCnt="10">
        <dgm:presLayoutVars>
          <dgm:chMax val="0"/>
          <dgm:chPref val="0"/>
          <dgm:bulletEnabled val="1"/>
        </dgm:presLayoutVars>
      </dgm:prSet>
      <dgm:spPr/>
    </dgm:pt>
    <dgm:pt modelId="{1FDBE215-54FC-4E50-AA35-0F93F2176D94}" type="pres">
      <dgm:prSet presAssocID="{DFCF748E-4FA2-4C04-B1DF-85DA1021BE5D}" presName="desTx" presStyleLbl="revTx" presStyleIdx="0" presStyleCnt="1">
        <dgm:presLayoutVars>
          <dgm:bulletEnabled val="1"/>
        </dgm:presLayoutVars>
      </dgm:prSet>
      <dgm:spPr/>
    </dgm:pt>
    <dgm:pt modelId="{8E5DAA18-950D-4280-899B-AF93A748A40D}" type="pres">
      <dgm:prSet presAssocID="{A0ED7260-8442-4FBF-80B4-500E49A4F3AF}" presName="space" presStyleCnt="0"/>
      <dgm:spPr/>
    </dgm:pt>
    <dgm:pt modelId="{E1BB1CF0-7FBC-4798-9323-73C4F7CC9C62}" type="pres">
      <dgm:prSet presAssocID="{B754C885-66E5-4615-BD33-B6EE917A035D}" presName="composite" presStyleCnt="0"/>
      <dgm:spPr/>
    </dgm:pt>
    <dgm:pt modelId="{77AB0C57-3732-4A7F-98BE-DE317F185E6C}" type="pres">
      <dgm:prSet presAssocID="{B754C885-66E5-4615-BD33-B6EE917A035D}" presName="parTx" presStyleLbl="node1" presStyleIdx="1" presStyleCnt="10">
        <dgm:presLayoutVars>
          <dgm:chMax val="0"/>
          <dgm:chPref val="0"/>
          <dgm:bulletEnabled val="1"/>
        </dgm:presLayoutVars>
      </dgm:prSet>
      <dgm:spPr/>
    </dgm:pt>
    <dgm:pt modelId="{D404F352-4669-4921-A885-9A65333A8849}" type="pres">
      <dgm:prSet presAssocID="{B754C885-66E5-4615-BD33-B6EE917A035D}" presName="desTx" presStyleLbl="revTx" presStyleIdx="0" presStyleCnt="1">
        <dgm:presLayoutVars>
          <dgm:bulletEnabled val="1"/>
        </dgm:presLayoutVars>
      </dgm:prSet>
      <dgm:spPr/>
    </dgm:pt>
    <dgm:pt modelId="{652222DD-6B83-4984-A2CB-AFC49EBF1201}" type="pres">
      <dgm:prSet presAssocID="{79AAED35-18A8-4347-A2B8-6AAE8B34BA56}" presName="space" presStyleCnt="0"/>
      <dgm:spPr/>
    </dgm:pt>
    <dgm:pt modelId="{7BBACE36-6E6A-4583-BE8A-FF4AFBA2DED4}" type="pres">
      <dgm:prSet presAssocID="{72FFD339-6A5F-4ED7-B529-6155AF8C35BB}" presName="composite" presStyleCnt="0"/>
      <dgm:spPr/>
    </dgm:pt>
    <dgm:pt modelId="{4AD6D448-4CC0-4315-A093-B9CE4EFAE2AC}" type="pres">
      <dgm:prSet presAssocID="{72FFD339-6A5F-4ED7-B529-6155AF8C35BB}" presName="parTx" presStyleLbl="node1" presStyleIdx="2" presStyleCnt="10">
        <dgm:presLayoutVars>
          <dgm:chMax val="0"/>
          <dgm:chPref val="0"/>
          <dgm:bulletEnabled val="1"/>
        </dgm:presLayoutVars>
      </dgm:prSet>
      <dgm:spPr/>
    </dgm:pt>
    <dgm:pt modelId="{DDA49AB9-8E30-494C-B7AD-5D837E47ED84}" type="pres">
      <dgm:prSet presAssocID="{72FFD339-6A5F-4ED7-B529-6155AF8C35BB}" presName="desTx" presStyleLbl="revTx" presStyleIdx="0" presStyleCnt="1">
        <dgm:presLayoutVars>
          <dgm:bulletEnabled val="1"/>
        </dgm:presLayoutVars>
      </dgm:prSet>
      <dgm:spPr/>
    </dgm:pt>
    <dgm:pt modelId="{40B2A213-F41D-4FF4-B7EE-EE2725EE45E1}" type="pres">
      <dgm:prSet presAssocID="{A3B7292F-5113-4C29-982F-BC1D14C7BE90}" presName="space" presStyleCnt="0"/>
      <dgm:spPr/>
    </dgm:pt>
    <dgm:pt modelId="{767FFDEC-573C-4880-9092-95E7AA1D2603}" type="pres">
      <dgm:prSet presAssocID="{9225496C-39D8-4F53-8BB5-1B069B40EB3E}" presName="composite" presStyleCnt="0"/>
      <dgm:spPr/>
    </dgm:pt>
    <dgm:pt modelId="{E74D7A4A-73C2-43FA-824A-4BA72478203F}" type="pres">
      <dgm:prSet presAssocID="{9225496C-39D8-4F53-8BB5-1B069B40EB3E}" presName="parTx" presStyleLbl="node1" presStyleIdx="3" presStyleCnt="10">
        <dgm:presLayoutVars>
          <dgm:chMax val="0"/>
          <dgm:chPref val="0"/>
          <dgm:bulletEnabled val="1"/>
        </dgm:presLayoutVars>
      </dgm:prSet>
      <dgm:spPr/>
    </dgm:pt>
    <dgm:pt modelId="{2AFD2A7A-21F5-4D0F-A3B7-E9DED32F3331}" type="pres">
      <dgm:prSet presAssocID="{9225496C-39D8-4F53-8BB5-1B069B40EB3E}" presName="desTx" presStyleLbl="revTx" presStyleIdx="0" presStyleCnt="1">
        <dgm:presLayoutVars>
          <dgm:bulletEnabled val="1"/>
        </dgm:presLayoutVars>
      </dgm:prSet>
      <dgm:spPr/>
    </dgm:pt>
    <dgm:pt modelId="{05F7048B-DABE-4B40-95CF-B6AD27ED9BD5}" type="pres">
      <dgm:prSet presAssocID="{1E3F53DD-2537-4C67-AA71-87081D444A81}" presName="space" presStyleCnt="0"/>
      <dgm:spPr/>
    </dgm:pt>
    <dgm:pt modelId="{A867F334-218F-4CA0-819D-4BE79732357D}" type="pres">
      <dgm:prSet presAssocID="{2F442204-E894-4EB6-A3FA-953074E6D5F9}" presName="composite" presStyleCnt="0"/>
      <dgm:spPr/>
    </dgm:pt>
    <dgm:pt modelId="{D2550DFF-8A71-41FD-B335-739C8BA82D9F}" type="pres">
      <dgm:prSet presAssocID="{2F442204-E894-4EB6-A3FA-953074E6D5F9}" presName="parTx" presStyleLbl="node1" presStyleIdx="4" presStyleCnt="10">
        <dgm:presLayoutVars>
          <dgm:chMax val="0"/>
          <dgm:chPref val="0"/>
          <dgm:bulletEnabled val="1"/>
        </dgm:presLayoutVars>
      </dgm:prSet>
      <dgm:spPr/>
    </dgm:pt>
    <dgm:pt modelId="{7498A5A7-3469-400E-AB63-840F9E8B383B}" type="pres">
      <dgm:prSet presAssocID="{2F442204-E894-4EB6-A3FA-953074E6D5F9}" presName="desTx" presStyleLbl="revTx" presStyleIdx="0" presStyleCnt="1">
        <dgm:presLayoutVars>
          <dgm:bulletEnabled val="1"/>
        </dgm:presLayoutVars>
      </dgm:prSet>
      <dgm:spPr/>
    </dgm:pt>
    <dgm:pt modelId="{4B783D2D-1CBB-4BA2-941C-EC9FD8E64166}" type="pres">
      <dgm:prSet presAssocID="{07F51AA8-9070-4A56-AF24-8977CF9B6A80}" presName="space" presStyleCnt="0"/>
      <dgm:spPr/>
    </dgm:pt>
    <dgm:pt modelId="{07D27D39-8600-4A66-8934-38664E9F18BF}" type="pres">
      <dgm:prSet presAssocID="{7A5D9CDD-E10F-422D-808B-815C691EF2E8}" presName="composite" presStyleCnt="0"/>
      <dgm:spPr/>
    </dgm:pt>
    <dgm:pt modelId="{7F8529BC-E330-492E-A9A4-85A5B4EDF65B}" type="pres">
      <dgm:prSet presAssocID="{7A5D9CDD-E10F-422D-808B-815C691EF2E8}" presName="parTx" presStyleLbl="node1" presStyleIdx="5" presStyleCnt="10">
        <dgm:presLayoutVars>
          <dgm:chMax val="0"/>
          <dgm:chPref val="0"/>
          <dgm:bulletEnabled val="1"/>
        </dgm:presLayoutVars>
      </dgm:prSet>
      <dgm:spPr/>
    </dgm:pt>
    <dgm:pt modelId="{1D996D85-F9E6-4F82-81F0-5809082FF65D}" type="pres">
      <dgm:prSet presAssocID="{7A5D9CDD-E10F-422D-808B-815C691EF2E8}" presName="desTx" presStyleLbl="revTx" presStyleIdx="0" presStyleCnt="1">
        <dgm:presLayoutVars>
          <dgm:bulletEnabled val="1"/>
        </dgm:presLayoutVars>
      </dgm:prSet>
      <dgm:spPr/>
    </dgm:pt>
    <dgm:pt modelId="{F9339488-9E92-46F4-B541-43B0EE2ABE1A}" type="pres">
      <dgm:prSet presAssocID="{63A1392B-D9B4-4604-ACED-CDD4B7E19D6E}" presName="space" presStyleCnt="0"/>
      <dgm:spPr/>
    </dgm:pt>
    <dgm:pt modelId="{086175FF-30EF-43CB-A158-0E4CCE90FC73}" type="pres">
      <dgm:prSet presAssocID="{56EC974B-4690-4A6A-B143-36A5A9DDDB75}" presName="composite" presStyleCnt="0"/>
      <dgm:spPr/>
    </dgm:pt>
    <dgm:pt modelId="{64BB5E67-0670-4BB3-8535-51113E73DCA3}" type="pres">
      <dgm:prSet presAssocID="{56EC974B-4690-4A6A-B143-36A5A9DDDB75}" presName="parTx" presStyleLbl="node1" presStyleIdx="6" presStyleCnt="10">
        <dgm:presLayoutVars>
          <dgm:chMax val="0"/>
          <dgm:chPref val="0"/>
          <dgm:bulletEnabled val="1"/>
        </dgm:presLayoutVars>
      </dgm:prSet>
      <dgm:spPr/>
    </dgm:pt>
    <dgm:pt modelId="{BA82DF2C-A7E0-42BA-8E91-AB7F26E053FE}" type="pres">
      <dgm:prSet presAssocID="{56EC974B-4690-4A6A-B143-36A5A9DDDB75}" presName="desTx" presStyleLbl="revTx" presStyleIdx="0" presStyleCnt="1">
        <dgm:presLayoutVars>
          <dgm:bulletEnabled val="1"/>
        </dgm:presLayoutVars>
      </dgm:prSet>
      <dgm:spPr/>
    </dgm:pt>
    <dgm:pt modelId="{BA5EA91F-7651-4F0D-A330-7F9521A45049}" type="pres">
      <dgm:prSet presAssocID="{57612FAC-3D38-4A5A-9D54-8452999285F4}" presName="space" presStyleCnt="0"/>
      <dgm:spPr/>
    </dgm:pt>
    <dgm:pt modelId="{12E9865F-12F3-4E92-B40B-EB71524012BC}" type="pres">
      <dgm:prSet presAssocID="{A07A8528-D240-4AAE-BA81-005F6AD457F1}" presName="composite" presStyleCnt="0"/>
      <dgm:spPr/>
    </dgm:pt>
    <dgm:pt modelId="{15CC3617-00D3-4DE6-9B7C-73B0D91CB6A9}" type="pres">
      <dgm:prSet presAssocID="{A07A8528-D240-4AAE-BA81-005F6AD457F1}" presName="parTx" presStyleLbl="node1" presStyleIdx="7" presStyleCnt="10">
        <dgm:presLayoutVars>
          <dgm:chMax val="0"/>
          <dgm:chPref val="0"/>
          <dgm:bulletEnabled val="1"/>
        </dgm:presLayoutVars>
      </dgm:prSet>
      <dgm:spPr/>
    </dgm:pt>
    <dgm:pt modelId="{DB7EB305-1E7A-4C51-97E3-B90DE4D0F534}" type="pres">
      <dgm:prSet presAssocID="{A07A8528-D240-4AAE-BA81-005F6AD457F1}" presName="desTx" presStyleLbl="revTx" presStyleIdx="0" presStyleCnt="1">
        <dgm:presLayoutVars>
          <dgm:bulletEnabled val="1"/>
        </dgm:presLayoutVars>
      </dgm:prSet>
      <dgm:spPr/>
    </dgm:pt>
    <dgm:pt modelId="{81EC4F6B-0A53-43F1-9D3E-DCFE84CFCE49}" type="pres">
      <dgm:prSet presAssocID="{7D0C416E-0310-43FE-A0D6-735CD62199B6}" presName="space" presStyleCnt="0"/>
      <dgm:spPr/>
    </dgm:pt>
    <dgm:pt modelId="{4B595BE9-8766-4C7C-880A-A80BAAF849CD}" type="pres">
      <dgm:prSet presAssocID="{5805825E-3BC3-4961-910E-96065463977D}" presName="composite" presStyleCnt="0"/>
      <dgm:spPr/>
    </dgm:pt>
    <dgm:pt modelId="{E42F589E-6631-42F1-A434-EB9BFC00C129}" type="pres">
      <dgm:prSet presAssocID="{5805825E-3BC3-4961-910E-96065463977D}" presName="parTx" presStyleLbl="node1" presStyleIdx="8" presStyleCnt="10">
        <dgm:presLayoutVars>
          <dgm:chMax val="0"/>
          <dgm:chPref val="0"/>
          <dgm:bulletEnabled val="1"/>
        </dgm:presLayoutVars>
      </dgm:prSet>
      <dgm:spPr/>
    </dgm:pt>
    <dgm:pt modelId="{F883C1BF-A3FE-43BF-9D52-4F40F37DDEA1}" type="pres">
      <dgm:prSet presAssocID="{5805825E-3BC3-4961-910E-96065463977D}" presName="desTx" presStyleLbl="revTx" presStyleIdx="0" presStyleCnt="1">
        <dgm:presLayoutVars>
          <dgm:bulletEnabled val="1"/>
        </dgm:presLayoutVars>
      </dgm:prSet>
      <dgm:spPr/>
    </dgm:pt>
    <dgm:pt modelId="{E8FDC4BD-268C-444C-8D06-0E125426BE2F}" type="pres">
      <dgm:prSet presAssocID="{B58F1702-0059-4F53-9A60-77242457BBFA}" presName="space" presStyleCnt="0"/>
      <dgm:spPr/>
    </dgm:pt>
    <dgm:pt modelId="{0DB85FE3-A0B9-41A1-AEA3-36E4E63078A6}" type="pres">
      <dgm:prSet presAssocID="{2D51EAF0-C497-40E9-996D-2D0BC40F318C}" presName="composite" presStyleCnt="0"/>
      <dgm:spPr/>
    </dgm:pt>
    <dgm:pt modelId="{3724937C-EC74-4482-9E71-5AB7879CEACB}" type="pres">
      <dgm:prSet presAssocID="{2D51EAF0-C497-40E9-996D-2D0BC40F318C}" presName="parTx" presStyleLbl="node1" presStyleIdx="9" presStyleCnt="10">
        <dgm:presLayoutVars>
          <dgm:chMax val="0"/>
          <dgm:chPref val="0"/>
          <dgm:bulletEnabled val="1"/>
        </dgm:presLayoutVars>
      </dgm:prSet>
      <dgm:spPr/>
    </dgm:pt>
    <dgm:pt modelId="{CE1BF28D-E2B5-4EDC-B5BC-BF96DFAEA255}" type="pres">
      <dgm:prSet presAssocID="{2D51EAF0-C497-40E9-996D-2D0BC40F318C}" presName="desTx" presStyleLbl="revTx" presStyleIdx="0" presStyleCnt="1">
        <dgm:presLayoutVars>
          <dgm:bulletEnabled val="1"/>
        </dgm:presLayoutVars>
      </dgm:prSet>
      <dgm:spPr/>
    </dgm:pt>
  </dgm:ptLst>
  <dgm:cxnLst>
    <dgm:cxn modelId="{F8EA3703-CEE5-4162-AB46-CFFF8AC28B48}" srcId="{C782CD9B-2B4B-48D2-BF13-2B0D6056B78A}" destId="{B754C885-66E5-4615-BD33-B6EE917A035D}" srcOrd="1" destOrd="0" parTransId="{65812F9F-DD0E-4752-BF8B-D07282594751}" sibTransId="{79AAED35-18A8-4347-A2B8-6AAE8B34BA56}"/>
    <dgm:cxn modelId="{361B550C-F0B7-41BF-98B3-673EB9A3C500}" type="presOf" srcId="{9225496C-39D8-4F53-8BB5-1B069B40EB3E}" destId="{E74D7A4A-73C2-43FA-824A-4BA72478203F}" srcOrd="0" destOrd="0" presId="urn:microsoft.com/office/officeart/2005/8/layout/chevron1"/>
    <dgm:cxn modelId="{7BC9B318-E7A6-41F3-853C-1D1DFB2050EF}" srcId="{C782CD9B-2B4B-48D2-BF13-2B0D6056B78A}" destId="{2D51EAF0-C497-40E9-996D-2D0BC40F318C}" srcOrd="9" destOrd="0" parTransId="{43C509B8-DD3A-429A-ADC4-232D55259B3D}" sibTransId="{66A12237-9546-42D0-81C0-2C324670B743}"/>
    <dgm:cxn modelId="{7C362B1B-35EE-49BD-BC2E-203C6B87B6C3}" type="presOf" srcId="{DFCF748E-4FA2-4C04-B1DF-85DA1021BE5D}" destId="{2763F6D0-FDDE-4CA1-AD92-DB96E5135F54}" srcOrd="0" destOrd="0" presId="urn:microsoft.com/office/officeart/2005/8/layout/chevron1"/>
    <dgm:cxn modelId="{4C2CBB24-77CF-4AA8-99D6-6EABE5BAFA02}" type="presOf" srcId="{F647B10F-EAE0-4F41-8E04-352654413B5C}" destId="{F883C1BF-A3FE-43BF-9D52-4F40F37DDEA1}" srcOrd="0" destOrd="0" presId="urn:microsoft.com/office/officeart/2005/8/layout/chevron1"/>
    <dgm:cxn modelId="{94A2B45D-2D69-4650-AFC3-C5574217F910}" srcId="{C782CD9B-2B4B-48D2-BF13-2B0D6056B78A}" destId="{9225496C-39D8-4F53-8BB5-1B069B40EB3E}" srcOrd="3" destOrd="0" parTransId="{D3A21DFB-000A-4FCE-9E9D-8516EBA4DD45}" sibTransId="{1E3F53DD-2537-4C67-AA71-87081D444A81}"/>
    <dgm:cxn modelId="{6FD2AE64-BDEB-482D-ACF3-1D5403180A1E}" srcId="{C782CD9B-2B4B-48D2-BF13-2B0D6056B78A}" destId="{2F442204-E894-4EB6-A3FA-953074E6D5F9}" srcOrd="4" destOrd="0" parTransId="{9E6A019B-6886-407A-A3BB-1A2A8D416818}" sibTransId="{07F51AA8-9070-4A56-AF24-8977CF9B6A80}"/>
    <dgm:cxn modelId="{3CE99149-7FA1-4B48-96E1-743274E3CAED}" type="presOf" srcId="{7A5D9CDD-E10F-422D-808B-815C691EF2E8}" destId="{7F8529BC-E330-492E-A9A4-85A5B4EDF65B}" srcOrd="0" destOrd="0" presId="urn:microsoft.com/office/officeart/2005/8/layout/chevron1"/>
    <dgm:cxn modelId="{5298B54A-F5E5-4081-9003-35905E00BEFA}" type="presOf" srcId="{C782CD9B-2B4B-48D2-BF13-2B0D6056B78A}" destId="{2069E263-CA68-447A-859F-7068DC9AF2B6}" srcOrd="0" destOrd="0" presId="urn:microsoft.com/office/officeart/2005/8/layout/chevron1"/>
    <dgm:cxn modelId="{A3CD3B51-B05F-48D3-A512-DF3355C4F204}" type="presOf" srcId="{2F442204-E894-4EB6-A3FA-953074E6D5F9}" destId="{D2550DFF-8A71-41FD-B335-739C8BA82D9F}" srcOrd="0" destOrd="0" presId="urn:microsoft.com/office/officeart/2005/8/layout/chevron1"/>
    <dgm:cxn modelId="{AAC1DC58-0C9E-4A74-9DEE-B0B377A3017D}" type="presOf" srcId="{2D51EAF0-C497-40E9-996D-2D0BC40F318C}" destId="{3724937C-EC74-4482-9E71-5AB7879CEACB}" srcOrd="0" destOrd="0" presId="urn:microsoft.com/office/officeart/2005/8/layout/chevron1"/>
    <dgm:cxn modelId="{BEDD267B-EA80-4783-A782-86B96AAC5B03}" srcId="{C782CD9B-2B4B-48D2-BF13-2B0D6056B78A}" destId="{7A5D9CDD-E10F-422D-808B-815C691EF2E8}" srcOrd="5" destOrd="0" parTransId="{089AE963-8402-4F38-908B-1CA814F78766}" sibTransId="{63A1392B-D9B4-4604-ACED-CDD4B7E19D6E}"/>
    <dgm:cxn modelId="{5C7E169D-E481-4764-9EC1-514748F53698}" type="presOf" srcId="{56EC974B-4690-4A6A-B143-36A5A9DDDB75}" destId="{64BB5E67-0670-4BB3-8535-51113E73DCA3}" srcOrd="0" destOrd="0" presId="urn:microsoft.com/office/officeart/2005/8/layout/chevron1"/>
    <dgm:cxn modelId="{92751D9D-02E3-45C2-978C-737085227C42}" srcId="{C782CD9B-2B4B-48D2-BF13-2B0D6056B78A}" destId="{DFCF748E-4FA2-4C04-B1DF-85DA1021BE5D}" srcOrd="0" destOrd="0" parTransId="{7DAF1956-B700-4203-9672-92E4451DCC31}" sibTransId="{A0ED7260-8442-4FBF-80B4-500E49A4F3AF}"/>
    <dgm:cxn modelId="{FE5FBCA8-5D6F-44E5-8DFA-D24300AECCE8}" srcId="{C782CD9B-2B4B-48D2-BF13-2B0D6056B78A}" destId="{56EC974B-4690-4A6A-B143-36A5A9DDDB75}" srcOrd="6" destOrd="0" parTransId="{F24B2512-EFC3-4494-92F8-F4C2A580DD56}" sibTransId="{57612FAC-3D38-4A5A-9D54-8452999285F4}"/>
    <dgm:cxn modelId="{6D1EAFC9-BD8D-4D92-B817-D46938CE8C9C}" type="presOf" srcId="{5805825E-3BC3-4961-910E-96065463977D}" destId="{E42F589E-6631-42F1-A434-EB9BFC00C129}" srcOrd="0" destOrd="0" presId="urn:microsoft.com/office/officeart/2005/8/layout/chevron1"/>
    <dgm:cxn modelId="{0FF119CD-5E02-4AB6-9F30-07D7CB015DA2}" type="presOf" srcId="{72FFD339-6A5F-4ED7-B529-6155AF8C35BB}" destId="{4AD6D448-4CC0-4315-A093-B9CE4EFAE2AC}" srcOrd="0" destOrd="0" presId="urn:microsoft.com/office/officeart/2005/8/layout/chevron1"/>
    <dgm:cxn modelId="{574E61D1-E1F5-4BDC-8306-6A20315F04DE}" srcId="{5805825E-3BC3-4961-910E-96065463977D}" destId="{F647B10F-EAE0-4F41-8E04-352654413B5C}" srcOrd="0" destOrd="0" parTransId="{B824E2BF-99FF-4441-998F-2F60EDE478D5}" sibTransId="{D3471309-8ADE-4768-921E-7AFA41A86BFC}"/>
    <dgm:cxn modelId="{0D34DDE0-62A1-44E3-9937-024374362613}" type="presOf" srcId="{A07A8528-D240-4AAE-BA81-005F6AD457F1}" destId="{15CC3617-00D3-4DE6-9B7C-73B0D91CB6A9}" srcOrd="0" destOrd="0" presId="urn:microsoft.com/office/officeart/2005/8/layout/chevron1"/>
    <dgm:cxn modelId="{D6C89AE1-00A8-492D-888B-1E3DDC006D86}" srcId="{C782CD9B-2B4B-48D2-BF13-2B0D6056B78A}" destId="{5805825E-3BC3-4961-910E-96065463977D}" srcOrd="8" destOrd="0" parTransId="{263FA899-3C2D-4809-A47A-DB65911293C7}" sibTransId="{B58F1702-0059-4F53-9A60-77242457BBFA}"/>
    <dgm:cxn modelId="{8E85DEEB-CB53-475A-8513-3628754C0210}" type="presOf" srcId="{B754C885-66E5-4615-BD33-B6EE917A035D}" destId="{77AB0C57-3732-4A7F-98BE-DE317F185E6C}" srcOrd="0" destOrd="0" presId="urn:microsoft.com/office/officeart/2005/8/layout/chevron1"/>
    <dgm:cxn modelId="{C381E8F4-D0AE-4AD0-B8F1-4BDFF55901DE}" srcId="{C782CD9B-2B4B-48D2-BF13-2B0D6056B78A}" destId="{72FFD339-6A5F-4ED7-B529-6155AF8C35BB}" srcOrd="2" destOrd="0" parTransId="{ECFEA23F-DCCD-42C6-8706-10917CE3C2B0}" sibTransId="{A3B7292F-5113-4C29-982F-BC1D14C7BE90}"/>
    <dgm:cxn modelId="{C9F268FB-CB20-4E78-9CDC-F035D61B7E09}" srcId="{C782CD9B-2B4B-48D2-BF13-2B0D6056B78A}" destId="{A07A8528-D240-4AAE-BA81-005F6AD457F1}" srcOrd="7" destOrd="0" parTransId="{3C15A388-1B3D-47E8-B2CB-E67F7E1AFFF1}" sibTransId="{7D0C416E-0310-43FE-A0D6-735CD62199B6}"/>
    <dgm:cxn modelId="{536F5475-6579-4AB1-812E-95C093857400}" type="presParOf" srcId="{2069E263-CA68-447A-859F-7068DC9AF2B6}" destId="{B014A20F-F8D4-4634-B213-8EDE25927C16}" srcOrd="0" destOrd="0" presId="urn:microsoft.com/office/officeart/2005/8/layout/chevron1"/>
    <dgm:cxn modelId="{42E1F648-7AC1-431A-8862-B74EFB9FE160}" type="presParOf" srcId="{B014A20F-F8D4-4634-B213-8EDE25927C16}" destId="{2763F6D0-FDDE-4CA1-AD92-DB96E5135F54}" srcOrd="0" destOrd="0" presId="urn:microsoft.com/office/officeart/2005/8/layout/chevron1"/>
    <dgm:cxn modelId="{61021A54-D94C-4A1B-8214-BB0A23BC01D2}" type="presParOf" srcId="{B014A20F-F8D4-4634-B213-8EDE25927C16}" destId="{1FDBE215-54FC-4E50-AA35-0F93F2176D94}" srcOrd="1" destOrd="0" presId="urn:microsoft.com/office/officeart/2005/8/layout/chevron1"/>
    <dgm:cxn modelId="{98EC0A28-9E6C-4528-A0AD-0514E03DAB91}" type="presParOf" srcId="{2069E263-CA68-447A-859F-7068DC9AF2B6}" destId="{8E5DAA18-950D-4280-899B-AF93A748A40D}" srcOrd="1" destOrd="0" presId="urn:microsoft.com/office/officeart/2005/8/layout/chevron1"/>
    <dgm:cxn modelId="{B0426EB2-4542-4ED7-A2A3-13CCB5A3A0D6}" type="presParOf" srcId="{2069E263-CA68-447A-859F-7068DC9AF2B6}" destId="{E1BB1CF0-7FBC-4798-9323-73C4F7CC9C62}" srcOrd="2" destOrd="0" presId="urn:microsoft.com/office/officeart/2005/8/layout/chevron1"/>
    <dgm:cxn modelId="{E427F980-89CA-4632-8822-EBEE0704158A}" type="presParOf" srcId="{E1BB1CF0-7FBC-4798-9323-73C4F7CC9C62}" destId="{77AB0C57-3732-4A7F-98BE-DE317F185E6C}" srcOrd="0" destOrd="0" presId="urn:microsoft.com/office/officeart/2005/8/layout/chevron1"/>
    <dgm:cxn modelId="{81767C75-7CEE-4933-87A2-5C6A735C5DD2}" type="presParOf" srcId="{E1BB1CF0-7FBC-4798-9323-73C4F7CC9C62}" destId="{D404F352-4669-4921-A885-9A65333A8849}" srcOrd="1" destOrd="0" presId="urn:microsoft.com/office/officeart/2005/8/layout/chevron1"/>
    <dgm:cxn modelId="{7A8AC6BF-A294-4F52-BB1B-7F22B13AEF53}" type="presParOf" srcId="{2069E263-CA68-447A-859F-7068DC9AF2B6}" destId="{652222DD-6B83-4984-A2CB-AFC49EBF1201}" srcOrd="3" destOrd="0" presId="urn:microsoft.com/office/officeart/2005/8/layout/chevron1"/>
    <dgm:cxn modelId="{679C75BD-E8CF-471E-8A25-C87E062052A8}" type="presParOf" srcId="{2069E263-CA68-447A-859F-7068DC9AF2B6}" destId="{7BBACE36-6E6A-4583-BE8A-FF4AFBA2DED4}" srcOrd="4" destOrd="0" presId="urn:microsoft.com/office/officeart/2005/8/layout/chevron1"/>
    <dgm:cxn modelId="{8CB31127-EA9F-4596-BC1E-41017B58EA3F}" type="presParOf" srcId="{7BBACE36-6E6A-4583-BE8A-FF4AFBA2DED4}" destId="{4AD6D448-4CC0-4315-A093-B9CE4EFAE2AC}" srcOrd="0" destOrd="0" presId="urn:microsoft.com/office/officeart/2005/8/layout/chevron1"/>
    <dgm:cxn modelId="{D0E167C4-DDB3-47BE-B408-272A820B8131}" type="presParOf" srcId="{7BBACE36-6E6A-4583-BE8A-FF4AFBA2DED4}" destId="{DDA49AB9-8E30-494C-B7AD-5D837E47ED84}" srcOrd="1" destOrd="0" presId="urn:microsoft.com/office/officeart/2005/8/layout/chevron1"/>
    <dgm:cxn modelId="{9E410A9D-0DEA-4FB5-AB0F-1F4ECCBEA6C9}" type="presParOf" srcId="{2069E263-CA68-447A-859F-7068DC9AF2B6}" destId="{40B2A213-F41D-4FF4-B7EE-EE2725EE45E1}" srcOrd="5" destOrd="0" presId="urn:microsoft.com/office/officeart/2005/8/layout/chevron1"/>
    <dgm:cxn modelId="{42666BDE-0FC0-4151-A4F8-2083806A1CB4}" type="presParOf" srcId="{2069E263-CA68-447A-859F-7068DC9AF2B6}" destId="{767FFDEC-573C-4880-9092-95E7AA1D2603}" srcOrd="6" destOrd="0" presId="urn:microsoft.com/office/officeart/2005/8/layout/chevron1"/>
    <dgm:cxn modelId="{F7966FA6-540B-4B50-A98B-C71301DC51C1}" type="presParOf" srcId="{767FFDEC-573C-4880-9092-95E7AA1D2603}" destId="{E74D7A4A-73C2-43FA-824A-4BA72478203F}" srcOrd="0" destOrd="0" presId="urn:microsoft.com/office/officeart/2005/8/layout/chevron1"/>
    <dgm:cxn modelId="{4CB1C8E4-ACEE-4DFC-A7AE-68F15D5E7900}" type="presParOf" srcId="{767FFDEC-573C-4880-9092-95E7AA1D2603}" destId="{2AFD2A7A-21F5-4D0F-A3B7-E9DED32F3331}" srcOrd="1" destOrd="0" presId="urn:microsoft.com/office/officeart/2005/8/layout/chevron1"/>
    <dgm:cxn modelId="{789C3B04-3462-40FA-BCF7-BD5A8038D6CE}" type="presParOf" srcId="{2069E263-CA68-447A-859F-7068DC9AF2B6}" destId="{05F7048B-DABE-4B40-95CF-B6AD27ED9BD5}" srcOrd="7" destOrd="0" presId="urn:microsoft.com/office/officeart/2005/8/layout/chevron1"/>
    <dgm:cxn modelId="{FD56E3E1-2AE9-4B27-905D-1CE2C6DCBBA8}" type="presParOf" srcId="{2069E263-CA68-447A-859F-7068DC9AF2B6}" destId="{A867F334-218F-4CA0-819D-4BE79732357D}" srcOrd="8" destOrd="0" presId="urn:microsoft.com/office/officeart/2005/8/layout/chevron1"/>
    <dgm:cxn modelId="{7C829597-31D2-4D42-BBD0-D27BA619EEBB}" type="presParOf" srcId="{A867F334-218F-4CA0-819D-4BE79732357D}" destId="{D2550DFF-8A71-41FD-B335-739C8BA82D9F}" srcOrd="0" destOrd="0" presId="urn:microsoft.com/office/officeart/2005/8/layout/chevron1"/>
    <dgm:cxn modelId="{995B3532-4ED4-40C1-BAB7-972F93C173A8}" type="presParOf" srcId="{A867F334-218F-4CA0-819D-4BE79732357D}" destId="{7498A5A7-3469-400E-AB63-840F9E8B383B}" srcOrd="1" destOrd="0" presId="urn:microsoft.com/office/officeart/2005/8/layout/chevron1"/>
    <dgm:cxn modelId="{AFB8642F-5630-415B-86A7-3E152D081709}" type="presParOf" srcId="{2069E263-CA68-447A-859F-7068DC9AF2B6}" destId="{4B783D2D-1CBB-4BA2-941C-EC9FD8E64166}" srcOrd="9" destOrd="0" presId="urn:microsoft.com/office/officeart/2005/8/layout/chevron1"/>
    <dgm:cxn modelId="{27C8C3CA-D7C4-4729-BD33-C6E78914ED22}" type="presParOf" srcId="{2069E263-CA68-447A-859F-7068DC9AF2B6}" destId="{07D27D39-8600-4A66-8934-38664E9F18BF}" srcOrd="10" destOrd="0" presId="urn:microsoft.com/office/officeart/2005/8/layout/chevron1"/>
    <dgm:cxn modelId="{B898AFF1-01F7-49DE-A0AF-7C5998F10AAB}" type="presParOf" srcId="{07D27D39-8600-4A66-8934-38664E9F18BF}" destId="{7F8529BC-E330-492E-A9A4-85A5B4EDF65B}" srcOrd="0" destOrd="0" presId="urn:microsoft.com/office/officeart/2005/8/layout/chevron1"/>
    <dgm:cxn modelId="{A027CEE3-9241-4D82-93EA-3FF38C312EDD}" type="presParOf" srcId="{07D27D39-8600-4A66-8934-38664E9F18BF}" destId="{1D996D85-F9E6-4F82-81F0-5809082FF65D}" srcOrd="1" destOrd="0" presId="urn:microsoft.com/office/officeart/2005/8/layout/chevron1"/>
    <dgm:cxn modelId="{3444CC5C-D6F7-44B1-9E61-29A30149067F}" type="presParOf" srcId="{2069E263-CA68-447A-859F-7068DC9AF2B6}" destId="{F9339488-9E92-46F4-B541-43B0EE2ABE1A}" srcOrd="11" destOrd="0" presId="urn:microsoft.com/office/officeart/2005/8/layout/chevron1"/>
    <dgm:cxn modelId="{374C9770-6985-4589-8C05-E814D38716DD}" type="presParOf" srcId="{2069E263-CA68-447A-859F-7068DC9AF2B6}" destId="{086175FF-30EF-43CB-A158-0E4CCE90FC73}" srcOrd="12" destOrd="0" presId="urn:microsoft.com/office/officeart/2005/8/layout/chevron1"/>
    <dgm:cxn modelId="{D84CE0ED-A532-4E2A-B702-BCC4FC8B67ED}" type="presParOf" srcId="{086175FF-30EF-43CB-A158-0E4CCE90FC73}" destId="{64BB5E67-0670-4BB3-8535-51113E73DCA3}" srcOrd="0" destOrd="0" presId="urn:microsoft.com/office/officeart/2005/8/layout/chevron1"/>
    <dgm:cxn modelId="{D77BAF04-128F-49A4-A61C-48DD710071F1}" type="presParOf" srcId="{086175FF-30EF-43CB-A158-0E4CCE90FC73}" destId="{BA82DF2C-A7E0-42BA-8E91-AB7F26E053FE}" srcOrd="1" destOrd="0" presId="urn:microsoft.com/office/officeart/2005/8/layout/chevron1"/>
    <dgm:cxn modelId="{8490DD62-90D9-4B02-98D4-EF8C38614B76}" type="presParOf" srcId="{2069E263-CA68-447A-859F-7068DC9AF2B6}" destId="{BA5EA91F-7651-4F0D-A330-7F9521A45049}" srcOrd="13" destOrd="0" presId="urn:microsoft.com/office/officeart/2005/8/layout/chevron1"/>
    <dgm:cxn modelId="{693E0F04-4922-4E00-880B-48143623DE7C}" type="presParOf" srcId="{2069E263-CA68-447A-859F-7068DC9AF2B6}" destId="{12E9865F-12F3-4E92-B40B-EB71524012BC}" srcOrd="14" destOrd="0" presId="urn:microsoft.com/office/officeart/2005/8/layout/chevron1"/>
    <dgm:cxn modelId="{7C539D86-EE03-4B55-8534-89E29478D87D}" type="presParOf" srcId="{12E9865F-12F3-4E92-B40B-EB71524012BC}" destId="{15CC3617-00D3-4DE6-9B7C-73B0D91CB6A9}" srcOrd="0" destOrd="0" presId="urn:microsoft.com/office/officeart/2005/8/layout/chevron1"/>
    <dgm:cxn modelId="{FCA663F1-15DC-47C4-92DB-395F0A6FF6E8}" type="presParOf" srcId="{12E9865F-12F3-4E92-B40B-EB71524012BC}" destId="{DB7EB305-1E7A-4C51-97E3-B90DE4D0F534}" srcOrd="1" destOrd="0" presId="urn:microsoft.com/office/officeart/2005/8/layout/chevron1"/>
    <dgm:cxn modelId="{A6ECA829-E47D-40B9-BEAF-10B5C4E5C08C}" type="presParOf" srcId="{2069E263-CA68-447A-859F-7068DC9AF2B6}" destId="{81EC4F6B-0A53-43F1-9D3E-DCFE84CFCE49}" srcOrd="15" destOrd="0" presId="urn:microsoft.com/office/officeart/2005/8/layout/chevron1"/>
    <dgm:cxn modelId="{CBA525A4-B556-4D5B-AF0B-DDC4AF9767F6}" type="presParOf" srcId="{2069E263-CA68-447A-859F-7068DC9AF2B6}" destId="{4B595BE9-8766-4C7C-880A-A80BAAF849CD}" srcOrd="16" destOrd="0" presId="urn:microsoft.com/office/officeart/2005/8/layout/chevron1"/>
    <dgm:cxn modelId="{418E80F5-C138-4C04-830C-83688FD1ABB7}" type="presParOf" srcId="{4B595BE9-8766-4C7C-880A-A80BAAF849CD}" destId="{E42F589E-6631-42F1-A434-EB9BFC00C129}" srcOrd="0" destOrd="0" presId="urn:microsoft.com/office/officeart/2005/8/layout/chevron1"/>
    <dgm:cxn modelId="{D636767D-94A3-4CA1-AA50-E25C0EC1D5AF}" type="presParOf" srcId="{4B595BE9-8766-4C7C-880A-A80BAAF849CD}" destId="{F883C1BF-A3FE-43BF-9D52-4F40F37DDEA1}" srcOrd="1" destOrd="0" presId="urn:microsoft.com/office/officeart/2005/8/layout/chevron1"/>
    <dgm:cxn modelId="{9E47DFAE-A8B2-462A-9760-1D365AC081CC}" type="presParOf" srcId="{2069E263-CA68-447A-859F-7068DC9AF2B6}" destId="{E8FDC4BD-268C-444C-8D06-0E125426BE2F}" srcOrd="17" destOrd="0" presId="urn:microsoft.com/office/officeart/2005/8/layout/chevron1"/>
    <dgm:cxn modelId="{7F4E66CF-5CF4-4C6A-A536-3C1005889ADF}" type="presParOf" srcId="{2069E263-CA68-447A-859F-7068DC9AF2B6}" destId="{0DB85FE3-A0B9-41A1-AEA3-36E4E63078A6}" srcOrd="18" destOrd="0" presId="urn:microsoft.com/office/officeart/2005/8/layout/chevron1"/>
    <dgm:cxn modelId="{28613D05-524B-4D1E-9E17-E0187DA19F73}" type="presParOf" srcId="{0DB85FE3-A0B9-41A1-AEA3-36E4E63078A6}" destId="{3724937C-EC74-4482-9E71-5AB7879CEACB}" srcOrd="0" destOrd="0" presId="urn:microsoft.com/office/officeart/2005/8/layout/chevron1"/>
    <dgm:cxn modelId="{9AD2E44C-DF50-4BF0-97C3-2A81C28F8935}" type="presParOf" srcId="{0DB85FE3-A0B9-41A1-AEA3-36E4E63078A6}" destId="{CE1BF28D-E2B5-4EDC-B5BC-BF96DFAEA255}" srcOrd="1" destOrd="0" presId="urn:microsoft.com/office/officeart/2005/8/layout/chevron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31.xml><?xml version="1.0" encoding="utf-8"?>
<dgm:dataModel xmlns:dgm="http://schemas.openxmlformats.org/drawingml/2006/diagram" xmlns:a="http://schemas.openxmlformats.org/drawingml/2006/main">
  <dgm:ptLst>
    <dgm:pt modelId="{C782CD9B-2B4B-48D2-BF13-2B0D6056B78A}"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it-IT"/>
        </a:p>
      </dgm:t>
    </dgm:pt>
    <dgm:pt modelId="{DFCF748E-4FA2-4C04-B1DF-85DA1021BE5D}">
      <dgm:prSet phldrT="[Testo]"/>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Rete viaria complessiva</a:t>
          </a:r>
        </a:p>
      </dgm:t>
    </dgm:pt>
    <dgm:pt modelId="{7DAF1956-B700-4203-9672-92E4451DCC31}" type="parTrans" cxnId="{92751D9D-02E3-45C2-978C-737085227C42}">
      <dgm:prSet/>
      <dgm:spPr/>
      <dgm:t>
        <a:bodyPr/>
        <a:lstStyle/>
        <a:p>
          <a:endParaRPr lang="it-IT"/>
        </a:p>
      </dgm:t>
    </dgm:pt>
    <dgm:pt modelId="{A0ED7260-8442-4FBF-80B4-500E49A4F3AF}" type="sibTrans" cxnId="{92751D9D-02E3-45C2-978C-737085227C42}">
      <dgm:prSet/>
      <dgm:spPr/>
      <dgm:t>
        <a:bodyPr/>
        <a:lstStyle/>
        <a:p>
          <a:endParaRPr lang="it-IT"/>
        </a:p>
      </dgm:t>
    </dgm:pt>
    <dgm:pt modelId="{B754C885-66E5-4615-BD33-B6EE917A035D}">
      <dgm:prSet phldrT="[Testo]"/>
      <dgm:spPr>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dgm:spPr>
      <dgm:t>
        <a:bodyPr/>
        <a:lstStyle/>
        <a:p>
          <a:r>
            <a:rPr lang="it-IT" dirty="0"/>
            <a:t>Risorse</a:t>
          </a:r>
        </a:p>
      </dgm:t>
    </dgm:pt>
    <dgm:pt modelId="{65812F9F-DD0E-4752-BF8B-D07282594751}" type="parTrans" cxnId="{F8EA3703-CEE5-4162-AB46-CFFF8AC28B48}">
      <dgm:prSet/>
      <dgm:spPr/>
      <dgm:t>
        <a:bodyPr/>
        <a:lstStyle/>
        <a:p>
          <a:endParaRPr lang="it-IT"/>
        </a:p>
      </dgm:t>
    </dgm:pt>
    <dgm:pt modelId="{79AAED35-18A8-4347-A2B8-6AAE8B34BA56}" type="sibTrans" cxnId="{F8EA3703-CEE5-4162-AB46-CFFF8AC28B48}">
      <dgm:prSet/>
      <dgm:spPr/>
      <dgm:t>
        <a:bodyPr/>
        <a:lstStyle/>
        <a:p>
          <a:endParaRPr lang="it-IT"/>
        </a:p>
      </dgm:t>
    </dgm:pt>
    <dgm:pt modelId="{9225496C-39D8-4F53-8BB5-1B069B40EB3E}">
      <dgm:prSet phldrT="[Testo]"/>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Affidamenti</a:t>
          </a:r>
        </a:p>
      </dgm:t>
    </dgm:pt>
    <dgm:pt modelId="{D3A21DFB-000A-4FCE-9E9D-8516EBA4DD45}" type="parTrans" cxnId="{94A2B45D-2D69-4650-AFC3-C5574217F910}">
      <dgm:prSet/>
      <dgm:spPr/>
      <dgm:t>
        <a:bodyPr/>
        <a:lstStyle/>
        <a:p>
          <a:endParaRPr lang="it-IT"/>
        </a:p>
      </dgm:t>
    </dgm:pt>
    <dgm:pt modelId="{1E3F53DD-2537-4C67-AA71-87081D444A81}" type="sibTrans" cxnId="{94A2B45D-2D69-4650-AFC3-C5574217F910}">
      <dgm:prSet/>
      <dgm:spPr/>
      <dgm:t>
        <a:bodyPr/>
        <a:lstStyle/>
        <a:p>
          <a:endParaRPr lang="it-IT"/>
        </a:p>
      </dgm:t>
    </dgm:pt>
    <dgm:pt modelId="{2F442204-E894-4EB6-A3FA-953074E6D5F9}">
      <dgm:prSet phldrT="[Testo]" custT="1"/>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sz="700" dirty="0"/>
            <a:t>Investimenti e Produzione</a:t>
          </a:r>
        </a:p>
        <a:p>
          <a:r>
            <a:rPr lang="it-IT" sz="700" dirty="0"/>
            <a:t>MP</a:t>
          </a:r>
        </a:p>
      </dgm:t>
    </dgm:pt>
    <dgm:pt modelId="{9E6A019B-6886-407A-A3BB-1A2A8D416818}" type="parTrans" cxnId="{6FD2AE64-BDEB-482D-ACF3-1D5403180A1E}">
      <dgm:prSet/>
      <dgm:spPr/>
      <dgm:t>
        <a:bodyPr/>
        <a:lstStyle/>
        <a:p>
          <a:endParaRPr lang="it-IT"/>
        </a:p>
      </dgm:t>
    </dgm:pt>
    <dgm:pt modelId="{07F51AA8-9070-4A56-AF24-8977CF9B6A80}" type="sibTrans" cxnId="{6FD2AE64-BDEB-482D-ACF3-1D5403180A1E}">
      <dgm:prSet/>
      <dgm:spPr/>
      <dgm:t>
        <a:bodyPr/>
        <a:lstStyle/>
        <a:p>
          <a:endParaRPr lang="it-IT"/>
        </a:p>
      </dgm:t>
    </dgm:pt>
    <dgm:pt modelId="{2D51EAF0-C497-40E9-996D-2D0BC40F318C}">
      <dgm:prSet phldrT="[Testo]"/>
      <dgm:spPr>
        <a:gradFill flip="none"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16200000" scaled="1"/>
          <a:tileRect/>
        </a:gradFill>
      </dgm:spPr>
      <dgm:t>
        <a:bodyPr/>
        <a:lstStyle/>
        <a:p>
          <a:r>
            <a:rPr lang="it-IT" dirty="0"/>
            <a:t>Pagamenti</a:t>
          </a:r>
        </a:p>
      </dgm:t>
    </dgm:pt>
    <dgm:pt modelId="{43C509B8-DD3A-429A-ADC4-232D55259B3D}" type="parTrans" cxnId="{7BC9B318-E7A6-41F3-853C-1D1DFB2050EF}">
      <dgm:prSet/>
      <dgm:spPr/>
      <dgm:t>
        <a:bodyPr/>
        <a:lstStyle/>
        <a:p>
          <a:endParaRPr lang="it-IT"/>
        </a:p>
      </dgm:t>
    </dgm:pt>
    <dgm:pt modelId="{66A12237-9546-42D0-81C0-2C324670B743}" type="sibTrans" cxnId="{7BC9B318-E7A6-41F3-853C-1D1DFB2050EF}">
      <dgm:prSet/>
      <dgm:spPr/>
      <dgm:t>
        <a:bodyPr/>
        <a:lstStyle/>
        <a:p>
          <a:endParaRPr lang="it-IT"/>
        </a:p>
      </dgm:t>
    </dgm:pt>
    <dgm:pt modelId="{72FFD339-6A5F-4ED7-B529-6155AF8C35BB}">
      <dgm:prSet/>
      <dgm:spPr>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dgm:spPr>
      <dgm:t>
        <a:bodyPr/>
        <a:lstStyle/>
        <a:p>
          <a:r>
            <a:rPr lang="it-IT" dirty="0" err="1"/>
            <a:t>soc</a:t>
          </a:r>
          <a:endParaRPr lang="it-IT" dirty="0"/>
        </a:p>
      </dgm:t>
    </dgm:pt>
    <dgm:pt modelId="{ECFEA23F-DCCD-42C6-8706-10917CE3C2B0}" type="parTrans" cxnId="{C381E8F4-D0AE-4AD0-B8F1-4BDFF55901DE}">
      <dgm:prSet/>
      <dgm:spPr/>
      <dgm:t>
        <a:bodyPr/>
        <a:lstStyle/>
        <a:p>
          <a:endParaRPr lang="it-IT"/>
        </a:p>
      </dgm:t>
    </dgm:pt>
    <dgm:pt modelId="{A3B7292F-5113-4C29-982F-BC1D14C7BE90}" type="sibTrans" cxnId="{C381E8F4-D0AE-4AD0-B8F1-4BDFF55901DE}">
      <dgm:prSet/>
      <dgm:spPr/>
      <dgm:t>
        <a:bodyPr/>
        <a:lstStyle/>
        <a:p>
          <a:endParaRPr lang="it-IT"/>
        </a:p>
      </dgm:t>
    </dgm:pt>
    <dgm:pt modelId="{A07A8528-D240-4AAE-BA81-005F6AD457F1}">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Ispezione Opere D’arte</a:t>
          </a:r>
        </a:p>
      </dgm:t>
    </dgm:pt>
    <dgm:pt modelId="{3C15A388-1B3D-47E8-B2CB-E67F7E1AFFF1}" type="parTrans" cxnId="{C9F268FB-CB20-4E78-9CDC-F035D61B7E09}">
      <dgm:prSet/>
      <dgm:spPr/>
      <dgm:t>
        <a:bodyPr/>
        <a:lstStyle/>
        <a:p>
          <a:endParaRPr lang="it-IT"/>
        </a:p>
      </dgm:t>
    </dgm:pt>
    <dgm:pt modelId="{7D0C416E-0310-43FE-A0D6-735CD62199B6}" type="sibTrans" cxnId="{C9F268FB-CB20-4E78-9CDC-F035D61B7E09}">
      <dgm:prSet/>
      <dgm:spPr/>
      <dgm:t>
        <a:bodyPr/>
        <a:lstStyle/>
        <a:p>
          <a:endParaRPr lang="it-IT"/>
        </a:p>
      </dgm:t>
    </dgm:pt>
    <dgm:pt modelId="{56EC974B-4690-4A6A-B143-36A5A9DDDB75}">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Supporto Tecnico</a:t>
          </a:r>
        </a:p>
      </dgm:t>
    </dgm:pt>
    <dgm:pt modelId="{F24B2512-EFC3-4494-92F8-F4C2A580DD56}" type="parTrans" cxnId="{FE5FBCA8-5D6F-44E5-8DFA-D24300AECCE8}">
      <dgm:prSet/>
      <dgm:spPr/>
      <dgm:t>
        <a:bodyPr/>
        <a:lstStyle/>
        <a:p>
          <a:endParaRPr lang="it-IT"/>
        </a:p>
      </dgm:t>
    </dgm:pt>
    <dgm:pt modelId="{57612FAC-3D38-4A5A-9D54-8452999285F4}" type="sibTrans" cxnId="{FE5FBCA8-5D6F-44E5-8DFA-D24300AECCE8}">
      <dgm:prSet/>
      <dgm:spPr/>
      <dgm:t>
        <a:bodyPr/>
        <a:lstStyle/>
        <a:p>
          <a:endParaRPr lang="it-IT"/>
        </a:p>
      </dgm:t>
    </dgm:pt>
    <dgm:pt modelId="{5805825E-3BC3-4961-910E-96065463977D}">
      <dgm:prSet/>
      <dgm:spPr>
        <a:solidFill>
          <a:schemeClr val="accent1"/>
        </a:solidFill>
      </dgm:spPr>
      <dgm:t>
        <a:bodyPr/>
        <a:lstStyle/>
        <a:p>
          <a:r>
            <a:rPr lang="it-IT" dirty="0"/>
            <a:t>Interventi Rilevanti</a:t>
          </a:r>
        </a:p>
      </dgm:t>
    </dgm:pt>
    <dgm:pt modelId="{263FA899-3C2D-4809-A47A-DB65911293C7}" type="parTrans" cxnId="{D6C89AE1-00A8-492D-888B-1E3DDC006D86}">
      <dgm:prSet/>
      <dgm:spPr/>
      <dgm:t>
        <a:bodyPr/>
        <a:lstStyle/>
        <a:p>
          <a:endParaRPr lang="it-IT"/>
        </a:p>
      </dgm:t>
    </dgm:pt>
    <dgm:pt modelId="{B58F1702-0059-4F53-9A60-77242457BBFA}" type="sibTrans" cxnId="{D6C89AE1-00A8-492D-888B-1E3DDC006D86}">
      <dgm:prSet/>
      <dgm:spPr/>
      <dgm:t>
        <a:bodyPr/>
        <a:lstStyle/>
        <a:p>
          <a:endParaRPr lang="it-IT"/>
        </a:p>
      </dgm:t>
    </dgm:pt>
    <dgm:pt modelId="{7A5D9CDD-E10F-422D-808B-815C691EF2E8}">
      <dgm:prSet phldrT="[Testo]" custT="1"/>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sz="700" dirty="0"/>
            <a:t>Investimenti e Produzione</a:t>
          </a:r>
        </a:p>
        <a:p>
          <a:r>
            <a:rPr lang="it-IT" sz="700" dirty="0"/>
            <a:t>NO</a:t>
          </a:r>
        </a:p>
      </dgm:t>
    </dgm:pt>
    <dgm:pt modelId="{089AE963-8402-4F38-908B-1CA814F78766}" type="parTrans" cxnId="{BEDD267B-EA80-4783-A782-86B96AAC5B03}">
      <dgm:prSet/>
      <dgm:spPr/>
      <dgm:t>
        <a:bodyPr/>
        <a:lstStyle/>
        <a:p>
          <a:endParaRPr lang="it-IT"/>
        </a:p>
      </dgm:t>
    </dgm:pt>
    <dgm:pt modelId="{63A1392B-D9B4-4604-ACED-CDD4B7E19D6E}" type="sibTrans" cxnId="{BEDD267B-EA80-4783-A782-86B96AAC5B03}">
      <dgm:prSet/>
      <dgm:spPr/>
      <dgm:t>
        <a:bodyPr/>
        <a:lstStyle/>
        <a:p>
          <a:endParaRPr lang="it-IT"/>
        </a:p>
      </dgm:t>
    </dgm:pt>
    <dgm:pt modelId="{F647B10F-EAE0-4F41-8E04-352654413B5C}">
      <dgm:prSet/>
      <dgm:spPr>
        <a:solidFill>
          <a:schemeClr val="accent1"/>
        </a:solidFill>
      </dgm:spPr>
      <dgm:t>
        <a:bodyPr/>
        <a:lstStyle/>
        <a:p>
          <a:r>
            <a:rPr lang="it-IT" dirty="0">
              <a:solidFill>
                <a:schemeClr val="bg1"/>
              </a:solidFill>
            </a:rPr>
            <a:t>Smart Road</a:t>
          </a:r>
        </a:p>
      </dgm:t>
    </dgm:pt>
    <dgm:pt modelId="{B824E2BF-99FF-4441-998F-2F60EDE478D5}" type="parTrans" cxnId="{574E61D1-E1F5-4BDC-8306-6A20315F04DE}">
      <dgm:prSet/>
      <dgm:spPr/>
      <dgm:t>
        <a:bodyPr/>
        <a:lstStyle/>
        <a:p>
          <a:endParaRPr lang="it-IT"/>
        </a:p>
      </dgm:t>
    </dgm:pt>
    <dgm:pt modelId="{D3471309-8ADE-4768-921E-7AFA41A86BFC}" type="sibTrans" cxnId="{574E61D1-E1F5-4BDC-8306-6A20315F04DE}">
      <dgm:prSet/>
      <dgm:spPr/>
      <dgm:t>
        <a:bodyPr/>
        <a:lstStyle/>
        <a:p>
          <a:endParaRPr lang="it-IT"/>
        </a:p>
      </dgm:t>
    </dgm:pt>
    <dgm:pt modelId="{2069E263-CA68-447A-859F-7068DC9AF2B6}" type="pres">
      <dgm:prSet presAssocID="{C782CD9B-2B4B-48D2-BF13-2B0D6056B78A}" presName="Name0" presStyleCnt="0">
        <dgm:presLayoutVars>
          <dgm:dir/>
          <dgm:animLvl val="lvl"/>
          <dgm:resizeHandles val="exact"/>
        </dgm:presLayoutVars>
      </dgm:prSet>
      <dgm:spPr/>
    </dgm:pt>
    <dgm:pt modelId="{B014A20F-F8D4-4634-B213-8EDE25927C16}" type="pres">
      <dgm:prSet presAssocID="{DFCF748E-4FA2-4C04-B1DF-85DA1021BE5D}" presName="composite" presStyleCnt="0"/>
      <dgm:spPr/>
    </dgm:pt>
    <dgm:pt modelId="{2763F6D0-FDDE-4CA1-AD92-DB96E5135F54}" type="pres">
      <dgm:prSet presAssocID="{DFCF748E-4FA2-4C04-B1DF-85DA1021BE5D}" presName="parTx" presStyleLbl="node1" presStyleIdx="0" presStyleCnt="10">
        <dgm:presLayoutVars>
          <dgm:chMax val="0"/>
          <dgm:chPref val="0"/>
          <dgm:bulletEnabled val="1"/>
        </dgm:presLayoutVars>
      </dgm:prSet>
      <dgm:spPr/>
    </dgm:pt>
    <dgm:pt modelId="{1FDBE215-54FC-4E50-AA35-0F93F2176D94}" type="pres">
      <dgm:prSet presAssocID="{DFCF748E-4FA2-4C04-B1DF-85DA1021BE5D}" presName="desTx" presStyleLbl="revTx" presStyleIdx="0" presStyleCnt="1">
        <dgm:presLayoutVars>
          <dgm:bulletEnabled val="1"/>
        </dgm:presLayoutVars>
      </dgm:prSet>
      <dgm:spPr/>
    </dgm:pt>
    <dgm:pt modelId="{8E5DAA18-950D-4280-899B-AF93A748A40D}" type="pres">
      <dgm:prSet presAssocID="{A0ED7260-8442-4FBF-80B4-500E49A4F3AF}" presName="space" presStyleCnt="0"/>
      <dgm:spPr/>
    </dgm:pt>
    <dgm:pt modelId="{E1BB1CF0-7FBC-4798-9323-73C4F7CC9C62}" type="pres">
      <dgm:prSet presAssocID="{B754C885-66E5-4615-BD33-B6EE917A035D}" presName="composite" presStyleCnt="0"/>
      <dgm:spPr/>
    </dgm:pt>
    <dgm:pt modelId="{77AB0C57-3732-4A7F-98BE-DE317F185E6C}" type="pres">
      <dgm:prSet presAssocID="{B754C885-66E5-4615-BD33-B6EE917A035D}" presName="parTx" presStyleLbl="node1" presStyleIdx="1" presStyleCnt="10">
        <dgm:presLayoutVars>
          <dgm:chMax val="0"/>
          <dgm:chPref val="0"/>
          <dgm:bulletEnabled val="1"/>
        </dgm:presLayoutVars>
      </dgm:prSet>
      <dgm:spPr/>
    </dgm:pt>
    <dgm:pt modelId="{D404F352-4669-4921-A885-9A65333A8849}" type="pres">
      <dgm:prSet presAssocID="{B754C885-66E5-4615-BD33-B6EE917A035D}" presName="desTx" presStyleLbl="revTx" presStyleIdx="0" presStyleCnt="1">
        <dgm:presLayoutVars>
          <dgm:bulletEnabled val="1"/>
        </dgm:presLayoutVars>
      </dgm:prSet>
      <dgm:spPr/>
    </dgm:pt>
    <dgm:pt modelId="{652222DD-6B83-4984-A2CB-AFC49EBF1201}" type="pres">
      <dgm:prSet presAssocID="{79AAED35-18A8-4347-A2B8-6AAE8B34BA56}" presName="space" presStyleCnt="0"/>
      <dgm:spPr/>
    </dgm:pt>
    <dgm:pt modelId="{7BBACE36-6E6A-4583-BE8A-FF4AFBA2DED4}" type="pres">
      <dgm:prSet presAssocID="{72FFD339-6A5F-4ED7-B529-6155AF8C35BB}" presName="composite" presStyleCnt="0"/>
      <dgm:spPr/>
    </dgm:pt>
    <dgm:pt modelId="{4AD6D448-4CC0-4315-A093-B9CE4EFAE2AC}" type="pres">
      <dgm:prSet presAssocID="{72FFD339-6A5F-4ED7-B529-6155AF8C35BB}" presName="parTx" presStyleLbl="node1" presStyleIdx="2" presStyleCnt="10">
        <dgm:presLayoutVars>
          <dgm:chMax val="0"/>
          <dgm:chPref val="0"/>
          <dgm:bulletEnabled val="1"/>
        </dgm:presLayoutVars>
      </dgm:prSet>
      <dgm:spPr/>
    </dgm:pt>
    <dgm:pt modelId="{DDA49AB9-8E30-494C-B7AD-5D837E47ED84}" type="pres">
      <dgm:prSet presAssocID="{72FFD339-6A5F-4ED7-B529-6155AF8C35BB}" presName="desTx" presStyleLbl="revTx" presStyleIdx="0" presStyleCnt="1">
        <dgm:presLayoutVars>
          <dgm:bulletEnabled val="1"/>
        </dgm:presLayoutVars>
      </dgm:prSet>
      <dgm:spPr/>
    </dgm:pt>
    <dgm:pt modelId="{40B2A213-F41D-4FF4-B7EE-EE2725EE45E1}" type="pres">
      <dgm:prSet presAssocID="{A3B7292F-5113-4C29-982F-BC1D14C7BE90}" presName="space" presStyleCnt="0"/>
      <dgm:spPr/>
    </dgm:pt>
    <dgm:pt modelId="{767FFDEC-573C-4880-9092-95E7AA1D2603}" type="pres">
      <dgm:prSet presAssocID="{9225496C-39D8-4F53-8BB5-1B069B40EB3E}" presName="composite" presStyleCnt="0"/>
      <dgm:spPr/>
    </dgm:pt>
    <dgm:pt modelId="{E74D7A4A-73C2-43FA-824A-4BA72478203F}" type="pres">
      <dgm:prSet presAssocID="{9225496C-39D8-4F53-8BB5-1B069B40EB3E}" presName="parTx" presStyleLbl="node1" presStyleIdx="3" presStyleCnt="10">
        <dgm:presLayoutVars>
          <dgm:chMax val="0"/>
          <dgm:chPref val="0"/>
          <dgm:bulletEnabled val="1"/>
        </dgm:presLayoutVars>
      </dgm:prSet>
      <dgm:spPr/>
    </dgm:pt>
    <dgm:pt modelId="{2AFD2A7A-21F5-4D0F-A3B7-E9DED32F3331}" type="pres">
      <dgm:prSet presAssocID="{9225496C-39D8-4F53-8BB5-1B069B40EB3E}" presName="desTx" presStyleLbl="revTx" presStyleIdx="0" presStyleCnt="1">
        <dgm:presLayoutVars>
          <dgm:bulletEnabled val="1"/>
        </dgm:presLayoutVars>
      </dgm:prSet>
      <dgm:spPr/>
    </dgm:pt>
    <dgm:pt modelId="{05F7048B-DABE-4B40-95CF-B6AD27ED9BD5}" type="pres">
      <dgm:prSet presAssocID="{1E3F53DD-2537-4C67-AA71-87081D444A81}" presName="space" presStyleCnt="0"/>
      <dgm:spPr/>
    </dgm:pt>
    <dgm:pt modelId="{A867F334-218F-4CA0-819D-4BE79732357D}" type="pres">
      <dgm:prSet presAssocID="{2F442204-E894-4EB6-A3FA-953074E6D5F9}" presName="composite" presStyleCnt="0"/>
      <dgm:spPr/>
    </dgm:pt>
    <dgm:pt modelId="{D2550DFF-8A71-41FD-B335-739C8BA82D9F}" type="pres">
      <dgm:prSet presAssocID="{2F442204-E894-4EB6-A3FA-953074E6D5F9}" presName="parTx" presStyleLbl="node1" presStyleIdx="4" presStyleCnt="10">
        <dgm:presLayoutVars>
          <dgm:chMax val="0"/>
          <dgm:chPref val="0"/>
          <dgm:bulletEnabled val="1"/>
        </dgm:presLayoutVars>
      </dgm:prSet>
      <dgm:spPr/>
    </dgm:pt>
    <dgm:pt modelId="{7498A5A7-3469-400E-AB63-840F9E8B383B}" type="pres">
      <dgm:prSet presAssocID="{2F442204-E894-4EB6-A3FA-953074E6D5F9}" presName="desTx" presStyleLbl="revTx" presStyleIdx="0" presStyleCnt="1">
        <dgm:presLayoutVars>
          <dgm:bulletEnabled val="1"/>
        </dgm:presLayoutVars>
      </dgm:prSet>
      <dgm:spPr/>
    </dgm:pt>
    <dgm:pt modelId="{4B783D2D-1CBB-4BA2-941C-EC9FD8E64166}" type="pres">
      <dgm:prSet presAssocID="{07F51AA8-9070-4A56-AF24-8977CF9B6A80}" presName="space" presStyleCnt="0"/>
      <dgm:spPr/>
    </dgm:pt>
    <dgm:pt modelId="{07D27D39-8600-4A66-8934-38664E9F18BF}" type="pres">
      <dgm:prSet presAssocID="{7A5D9CDD-E10F-422D-808B-815C691EF2E8}" presName="composite" presStyleCnt="0"/>
      <dgm:spPr/>
    </dgm:pt>
    <dgm:pt modelId="{7F8529BC-E330-492E-A9A4-85A5B4EDF65B}" type="pres">
      <dgm:prSet presAssocID="{7A5D9CDD-E10F-422D-808B-815C691EF2E8}" presName="parTx" presStyleLbl="node1" presStyleIdx="5" presStyleCnt="10">
        <dgm:presLayoutVars>
          <dgm:chMax val="0"/>
          <dgm:chPref val="0"/>
          <dgm:bulletEnabled val="1"/>
        </dgm:presLayoutVars>
      </dgm:prSet>
      <dgm:spPr/>
    </dgm:pt>
    <dgm:pt modelId="{1D996D85-F9E6-4F82-81F0-5809082FF65D}" type="pres">
      <dgm:prSet presAssocID="{7A5D9CDD-E10F-422D-808B-815C691EF2E8}" presName="desTx" presStyleLbl="revTx" presStyleIdx="0" presStyleCnt="1">
        <dgm:presLayoutVars>
          <dgm:bulletEnabled val="1"/>
        </dgm:presLayoutVars>
      </dgm:prSet>
      <dgm:spPr/>
    </dgm:pt>
    <dgm:pt modelId="{F9339488-9E92-46F4-B541-43B0EE2ABE1A}" type="pres">
      <dgm:prSet presAssocID="{63A1392B-D9B4-4604-ACED-CDD4B7E19D6E}" presName="space" presStyleCnt="0"/>
      <dgm:spPr/>
    </dgm:pt>
    <dgm:pt modelId="{086175FF-30EF-43CB-A158-0E4CCE90FC73}" type="pres">
      <dgm:prSet presAssocID="{56EC974B-4690-4A6A-B143-36A5A9DDDB75}" presName="composite" presStyleCnt="0"/>
      <dgm:spPr/>
    </dgm:pt>
    <dgm:pt modelId="{64BB5E67-0670-4BB3-8535-51113E73DCA3}" type="pres">
      <dgm:prSet presAssocID="{56EC974B-4690-4A6A-B143-36A5A9DDDB75}" presName="parTx" presStyleLbl="node1" presStyleIdx="6" presStyleCnt="10">
        <dgm:presLayoutVars>
          <dgm:chMax val="0"/>
          <dgm:chPref val="0"/>
          <dgm:bulletEnabled val="1"/>
        </dgm:presLayoutVars>
      </dgm:prSet>
      <dgm:spPr/>
    </dgm:pt>
    <dgm:pt modelId="{BA82DF2C-A7E0-42BA-8E91-AB7F26E053FE}" type="pres">
      <dgm:prSet presAssocID="{56EC974B-4690-4A6A-B143-36A5A9DDDB75}" presName="desTx" presStyleLbl="revTx" presStyleIdx="0" presStyleCnt="1">
        <dgm:presLayoutVars>
          <dgm:bulletEnabled val="1"/>
        </dgm:presLayoutVars>
      </dgm:prSet>
      <dgm:spPr/>
    </dgm:pt>
    <dgm:pt modelId="{BA5EA91F-7651-4F0D-A330-7F9521A45049}" type="pres">
      <dgm:prSet presAssocID="{57612FAC-3D38-4A5A-9D54-8452999285F4}" presName="space" presStyleCnt="0"/>
      <dgm:spPr/>
    </dgm:pt>
    <dgm:pt modelId="{12E9865F-12F3-4E92-B40B-EB71524012BC}" type="pres">
      <dgm:prSet presAssocID="{A07A8528-D240-4AAE-BA81-005F6AD457F1}" presName="composite" presStyleCnt="0"/>
      <dgm:spPr/>
    </dgm:pt>
    <dgm:pt modelId="{15CC3617-00D3-4DE6-9B7C-73B0D91CB6A9}" type="pres">
      <dgm:prSet presAssocID="{A07A8528-D240-4AAE-BA81-005F6AD457F1}" presName="parTx" presStyleLbl="node1" presStyleIdx="7" presStyleCnt="10">
        <dgm:presLayoutVars>
          <dgm:chMax val="0"/>
          <dgm:chPref val="0"/>
          <dgm:bulletEnabled val="1"/>
        </dgm:presLayoutVars>
      </dgm:prSet>
      <dgm:spPr/>
    </dgm:pt>
    <dgm:pt modelId="{DB7EB305-1E7A-4C51-97E3-B90DE4D0F534}" type="pres">
      <dgm:prSet presAssocID="{A07A8528-D240-4AAE-BA81-005F6AD457F1}" presName="desTx" presStyleLbl="revTx" presStyleIdx="0" presStyleCnt="1">
        <dgm:presLayoutVars>
          <dgm:bulletEnabled val="1"/>
        </dgm:presLayoutVars>
      </dgm:prSet>
      <dgm:spPr/>
    </dgm:pt>
    <dgm:pt modelId="{81EC4F6B-0A53-43F1-9D3E-DCFE84CFCE49}" type="pres">
      <dgm:prSet presAssocID="{7D0C416E-0310-43FE-A0D6-735CD62199B6}" presName="space" presStyleCnt="0"/>
      <dgm:spPr/>
    </dgm:pt>
    <dgm:pt modelId="{4B595BE9-8766-4C7C-880A-A80BAAF849CD}" type="pres">
      <dgm:prSet presAssocID="{5805825E-3BC3-4961-910E-96065463977D}" presName="composite" presStyleCnt="0"/>
      <dgm:spPr/>
    </dgm:pt>
    <dgm:pt modelId="{E42F589E-6631-42F1-A434-EB9BFC00C129}" type="pres">
      <dgm:prSet presAssocID="{5805825E-3BC3-4961-910E-96065463977D}" presName="parTx" presStyleLbl="node1" presStyleIdx="8" presStyleCnt="10">
        <dgm:presLayoutVars>
          <dgm:chMax val="0"/>
          <dgm:chPref val="0"/>
          <dgm:bulletEnabled val="1"/>
        </dgm:presLayoutVars>
      </dgm:prSet>
      <dgm:spPr/>
    </dgm:pt>
    <dgm:pt modelId="{F883C1BF-A3FE-43BF-9D52-4F40F37DDEA1}" type="pres">
      <dgm:prSet presAssocID="{5805825E-3BC3-4961-910E-96065463977D}" presName="desTx" presStyleLbl="revTx" presStyleIdx="0" presStyleCnt="1">
        <dgm:presLayoutVars>
          <dgm:bulletEnabled val="1"/>
        </dgm:presLayoutVars>
      </dgm:prSet>
      <dgm:spPr/>
    </dgm:pt>
    <dgm:pt modelId="{E8FDC4BD-268C-444C-8D06-0E125426BE2F}" type="pres">
      <dgm:prSet presAssocID="{B58F1702-0059-4F53-9A60-77242457BBFA}" presName="space" presStyleCnt="0"/>
      <dgm:spPr/>
    </dgm:pt>
    <dgm:pt modelId="{0DB85FE3-A0B9-41A1-AEA3-36E4E63078A6}" type="pres">
      <dgm:prSet presAssocID="{2D51EAF0-C497-40E9-996D-2D0BC40F318C}" presName="composite" presStyleCnt="0"/>
      <dgm:spPr/>
    </dgm:pt>
    <dgm:pt modelId="{3724937C-EC74-4482-9E71-5AB7879CEACB}" type="pres">
      <dgm:prSet presAssocID="{2D51EAF0-C497-40E9-996D-2D0BC40F318C}" presName="parTx" presStyleLbl="node1" presStyleIdx="9" presStyleCnt="10">
        <dgm:presLayoutVars>
          <dgm:chMax val="0"/>
          <dgm:chPref val="0"/>
          <dgm:bulletEnabled val="1"/>
        </dgm:presLayoutVars>
      </dgm:prSet>
      <dgm:spPr/>
    </dgm:pt>
    <dgm:pt modelId="{CE1BF28D-E2B5-4EDC-B5BC-BF96DFAEA255}" type="pres">
      <dgm:prSet presAssocID="{2D51EAF0-C497-40E9-996D-2D0BC40F318C}" presName="desTx" presStyleLbl="revTx" presStyleIdx="0" presStyleCnt="1">
        <dgm:presLayoutVars>
          <dgm:bulletEnabled val="1"/>
        </dgm:presLayoutVars>
      </dgm:prSet>
      <dgm:spPr/>
    </dgm:pt>
  </dgm:ptLst>
  <dgm:cxnLst>
    <dgm:cxn modelId="{F8EA3703-CEE5-4162-AB46-CFFF8AC28B48}" srcId="{C782CD9B-2B4B-48D2-BF13-2B0D6056B78A}" destId="{B754C885-66E5-4615-BD33-B6EE917A035D}" srcOrd="1" destOrd="0" parTransId="{65812F9F-DD0E-4752-BF8B-D07282594751}" sibTransId="{79AAED35-18A8-4347-A2B8-6AAE8B34BA56}"/>
    <dgm:cxn modelId="{82A2D90C-6F35-4959-8FDC-FB6B3DE8E88F}" type="presOf" srcId="{9225496C-39D8-4F53-8BB5-1B069B40EB3E}" destId="{E74D7A4A-73C2-43FA-824A-4BA72478203F}" srcOrd="0" destOrd="0" presId="urn:microsoft.com/office/officeart/2005/8/layout/chevron1"/>
    <dgm:cxn modelId="{7BC9B318-E7A6-41F3-853C-1D1DFB2050EF}" srcId="{C782CD9B-2B4B-48D2-BF13-2B0D6056B78A}" destId="{2D51EAF0-C497-40E9-996D-2D0BC40F318C}" srcOrd="9" destOrd="0" parTransId="{43C509B8-DD3A-429A-ADC4-232D55259B3D}" sibTransId="{66A12237-9546-42D0-81C0-2C324670B743}"/>
    <dgm:cxn modelId="{2513472A-3008-4A48-8E5C-7B10320ECA67}" type="presOf" srcId="{2D51EAF0-C497-40E9-996D-2D0BC40F318C}" destId="{3724937C-EC74-4482-9E71-5AB7879CEACB}" srcOrd="0" destOrd="0" presId="urn:microsoft.com/office/officeart/2005/8/layout/chevron1"/>
    <dgm:cxn modelId="{10AEC839-32A3-4AA4-B4D9-32F8FE4DE38A}" type="presOf" srcId="{C782CD9B-2B4B-48D2-BF13-2B0D6056B78A}" destId="{2069E263-CA68-447A-859F-7068DC9AF2B6}" srcOrd="0" destOrd="0" presId="urn:microsoft.com/office/officeart/2005/8/layout/chevron1"/>
    <dgm:cxn modelId="{94A2B45D-2D69-4650-AFC3-C5574217F910}" srcId="{C782CD9B-2B4B-48D2-BF13-2B0D6056B78A}" destId="{9225496C-39D8-4F53-8BB5-1B069B40EB3E}" srcOrd="3" destOrd="0" parTransId="{D3A21DFB-000A-4FCE-9E9D-8516EBA4DD45}" sibTransId="{1E3F53DD-2537-4C67-AA71-87081D444A81}"/>
    <dgm:cxn modelId="{A47C6662-0C93-475D-BA4D-9387E5491E8A}" type="presOf" srcId="{DFCF748E-4FA2-4C04-B1DF-85DA1021BE5D}" destId="{2763F6D0-FDDE-4CA1-AD92-DB96E5135F54}" srcOrd="0" destOrd="0" presId="urn:microsoft.com/office/officeart/2005/8/layout/chevron1"/>
    <dgm:cxn modelId="{6FD2AE64-BDEB-482D-ACF3-1D5403180A1E}" srcId="{C782CD9B-2B4B-48D2-BF13-2B0D6056B78A}" destId="{2F442204-E894-4EB6-A3FA-953074E6D5F9}" srcOrd="4" destOrd="0" parTransId="{9E6A019B-6886-407A-A3BB-1A2A8D416818}" sibTransId="{07F51AA8-9070-4A56-AF24-8977CF9B6A80}"/>
    <dgm:cxn modelId="{07621546-DB27-4D4D-9E7B-F3730DD10600}" type="presOf" srcId="{7A5D9CDD-E10F-422D-808B-815C691EF2E8}" destId="{7F8529BC-E330-492E-A9A4-85A5B4EDF65B}" srcOrd="0" destOrd="0" presId="urn:microsoft.com/office/officeart/2005/8/layout/chevron1"/>
    <dgm:cxn modelId="{72BFE369-1107-4A20-86CD-1FA8CFA3DC44}" type="presOf" srcId="{2F442204-E894-4EB6-A3FA-953074E6D5F9}" destId="{D2550DFF-8A71-41FD-B335-739C8BA82D9F}" srcOrd="0" destOrd="0" presId="urn:microsoft.com/office/officeart/2005/8/layout/chevron1"/>
    <dgm:cxn modelId="{BEDD267B-EA80-4783-A782-86B96AAC5B03}" srcId="{C782CD9B-2B4B-48D2-BF13-2B0D6056B78A}" destId="{7A5D9CDD-E10F-422D-808B-815C691EF2E8}" srcOrd="5" destOrd="0" parTransId="{089AE963-8402-4F38-908B-1CA814F78766}" sibTransId="{63A1392B-D9B4-4604-ACED-CDD4B7E19D6E}"/>
    <dgm:cxn modelId="{CAE6967F-8862-4B31-A5D8-2124C3526812}" type="presOf" srcId="{56EC974B-4690-4A6A-B143-36A5A9DDDB75}" destId="{64BB5E67-0670-4BB3-8535-51113E73DCA3}" srcOrd="0" destOrd="0" presId="urn:microsoft.com/office/officeart/2005/8/layout/chevron1"/>
    <dgm:cxn modelId="{F35DFD81-57C2-4B4E-AD5F-C0F4EB49AA96}" type="presOf" srcId="{F647B10F-EAE0-4F41-8E04-352654413B5C}" destId="{F883C1BF-A3FE-43BF-9D52-4F40F37DDEA1}" srcOrd="0" destOrd="0" presId="urn:microsoft.com/office/officeart/2005/8/layout/chevron1"/>
    <dgm:cxn modelId="{3F836D84-5671-4EAB-A7A4-8D2F8C7DD7B3}" type="presOf" srcId="{A07A8528-D240-4AAE-BA81-005F6AD457F1}" destId="{15CC3617-00D3-4DE6-9B7C-73B0D91CB6A9}" srcOrd="0" destOrd="0" presId="urn:microsoft.com/office/officeart/2005/8/layout/chevron1"/>
    <dgm:cxn modelId="{1070108C-9B1C-45B7-8C8D-E8F6CACA7C0E}" type="presOf" srcId="{B754C885-66E5-4615-BD33-B6EE917A035D}" destId="{77AB0C57-3732-4A7F-98BE-DE317F185E6C}" srcOrd="0" destOrd="0" presId="urn:microsoft.com/office/officeart/2005/8/layout/chevron1"/>
    <dgm:cxn modelId="{61FE979B-4D90-4472-9E6B-56FB181E84F1}" type="presOf" srcId="{72FFD339-6A5F-4ED7-B529-6155AF8C35BB}" destId="{4AD6D448-4CC0-4315-A093-B9CE4EFAE2AC}" srcOrd="0" destOrd="0" presId="urn:microsoft.com/office/officeart/2005/8/layout/chevron1"/>
    <dgm:cxn modelId="{92751D9D-02E3-45C2-978C-737085227C42}" srcId="{C782CD9B-2B4B-48D2-BF13-2B0D6056B78A}" destId="{DFCF748E-4FA2-4C04-B1DF-85DA1021BE5D}" srcOrd="0" destOrd="0" parTransId="{7DAF1956-B700-4203-9672-92E4451DCC31}" sibTransId="{A0ED7260-8442-4FBF-80B4-500E49A4F3AF}"/>
    <dgm:cxn modelId="{FE5FBCA8-5D6F-44E5-8DFA-D24300AECCE8}" srcId="{C782CD9B-2B4B-48D2-BF13-2B0D6056B78A}" destId="{56EC974B-4690-4A6A-B143-36A5A9DDDB75}" srcOrd="6" destOrd="0" parTransId="{F24B2512-EFC3-4494-92F8-F4C2A580DD56}" sibTransId="{57612FAC-3D38-4A5A-9D54-8452999285F4}"/>
    <dgm:cxn modelId="{574E61D1-E1F5-4BDC-8306-6A20315F04DE}" srcId="{5805825E-3BC3-4961-910E-96065463977D}" destId="{F647B10F-EAE0-4F41-8E04-352654413B5C}" srcOrd="0" destOrd="0" parTransId="{B824E2BF-99FF-4441-998F-2F60EDE478D5}" sibTransId="{D3471309-8ADE-4768-921E-7AFA41A86BFC}"/>
    <dgm:cxn modelId="{35DBDFDA-A3C6-4EBC-9D4D-1363C804F70E}" type="presOf" srcId="{5805825E-3BC3-4961-910E-96065463977D}" destId="{E42F589E-6631-42F1-A434-EB9BFC00C129}" srcOrd="0" destOrd="0" presId="urn:microsoft.com/office/officeart/2005/8/layout/chevron1"/>
    <dgm:cxn modelId="{D6C89AE1-00A8-492D-888B-1E3DDC006D86}" srcId="{C782CD9B-2B4B-48D2-BF13-2B0D6056B78A}" destId="{5805825E-3BC3-4961-910E-96065463977D}" srcOrd="8" destOrd="0" parTransId="{263FA899-3C2D-4809-A47A-DB65911293C7}" sibTransId="{B58F1702-0059-4F53-9A60-77242457BBFA}"/>
    <dgm:cxn modelId="{C381E8F4-D0AE-4AD0-B8F1-4BDFF55901DE}" srcId="{C782CD9B-2B4B-48D2-BF13-2B0D6056B78A}" destId="{72FFD339-6A5F-4ED7-B529-6155AF8C35BB}" srcOrd="2" destOrd="0" parTransId="{ECFEA23F-DCCD-42C6-8706-10917CE3C2B0}" sibTransId="{A3B7292F-5113-4C29-982F-BC1D14C7BE90}"/>
    <dgm:cxn modelId="{C9F268FB-CB20-4E78-9CDC-F035D61B7E09}" srcId="{C782CD9B-2B4B-48D2-BF13-2B0D6056B78A}" destId="{A07A8528-D240-4AAE-BA81-005F6AD457F1}" srcOrd="7" destOrd="0" parTransId="{3C15A388-1B3D-47E8-B2CB-E67F7E1AFFF1}" sibTransId="{7D0C416E-0310-43FE-A0D6-735CD62199B6}"/>
    <dgm:cxn modelId="{8A8855B5-A7C2-44F9-986F-7A7BB0477234}" type="presParOf" srcId="{2069E263-CA68-447A-859F-7068DC9AF2B6}" destId="{B014A20F-F8D4-4634-B213-8EDE25927C16}" srcOrd="0" destOrd="0" presId="urn:microsoft.com/office/officeart/2005/8/layout/chevron1"/>
    <dgm:cxn modelId="{553BEC81-999D-425A-9FF7-74F50365085C}" type="presParOf" srcId="{B014A20F-F8D4-4634-B213-8EDE25927C16}" destId="{2763F6D0-FDDE-4CA1-AD92-DB96E5135F54}" srcOrd="0" destOrd="0" presId="urn:microsoft.com/office/officeart/2005/8/layout/chevron1"/>
    <dgm:cxn modelId="{65D11C3A-03DE-4A05-93F9-327F02E78D4C}" type="presParOf" srcId="{B014A20F-F8D4-4634-B213-8EDE25927C16}" destId="{1FDBE215-54FC-4E50-AA35-0F93F2176D94}" srcOrd="1" destOrd="0" presId="urn:microsoft.com/office/officeart/2005/8/layout/chevron1"/>
    <dgm:cxn modelId="{5E855057-C9EA-45F1-AC84-583D4B7D0A82}" type="presParOf" srcId="{2069E263-CA68-447A-859F-7068DC9AF2B6}" destId="{8E5DAA18-950D-4280-899B-AF93A748A40D}" srcOrd="1" destOrd="0" presId="urn:microsoft.com/office/officeart/2005/8/layout/chevron1"/>
    <dgm:cxn modelId="{3572611A-CF44-4AC3-92F8-9F08DAA0E4C9}" type="presParOf" srcId="{2069E263-CA68-447A-859F-7068DC9AF2B6}" destId="{E1BB1CF0-7FBC-4798-9323-73C4F7CC9C62}" srcOrd="2" destOrd="0" presId="urn:microsoft.com/office/officeart/2005/8/layout/chevron1"/>
    <dgm:cxn modelId="{D7436EF9-B2DF-409C-BE98-B09036204ADE}" type="presParOf" srcId="{E1BB1CF0-7FBC-4798-9323-73C4F7CC9C62}" destId="{77AB0C57-3732-4A7F-98BE-DE317F185E6C}" srcOrd="0" destOrd="0" presId="urn:microsoft.com/office/officeart/2005/8/layout/chevron1"/>
    <dgm:cxn modelId="{1F11E7FF-7410-4981-BBF6-D1A33E56882A}" type="presParOf" srcId="{E1BB1CF0-7FBC-4798-9323-73C4F7CC9C62}" destId="{D404F352-4669-4921-A885-9A65333A8849}" srcOrd="1" destOrd="0" presId="urn:microsoft.com/office/officeart/2005/8/layout/chevron1"/>
    <dgm:cxn modelId="{94D3DDE6-6074-4053-96E6-E1168845509E}" type="presParOf" srcId="{2069E263-CA68-447A-859F-7068DC9AF2B6}" destId="{652222DD-6B83-4984-A2CB-AFC49EBF1201}" srcOrd="3" destOrd="0" presId="urn:microsoft.com/office/officeart/2005/8/layout/chevron1"/>
    <dgm:cxn modelId="{3BC44998-84C9-43BC-BDDF-FC5ED8DB4A1A}" type="presParOf" srcId="{2069E263-CA68-447A-859F-7068DC9AF2B6}" destId="{7BBACE36-6E6A-4583-BE8A-FF4AFBA2DED4}" srcOrd="4" destOrd="0" presId="urn:microsoft.com/office/officeart/2005/8/layout/chevron1"/>
    <dgm:cxn modelId="{F2ED08F6-E093-41C5-940A-C479444B6985}" type="presParOf" srcId="{7BBACE36-6E6A-4583-BE8A-FF4AFBA2DED4}" destId="{4AD6D448-4CC0-4315-A093-B9CE4EFAE2AC}" srcOrd="0" destOrd="0" presId="urn:microsoft.com/office/officeart/2005/8/layout/chevron1"/>
    <dgm:cxn modelId="{18A78588-C403-4009-8B1B-AE8A892EC680}" type="presParOf" srcId="{7BBACE36-6E6A-4583-BE8A-FF4AFBA2DED4}" destId="{DDA49AB9-8E30-494C-B7AD-5D837E47ED84}" srcOrd="1" destOrd="0" presId="urn:microsoft.com/office/officeart/2005/8/layout/chevron1"/>
    <dgm:cxn modelId="{705CB82B-F54B-42D2-896F-F705649E3226}" type="presParOf" srcId="{2069E263-CA68-447A-859F-7068DC9AF2B6}" destId="{40B2A213-F41D-4FF4-B7EE-EE2725EE45E1}" srcOrd="5" destOrd="0" presId="urn:microsoft.com/office/officeart/2005/8/layout/chevron1"/>
    <dgm:cxn modelId="{9D48D408-247A-4C6E-95EC-F75E6EAA03E5}" type="presParOf" srcId="{2069E263-CA68-447A-859F-7068DC9AF2B6}" destId="{767FFDEC-573C-4880-9092-95E7AA1D2603}" srcOrd="6" destOrd="0" presId="urn:microsoft.com/office/officeart/2005/8/layout/chevron1"/>
    <dgm:cxn modelId="{1380C60B-304E-4F58-AD8B-637A60FACE8B}" type="presParOf" srcId="{767FFDEC-573C-4880-9092-95E7AA1D2603}" destId="{E74D7A4A-73C2-43FA-824A-4BA72478203F}" srcOrd="0" destOrd="0" presId="urn:microsoft.com/office/officeart/2005/8/layout/chevron1"/>
    <dgm:cxn modelId="{7D0BF1EF-EECC-48AD-ABDF-10467737E5B8}" type="presParOf" srcId="{767FFDEC-573C-4880-9092-95E7AA1D2603}" destId="{2AFD2A7A-21F5-4D0F-A3B7-E9DED32F3331}" srcOrd="1" destOrd="0" presId="urn:microsoft.com/office/officeart/2005/8/layout/chevron1"/>
    <dgm:cxn modelId="{6E34525D-4766-4D80-B371-F603524A04A0}" type="presParOf" srcId="{2069E263-CA68-447A-859F-7068DC9AF2B6}" destId="{05F7048B-DABE-4B40-95CF-B6AD27ED9BD5}" srcOrd="7" destOrd="0" presId="urn:microsoft.com/office/officeart/2005/8/layout/chevron1"/>
    <dgm:cxn modelId="{C88A8B6D-C1C9-47AF-8A24-9B7D8B7433E4}" type="presParOf" srcId="{2069E263-CA68-447A-859F-7068DC9AF2B6}" destId="{A867F334-218F-4CA0-819D-4BE79732357D}" srcOrd="8" destOrd="0" presId="urn:microsoft.com/office/officeart/2005/8/layout/chevron1"/>
    <dgm:cxn modelId="{29329E66-562C-488B-9366-4C102D18CCD7}" type="presParOf" srcId="{A867F334-218F-4CA0-819D-4BE79732357D}" destId="{D2550DFF-8A71-41FD-B335-739C8BA82D9F}" srcOrd="0" destOrd="0" presId="urn:microsoft.com/office/officeart/2005/8/layout/chevron1"/>
    <dgm:cxn modelId="{39C15280-7EF0-40BF-9478-A5803A8DCCD3}" type="presParOf" srcId="{A867F334-218F-4CA0-819D-4BE79732357D}" destId="{7498A5A7-3469-400E-AB63-840F9E8B383B}" srcOrd="1" destOrd="0" presId="urn:microsoft.com/office/officeart/2005/8/layout/chevron1"/>
    <dgm:cxn modelId="{EA9641FF-201D-4D16-B8B5-DCD24588346E}" type="presParOf" srcId="{2069E263-CA68-447A-859F-7068DC9AF2B6}" destId="{4B783D2D-1CBB-4BA2-941C-EC9FD8E64166}" srcOrd="9" destOrd="0" presId="urn:microsoft.com/office/officeart/2005/8/layout/chevron1"/>
    <dgm:cxn modelId="{73E9F3DF-9C98-4D66-9ECA-B9656DF1C975}" type="presParOf" srcId="{2069E263-CA68-447A-859F-7068DC9AF2B6}" destId="{07D27D39-8600-4A66-8934-38664E9F18BF}" srcOrd="10" destOrd="0" presId="urn:microsoft.com/office/officeart/2005/8/layout/chevron1"/>
    <dgm:cxn modelId="{8D35A8C5-C881-40B6-8530-5B5ED67810FE}" type="presParOf" srcId="{07D27D39-8600-4A66-8934-38664E9F18BF}" destId="{7F8529BC-E330-492E-A9A4-85A5B4EDF65B}" srcOrd="0" destOrd="0" presId="urn:microsoft.com/office/officeart/2005/8/layout/chevron1"/>
    <dgm:cxn modelId="{C7C4A236-B3BC-4D65-99C1-76FE93AFF830}" type="presParOf" srcId="{07D27D39-8600-4A66-8934-38664E9F18BF}" destId="{1D996D85-F9E6-4F82-81F0-5809082FF65D}" srcOrd="1" destOrd="0" presId="urn:microsoft.com/office/officeart/2005/8/layout/chevron1"/>
    <dgm:cxn modelId="{2C67F19D-7AEC-400C-94C1-2259C392FA2D}" type="presParOf" srcId="{2069E263-CA68-447A-859F-7068DC9AF2B6}" destId="{F9339488-9E92-46F4-B541-43B0EE2ABE1A}" srcOrd="11" destOrd="0" presId="urn:microsoft.com/office/officeart/2005/8/layout/chevron1"/>
    <dgm:cxn modelId="{CB5ADAE2-4002-4A70-89F7-9F6943C491E5}" type="presParOf" srcId="{2069E263-CA68-447A-859F-7068DC9AF2B6}" destId="{086175FF-30EF-43CB-A158-0E4CCE90FC73}" srcOrd="12" destOrd="0" presId="urn:microsoft.com/office/officeart/2005/8/layout/chevron1"/>
    <dgm:cxn modelId="{E83A1F84-F11C-4DB9-967C-A44E2B8C1FE4}" type="presParOf" srcId="{086175FF-30EF-43CB-A158-0E4CCE90FC73}" destId="{64BB5E67-0670-4BB3-8535-51113E73DCA3}" srcOrd="0" destOrd="0" presId="urn:microsoft.com/office/officeart/2005/8/layout/chevron1"/>
    <dgm:cxn modelId="{EA5D9468-4DB9-4DCC-9689-888076457493}" type="presParOf" srcId="{086175FF-30EF-43CB-A158-0E4CCE90FC73}" destId="{BA82DF2C-A7E0-42BA-8E91-AB7F26E053FE}" srcOrd="1" destOrd="0" presId="urn:microsoft.com/office/officeart/2005/8/layout/chevron1"/>
    <dgm:cxn modelId="{160B19CC-5C64-4684-9201-63584808ED9D}" type="presParOf" srcId="{2069E263-CA68-447A-859F-7068DC9AF2B6}" destId="{BA5EA91F-7651-4F0D-A330-7F9521A45049}" srcOrd="13" destOrd="0" presId="urn:microsoft.com/office/officeart/2005/8/layout/chevron1"/>
    <dgm:cxn modelId="{84EC94FD-5871-4E9B-9D78-636EDF089642}" type="presParOf" srcId="{2069E263-CA68-447A-859F-7068DC9AF2B6}" destId="{12E9865F-12F3-4E92-B40B-EB71524012BC}" srcOrd="14" destOrd="0" presId="urn:microsoft.com/office/officeart/2005/8/layout/chevron1"/>
    <dgm:cxn modelId="{E5ED739E-08EC-4B19-A4F1-7FC85BA1D01C}" type="presParOf" srcId="{12E9865F-12F3-4E92-B40B-EB71524012BC}" destId="{15CC3617-00D3-4DE6-9B7C-73B0D91CB6A9}" srcOrd="0" destOrd="0" presId="urn:microsoft.com/office/officeart/2005/8/layout/chevron1"/>
    <dgm:cxn modelId="{49476331-50E5-4BE8-8525-3FC482105B5E}" type="presParOf" srcId="{12E9865F-12F3-4E92-B40B-EB71524012BC}" destId="{DB7EB305-1E7A-4C51-97E3-B90DE4D0F534}" srcOrd="1" destOrd="0" presId="urn:microsoft.com/office/officeart/2005/8/layout/chevron1"/>
    <dgm:cxn modelId="{81580EC2-D3C2-4CAE-8ABB-FA79C8C130E8}" type="presParOf" srcId="{2069E263-CA68-447A-859F-7068DC9AF2B6}" destId="{81EC4F6B-0A53-43F1-9D3E-DCFE84CFCE49}" srcOrd="15" destOrd="0" presId="urn:microsoft.com/office/officeart/2005/8/layout/chevron1"/>
    <dgm:cxn modelId="{AA9037FB-6571-40D2-8CDB-4A2BCF79B596}" type="presParOf" srcId="{2069E263-CA68-447A-859F-7068DC9AF2B6}" destId="{4B595BE9-8766-4C7C-880A-A80BAAF849CD}" srcOrd="16" destOrd="0" presId="urn:microsoft.com/office/officeart/2005/8/layout/chevron1"/>
    <dgm:cxn modelId="{208B0E7C-8B11-4E58-B383-12799CF58F9C}" type="presParOf" srcId="{4B595BE9-8766-4C7C-880A-A80BAAF849CD}" destId="{E42F589E-6631-42F1-A434-EB9BFC00C129}" srcOrd="0" destOrd="0" presId="urn:microsoft.com/office/officeart/2005/8/layout/chevron1"/>
    <dgm:cxn modelId="{45FE45C2-DE25-4059-9EF0-F6E75D5E1180}" type="presParOf" srcId="{4B595BE9-8766-4C7C-880A-A80BAAF849CD}" destId="{F883C1BF-A3FE-43BF-9D52-4F40F37DDEA1}" srcOrd="1" destOrd="0" presId="urn:microsoft.com/office/officeart/2005/8/layout/chevron1"/>
    <dgm:cxn modelId="{2C2FCE26-8385-4C6C-9182-CCBC0F9DF405}" type="presParOf" srcId="{2069E263-CA68-447A-859F-7068DC9AF2B6}" destId="{E8FDC4BD-268C-444C-8D06-0E125426BE2F}" srcOrd="17" destOrd="0" presId="urn:microsoft.com/office/officeart/2005/8/layout/chevron1"/>
    <dgm:cxn modelId="{16828A13-4E09-4A47-8950-DA372E20FD59}" type="presParOf" srcId="{2069E263-CA68-447A-859F-7068DC9AF2B6}" destId="{0DB85FE3-A0B9-41A1-AEA3-36E4E63078A6}" srcOrd="18" destOrd="0" presId="urn:microsoft.com/office/officeart/2005/8/layout/chevron1"/>
    <dgm:cxn modelId="{47A4502E-57D1-4E79-BBBA-98DB2C79740E}" type="presParOf" srcId="{0DB85FE3-A0B9-41A1-AEA3-36E4E63078A6}" destId="{3724937C-EC74-4482-9E71-5AB7879CEACB}" srcOrd="0" destOrd="0" presId="urn:microsoft.com/office/officeart/2005/8/layout/chevron1"/>
    <dgm:cxn modelId="{501644BD-D5EC-413D-BE7B-5ECE162B6E4D}" type="presParOf" srcId="{0DB85FE3-A0B9-41A1-AEA3-36E4E63078A6}" destId="{CE1BF28D-E2B5-4EDC-B5BC-BF96DFAEA255}" srcOrd="1" destOrd="0" presId="urn:microsoft.com/office/officeart/2005/8/layout/chevron1"/>
  </dgm:cxnLst>
  <dgm:bg/>
  <dgm:whole/>
  <dgm:extLst>
    <a:ext uri="http://schemas.microsoft.com/office/drawing/2008/diagram">
      <dsp:dataModelExt xmlns:dsp="http://schemas.microsoft.com/office/drawing/2008/diagram" relId="rId28" minVer="http://schemas.openxmlformats.org/drawingml/2006/diagram"/>
    </a:ext>
  </dgm:extLst>
</dgm:dataModel>
</file>

<file path=ppt/diagrams/data32.xml><?xml version="1.0" encoding="utf-8"?>
<dgm:dataModel xmlns:dgm="http://schemas.openxmlformats.org/drawingml/2006/diagram" xmlns:a="http://schemas.openxmlformats.org/drawingml/2006/main">
  <dgm:ptLst>
    <dgm:pt modelId="{C782CD9B-2B4B-48D2-BF13-2B0D6056B78A}"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it-IT"/>
        </a:p>
      </dgm:t>
    </dgm:pt>
    <dgm:pt modelId="{DFCF748E-4FA2-4C04-B1DF-85DA1021BE5D}">
      <dgm:prSet phldrT="[Testo]"/>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Rete viaria complessiva</a:t>
          </a:r>
        </a:p>
      </dgm:t>
    </dgm:pt>
    <dgm:pt modelId="{7DAF1956-B700-4203-9672-92E4451DCC31}" type="parTrans" cxnId="{92751D9D-02E3-45C2-978C-737085227C42}">
      <dgm:prSet/>
      <dgm:spPr/>
      <dgm:t>
        <a:bodyPr/>
        <a:lstStyle/>
        <a:p>
          <a:endParaRPr lang="it-IT"/>
        </a:p>
      </dgm:t>
    </dgm:pt>
    <dgm:pt modelId="{A0ED7260-8442-4FBF-80B4-500E49A4F3AF}" type="sibTrans" cxnId="{92751D9D-02E3-45C2-978C-737085227C42}">
      <dgm:prSet/>
      <dgm:spPr/>
      <dgm:t>
        <a:bodyPr/>
        <a:lstStyle/>
        <a:p>
          <a:endParaRPr lang="it-IT"/>
        </a:p>
      </dgm:t>
    </dgm:pt>
    <dgm:pt modelId="{B754C885-66E5-4615-BD33-B6EE917A035D}">
      <dgm:prSet phldrT="[Testo]"/>
      <dgm:spPr>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dgm:spPr>
      <dgm:t>
        <a:bodyPr/>
        <a:lstStyle/>
        <a:p>
          <a:r>
            <a:rPr lang="it-IT" dirty="0"/>
            <a:t>Risorse</a:t>
          </a:r>
        </a:p>
      </dgm:t>
    </dgm:pt>
    <dgm:pt modelId="{65812F9F-DD0E-4752-BF8B-D07282594751}" type="parTrans" cxnId="{F8EA3703-CEE5-4162-AB46-CFFF8AC28B48}">
      <dgm:prSet/>
      <dgm:spPr/>
      <dgm:t>
        <a:bodyPr/>
        <a:lstStyle/>
        <a:p>
          <a:endParaRPr lang="it-IT"/>
        </a:p>
      </dgm:t>
    </dgm:pt>
    <dgm:pt modelId="{79AAED35-18A8-4347-A2B8-6AAE8B34BA56}" type="sibTrans" cxnId="{F8EA3703-CEE5-4162-AB46-CFFF8AC28B48}">
      <dgm:prSet/>
      <dgm:spPr/>
      <dgm:t>
        <a:bodyPr/>
        <a:lstStyle/>
        <a:p>
          <a:endParaRPr lang="it-IT"/>
        </a:p>
      </dgm:t>
    </dgm:pt>
    <dgm:pt modelId="{9225496C-39D8-4F53-8BB5-1B069B40EB3E}">
      <dgm:prSet phldrT="[Testo]"/>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Affidamenti</a:t>
          </a:r>
        </a:p>
      </dgm:t>
    </dgm:pt>
    <dgm:pt modelId="{D3A21DFB-000A-4FCE-9E9D-8516EBA4DD45}" type="parTrans" cxnId="{94A2B45D-2D69-4650-AFC3-C5574217F910}">
      <dgm:prSet/>
      <dgm:spPr/>
      <dgm:t>
        <a:bodyPr/>
        <a:lstStyle/>
        <a:p>
          <a:endParaRPr lang="it-IT"/>
        </a:p>
      </dgm:t>
    </dgm:pt>
    <dgm:pt modelId="{1E3F53DD-2537-4C67-AA71-87081D444A81}" type="sibTrans" cxnId="{94A2B45D-2D69-4650-AFC3-C5574217F910}">
      <dgm:prSet/>
      <dgm:spPr/>
      <dgm:t>
        <a:bodyPr/>
        <a:lstStyle/>
        <a:p>
          <a:endParaRPr lang="it-IT"/>
        </a:p>
      </dgm:t>
    </dgm:pt>
    <dgm:pt modelId="{2F442204-E894-4EB6-A3FA-953074E6D5F9}">
      <dgm:prSet phldrT="[Testo]" custT="1"/>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sz="700" dirty="0"/>
            <a:t>Investimenti e Produzione</a:t>
          </a:r>
        </a:p>
        <a:p>
          <a:r>
            <a:rPr lang="it-IT" sz="700" dirty="0"/>
            <a:t>MP</a:t>
          </a:r>
        </a:p>
      </dgm:t>
    </dgm:pt>
    <dgm:pt modelId="{9E6A019B-6886-407A-A3BB-1A2A8D416818}" type="parTrans" cxnId="{6FD2AE64-BDEB-482D-ACF3-1D5403180A1E}">
      <dgm:prSet/>
      <dgm:spPr/>
      <dgm:t>
        <a:bodyPr/>
        <a:lstStyle/>
        <a:p>
          <a:endParaRPr lang="it-IT"/>
        </a:p>
      </dgm:t>
    </dgm:pt>
    <dgm:pt modelId="{07F51AA8-9070-4A56-AF24-8977CF9B6A80}" type="sibTrans" cxnId="{6FD2AE64-BDEB-482D-ACF3-1D5403180A1E}">
      <dgm:prSet/>
      <dgm:spPr/>
      <dgm:t>
        <a:bodyPr/>
        <a:lstStyle/>
        <a:p>
          <a:endParaRPr lang="it-IT"/>
        </a:p>
      </dgm:t>
    </dgm:pt>
    <dgm:pt modelId="{2D51EAF0-C497-40E9-996D-2D0BC40F318C}">
      <dgm:prSet phldrT="[Testo]"/>
      <dgm:spPr>
        <a:solidFill>
          <a:schemeClr val="accent1"/>
        </a:solidFill>
      </dgm:spPr>
      <dgm:t>
        <a:bodyPr/>
        <a:lstStyle/>
        <a:p>
          <a:r>
            <a:rPr lang="it-IT" dirty="0"/>
            <a:t>Pagamenti</a:t>
          </a:r>
        </a:p>
      </dgm:t>
    </dgm:pt>
    <dgm:pt modelId="{43C509B8-DD3A-429A-ADC4-232D55259B3D}" type="parTrans" cxnId="{7BC9B318-E7A6-41F3-853C-1D1DFB2050EF}">
      <dgm:prSet/>
      <dgm:spPr/>
      <dgm:t>
        <a:bodyPr/>
        <a:lstStyle/>
        <a:p>
          <a:endParaRPr lang="it-IT"/>
        </a:p>
      </dgm:t>
    </dgm:pt>
    <dgm:pt modelId="{66A12237-9546-42D0-81C0-2C324670B743}" type="sibTrans" cxnId="{7BC9B318-E7A6-41F3-853C-1D1DFB2050EF}">
      <dgm:prSet/>
      <dgm:spPr/>
      <dgm:t>
        <a:bodyPr/>
        <a:lstStyle/>
        <a:p>
          <a:endParaRPr lang="it-IT"/>
        </a:p>
      </dgm:t>
    </dgm:pt>
    <dgm:pt modelId="{72FFD339-6A5F-4ED7-B529-6155AF8C35BB}">
      <dgm:prSet/>
      <dgm:spPr>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dgm:spPr>
      <dgm:t>
        <a:bodyPr/>
        <a:lstStyle/>
        <a:p>
          <a:r>
            <a:rPr lang="it-IT" dirty="0" err="1"/>
            <a:t>soc</a:t>
          </a:r>
          <a:endParaRPr lang="it-IT" dirty="0"/>
        </a:p>
      </dgm:t>
    </dgm:pt>
    <dgm:pt modelId="{ECFEA23F-DCCD-42C6-8706-10917CE3C2B0}" type="parTrans" cxnId="{C381E8F4-D0AE-4AD0-B8F1-4BDFF55901DE}">
      <dgm:prSet/>
      <dgm:spPr/>
      <dgm:t>
        <a:bodyPr/>
        <a:lstStyle/>
        <a:p>
          <a:endParaRPr lang="it-IT"/>
        </a:p>
      </dgm:t>
    </dgm:pt>
    <dgm:pt modelId="{A3B7292F-5113-4C29-982F-BC1D14C7BE90}" type="sibTrans" cxnId="{C381E8F4-D0AE-4AD0-B8F1-4BDFF55901DE}">
      <dgm:prSet/>
      <dgm:spPr/>
      <dgm:t>
        <a:bodyPr/>
        <a:lstStyle/>
        <a:p>
          <a:endParaRPr lang="it-IT"/>
        </a:p>
      </dgm:t>
    </dgm:pt>
    <dgm:pt modelId="{A07A8528-D240-4AAE-BA81-005F6AD457F1}">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Ispezione Opere D’arte</a:t>
          </a:r>
        </a:p>
      </dgm:t>
    </dgm:pt>
    <dgm:pt modelId="{3C15A388-1B3D-47E8-B2CB-E67F7E1AFFF1}" type="parTrans" cxnId="{C9F268FB-CB20-4E78-9CDC-F035D61B7E09}">
      <dgm:prSet/>
      <dgm:spPr/>
      <dgm:t>
        <a:bodyPr/>
        <a:lstStyle/>
        <a:p>
          <a:endParaRPr lang="it-IT"/>
        </a:p>
      </dgm:t>
    </dgm:pt>
    <dgm:pt modelId="{7D0C416E-0310-43FE-A0D6-735CD62199B6}" type="sibTrans" cxnId="{C9F268FB-CB20-4E78-9CDC-F035D61B7E09}">
      <dgm:prSet/>
      <dgm:spPr/>
      <dgm:t>
        <a:bodyPr/>
        <a:lstStyle/>
        <a:p>
          <a:endParaRPr lang="it-IT"/>
        </a:p>
      </dgm:t>
    </dgm:pt>
    <dgm:pt modelId="{56EC974B-4690-4A6A-B143-36A5A9DDDB75}">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Supporto Tecnico</a:t>
          </a:r>
        </a:p>
      </dgm:t>
    </dgm:pt>
    <dgm:pt modelId="{F24B2512-EFC3-4494-92F8-F4C2A580DD56}" type="parTrans" cxnId="{FE5FBCA8-5D6F-44E5-8DFA-D24300AECCE8}">
      <dgm:prSet/>
      <dgm:spPr/>
      <dgm:t>
        <a:bodyPr/>
        <a:lstStyle/>
        <a:p>
          <a:endParaRPr lang="it-IT"/>
        </a:p>
      </dgm:t>
    </dgm:pt>
    <dgm:pt modelId="{57612FAC-3D38-4A5A-9D54-8452999285F4}" type="sibTrans" cxnId="{FE5FBCA8-5D6F-44E5-8DFA-D24300AECCE8}">
      <dgm:prSet/>
      <dgm:spPr/>
      <dgm:t>
        <a:bodyPr/>
        <a:lstStyle/>
        <a:p>
          <a:endParaRPr lang="it-IT"/>
        </a:p>
      </dgm:t>
    </dgm:pt>
    <dgm:pt modelId="{5805825E-3BC3-4961-910E-96065463977D}">
      <dgm:prSet/>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Interventi Rilevanti</a:t>
          </a:r>
        </a:p>
      </dgm:t>
    </dgm:pt>
    <dgm:pt modelId="{263FA899-3C2D-4809-A47A-DB65911293C7}" type="parTrans" cxnId="{D6C89AE1-00A8-492D-888B-1E3DDC006D86}">
      <dgm:prSet/>
      <dgm:spPr/>
      <dgm:t>
        <a:bodyPr/>
        <a:lstStyle/>
        <a:p>
          <a:endParaRPr lang="it-IT"/>
        </a:p>
      </dgm:t>
    </dgm:pt>
    <dgm:pt modelId="{B58F1702-0059-4F53-9A60-77242457BBFA}" type="sibTrans" cxnId="{D6C89AE1-00A8-492D-888B-1E3DDC006D86}">
      <dgm:prSet/>
      <dgm:spPr/>
      <dgm:t>
        <a:bodyPr/>
        <a:lstStyle/>
        <a:p>
          <a:endParaRPr lang="it-IT"/>
        </a:p>
      </dgm:t>
    </dgm:pt>
    <dgm:pt modelId="{7A5D9CDD-E10F-422D-808B-815C691EF2E8}">
      <dgm:prSet phldrT="[Testo]" custT="1"/>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sz="700" dirty="0"/>
            <a:t>Investimenti e Produzione</a:t>
          </a:r>
        </a:p>
        <a:p>
          <a:r>
            <a:rPr lang="it-IT" sz="700" dirty="0"/>
            <a:t>NO</a:t>
          </a:r>
        </a:p>
      </dgm:t>
    </dgm:pt>
    <dgm:pt modelId="{089AE963-8402-4F38-908B-1CA814F78766}" type="parTrans" cxnId="{BEDD267B-EA80-4783-A782-86B96AAC5B03}">
      <dgm:prSet/>
      <dgm:spPr/>
      <dgm:t>
        <a:bodyPr/>
        <a:lstStyle/>
        <a:p>
          <a:endParaRPr lang="it-IT"/>
        </a:p>
      </dgm:t>
    </dgm:pt>
    <dgm:pt modelId="{63A1392B-D9B4-4604-ACED-CDD4B7E19D6E}" type="sibTrans" cxnId="{BEDD267B-EA80-4783-A782-86B96AAC5B03}">
      <dgm:prSet/>
      <dgm:spPr/>
      <dgm:t>
        <a:bodyPr/>
        <a:lstStyle/>
        <a:p>
          <a:endParaRPr lang="it-IT"/>
        </a:p>
      </dgm:t>
    </dgm:pt>
    <dgm:pt modelId="{2069E263-CA68-447A-859F-7068DC9AF2B6}" type="pres">
      <dgm:prSet presAssocID="{C782CD9B-2B4B-48D2-BF13-2B0D6056B78A}" presName="Name0" presStyleCnt="0">
        <dgm:presLayoutVars>
          <dgm:dir/>
          <dgm:animLvl val="lvl"/>
          <dgm:resizeHandles val="exact"/>
        </dgm:presLayoutVars>
      </dgm:prSet>
      <dgm:spPr/>
    </dgm:pt>
    <dgm:pt modelId="{F7031506-3856-48AD-BFC1-89D9660F7FF7}" type="pres">
      <dgm:prSet presAssocID="{DFCF748E-4FA2-4C04-B1DF-85DA1021BE5D}" presName="parTxOnly" presStyleLbl="node1" presStyleIdx="0" presStyleCnt="10">
        <dgm:presLayoutVars>
          <dgm:chMax val="0"/>
          <dgm:chPref val="0"/>
          <dgm:bulletEnabled val="1"/>
        </dgm:presLayoutVars>
      </dgm:prSet>
      <dgm:spPr/>
    </dgm:pt>
    <dgm:pt modelId="{420EBE6C-A91F-49B7-AF4C-29A127D6266A}" type="pres">
      <dgm:prSet presAssocID="{A0ED7260-8442-4FBF-80B4-500E49A4F3AF}" presName="parTxOnlySpace" presStyleCnt="0"/>
      <dgm:spPr/>
    </dgm:pt>
    <dgm:pt modelId="{6C62160D-9EC9-4B84-8EFD-9C3E10FC055A}" type="pres">
      <dgm:prSet presAssocID="{B754C885-66E5-4615-BD33-B6EE917A035D}" presName="parTxOnly" presStyleLbl="node1" presStyleIdx="1" presStyleCnt="10">
        <dgm:presLayoutVars>
          <dgm:chMax val="0"/>
          <dgm:chPref val="0"/>
          <dgm:bulletEnabled val="1"/>
        </dgm:presLayoutVars>
      </dgm:prSet>
      <dgm:spPr/>
    </dgm:pt>
    <dgm:pt modelId="{6415A264-B3C7-41A6-9BA0-D0AD6AE1DACB}" type="pres">
      <dgm:prSet presAssocID="{79AAED35-18A8-4347-A2B8-6AAE8B34BA56}" presName="parTxOnlySpace" presStyleCnt="0"/>
      <dgm:spPr/>
    </dgm:pt>
    <dgm:pt modelId="{636F50A3-8EFE-4C08-B6BE-284B03274F0B}" type="pres">
      <dgm:prSet presAssocID="{72FFD339-6A5F-4ED7-B529-6155AF8C35BB}" presName="parTxOnly" presStyleLbl="node1" presStyleIdx="2" presStyleCnt="10">
        <dgm:presLayoutVars>
          <dgm:chMax val="0"/>
          <dgm:chPref val="0"/>
          <dgm:bulletEnabled val="1"/>
        </dgm:presLayoutVars>
      </dgm:prSet>
      <dgm:spPr/>
    </dgm:pt>
    <dgm:pt modelId="{B0C5D3FB-8180-4CC6-9F14-5042E96FD8E3}" type="pres">
      <dgm:prSet presAssocID="{A3B7292F-5113-4C29-982F-BC1D14C7BE90}" presName="parTxOnlySpace" presStyleCnt="0"/>
      <dgm:spPr/>
    </dgm:pt>
    <dgm:pt modelId="{6BB9B9CD-B911-4E33-8045-BE6A8D7C5B89}" type="pres">
      <dgm:prSet presAssocID="{9225496C-39D8-4F53-8BB5-1B069B40EB3E}" presName="parTxOnly" presStyleLbl="node1" presStyleIdx="3" presStyleCnt="10">
        <dgm:presLayoutVars>
          <dgm:chMax val="0"/>
          <dgm:chPref val="0"/>
          <dgm:bulletEnabled val="1"/>
        </dgm:presLayoutVars>
      </dgm:prSet>
      <dgm:spPr/>
    </dgm:pt>
    <dgm:pt modelId="{60B2C4AD-8A0D-4CB2-93A9-16C6C0E4BD5B}" type="pres">
      <dgm:prSet presAssocID="{1E3F53DD-2537-4C67-AA71-87081D444A81}" presName="parTxOnlySpace" presStyleCnt="0"/>
      <dgm:spPr/>
    </dgm:pt>
    <dgm:pt modelId="{A29D7AF6-34C9-459D-B160-0F8E7686BA2B}" type="pres">
      <dgm:prSet presAssocID="{2F442204-E894-4EB6-A3FA-953074E6D5F9}" presName="parTxOnly" presStyleLbl="node1" presStyleIdx="4" presStyleCnt="10">
        <dgm:presLayoutVars>
          <dgm:chMax val="0"/>
          <dgm:chPref val="0"/>
          <dgm:bulletEnabled val="1"/>
        </dgm:presLayoutVars>
      </dgm:prSet>
      <dgm:spPr/>
    </dgm:pt>
    <dgm:pt modelId="{7004503D-9639-442B-9C04-FB1247092C40}" type="pres">
      <dgm:prSet presAssocID="{07F51AA8-9070-4A56-AF24-8977CF9B6A80}" presName="parTxOnlySpace" presStyleCnt="0"/>
      <dgm:spPr/>
    </dgm:pt>
    <dgm:pt modelId="{A2199658-E72A-4294-AFD3-6892981EEB12}" type="pres">
      <dgm:prSet presAssocID="{7A5D9CDD-E10F-422D-808B-815C691EF2E8}" presName="parTxOnly" presStyleLbl="node1" presStyleIdx="5" presStyleCnt="10">
        <dgm:presLayoutVars>
          <dgm:chMax val="0"/>
          <dgm:chPref val="0"/>
          <dgm:bulletEnabled val="1"/>
        </dgm:presLayoutVars>
      </dgm:prSet>
      <dgm:spPr/>
    </dgm:pt>
    <dgm:pt modelId="{9B5C0F41-E4E2-4A3A-AA73-E3E4EB6ACD5E}" type="pres">
      <dgm:prSet presAssocID="{63A1392B-D9B4-4604-ACED-CDD4B7E19D6E}" presName="parTxOnlySpace" presStyleCnt="0"/>
      <dgm:spPr/>
    </dgm:pt>
    <dgm:pt modelId="{F9C55CAF-C1A3-4EFD-AD93-3CBF7E30E2FA}" type="pres">
      <dgm:prSet presAssocID="{56EC974B-4690-4A6A-B143-36A5A9DDDB75}" presName="parTxOnly" presStyleLbl="node1" presStyleIdx="6" presStyleCnt="10">
        <dgm:presLayoutVars>
          <dgm:chMax val="0"/>
          <dgm:chPref val="0"/>
          <dgm:bulletEnabled val="1"/>
        </dgm:presLayoutVars>
      </dgm:prSet>
      <dgm:spPr/>
    </dgm:pt>
    <dgm:pt modelId="{DDB26EDE-11AF-40B7-9C16-348181381393}" type="pres">
      <dgm:prSet presAssocID="{57612FAC-3D38-4A5A-9D54-8452999285F4}" presName="parTxOnlySpace" presStyleCnt="0"/>
      <dgm:spPr/>
    </dgm:pt>
    <dgm:pt modelId="{8CED6B9D-804A-4009-A04D-D699125D11F0}" type="pres">
      <dgm:prSet presAssocID="{A07A8528-D240-4AAE-BA81-005F6AD457F1}" presName="parTxOnly" presStyleLbl="node1" presStyleIdx="7" presStyleCnt="10">
        <dgm:presLayoutVars>
          <dgm:chMax val="0"/>
          <dgm:chPref val="0"/>
          <dgm:bulletEnabled val="1"/>
        </dgm:presLayoutVars>
      </dgm:prSet>
      <dgm:spPr/>
    </dgm:pt>
    <dgm:pt modelId="{C3D8151F-F75F-49EC-B6A3-4B15A8912918}" type="pres">
      <dgm:prSet presAssocID="{7D0C416E-0310-43FE-A0D6-735CD62199B6}" presName="parTxOnlySpace" presStyleCnt="0"/>
      <dgm:spPr/>
    </dgm:pt>
    <dgm:pt modelId="{0A5AB2D9-0A33-47A4-83C2-3990E2018CD9}" type="pres">
      <dgm:prSet presAssocID="{5805825E-3BC3-4961-910E-96065463977D}" presName="parTxOnly" presStyleLbl="node1" presStyleIdx="8" presStyleCnt="10">
        <dgm:presLayoutVars>
          <dgm:chMax val="0"/>
          <dgm:chPref val="0"/>
          <dgm:bulletEnabled val="1"/>
        </dgm:presLayoutVars>
      </dgm:prSet>
      <dgm:spPr/>
    </dgm:pt>
    <dgm:pt modelId="{5FE5E96A-0031-41D2-A1BE-2634D143793A}" type="pres">
      <dgm:prSet presAssocID="{B58F1702-0059-4F53-9A60-77242457BBFA}" presName="parTxOnlySpace" presStyleCnt="0"/>
      <dgm:spPr/>
    </dgm:pt>
    <dgm:pt modelId="{F2510710-7BA2-44B7-8AA7-1347717B483B}" type="pres">
      <dgm:prSet presAssocID="{2D51EAF0-C497-40E9-996D-2D0BC40F318C}" presName="parTxOnly" presStyleLbl="node1" presStyleIdx="9" presStyleCnt="10">
        <dgm:presLayoutVars>
          <dgm:chMax val="0"/>
          <dgm:chPref val="0"/>
          <dgm:bulletEnabled val="1"/>
        </dgm:presLayoutVars>
      </dgm:prSet>
      <dgm:spPr/>
    </dgm:pt>
  </dgm:ptLst>
  <dgm:cxnLst>
    <dgm:cxn modelId="{F8EA3703-CEE5-4162-AB46-CFFF8AC28B48}" srcId="{C782CD9B-2B4B-48D2-BF13-2B0D6056B78A}" destId="{B754C885-66E5-4615-BD33-B6EE917A035D}" srcOrd="1" destOrd="0" parTransId="{65812F9F-DD0E-4752-BF8B-D07282594751}" sibTransId="{79AAED35-18A8-4347-A2B8-6AAE8B34BA56}"/>
    <dgm:cxn modelId="{7BC9B318-E7A6-41F3-853C-1D1DFB2050EF}" srcId="{C782CD9B-2B4B-48D2-BF13-2B0D6056B78A}" destId="{2D51EAF0-C497-40E9-996D-2D0BC40F318C}" srcOrd="9" destOrd="0" parTransId="{43C509B8-DD3A-429A-ADC4-232D55259B3D}" sibTransId="{66A12237-9546-42D0-81C0-2C324670B743}"/>
    <dgm:cxn modelId="{9EEC0D20-81E4-40EE-9317-7F46003D28DA}" type="presOf" srcId="{2F442204-E894-4EB6-A3FA-953074E6D5F9}" destId="{A29D7AF6-34C9-459D-B160-0F8E7686BA2B}" srcOrd="0" destOrd="0" presId="urn:microsoft.com/office/officeart/2005/8/layout/chevron1"/>
    <dgm:cxn modelId="{B26CD327-672E-452A-B43B-FB51EA49F0BE}" type="presOf" srcId="{C782CD9B-2B4B-48D2-BF13-2B0D6056B78A}" destId="{2069E263-CA68-447A-859F-7068DC9AF2B6}" srcOrd="0" destOrd="0" presId="urn:microsoft.com/office/officeart/2005/8/layout/chevron1"/>
    <dgm:cxn modelId="{7E4E693B-96C1-418A-9C88-8BD5B1C5C7AF}" type="presOf" srcId="{72FFD339-6A5F-4ED7-B529-6155AF8C35BB}" destId="{636F50A3-8EFE-4C08-B6BE-284B03274F0B}" srcOrd="0" destOrd="0" presId="urn:microsoft.com/office/officeart/2005/8/layout/chevron1"/>
    <dgm:cxn modelId="{94A2B45D-2D69-4650-AFC3-C5574217F910}" srcId="{C782CD9B-2B4B-48D2-BF13-2B0D6056B78A}" destId="{9225496C-39D8-4F53-8BB5-1B069B40EB3E}" srcOrd="3" destOrd="0" parTransId="{D3A21DFB-000A-4FCE-9E9D-8516EBA4DD45}" sibTransId="{1E3F53DD-2537-4C67-AA71-87081D444A81}"/>
    <dgm:cxn modelId="{4848B75E-8DEE-4549-B1C9-8605933EA1BA}" type="presOf" srcId="{9225496C-39D8-4F53-8BB5-1B069B40EB3E}" destId="{6BB9B9CD-B911-4E33-8045-BE6A8D7C5B89}" srcOrd="0" destOrd="0" presId="urn:microsoft.com/office/officeart/2005/8/layout/chevron1"/>
    <dgm:cxn modelId="{6FD2AE64-BDEB-482D-ACF3-1D5403180A1E}" srcId="{C782CD9B-2B4B-48D2-BF13-2B0D6056B78A}" destId="{2F442204-E894-4EB6-A3FA-953074E6D5F9}" srcOrd="4" destOrd="0" parTransId="{9E6A019B-6886-407A-A3BB-1A2A8D416818}" sibTransId="{07F51AA8-9070-4A56-AF24-8977CF9B6A80}"/>
    <dgm:cxn modelId="{33C1804C-FFA2-4E7C-88C8-9E7847E49795}" type="presOf" srcId="{2D51EAF0-C497-40E9-996D-2D0BC40F318C}" destId="{F2510710-7BA2-44B7-8AA7-1347717B483B}" srcOrd="0" destOrd="0" presId="urn:microsoft.com/office/officeart/2005/8/layout/chevron1"/>
    <dgm:cxn modelId="{BEDD267B-EA80-4783-A782-86B96AAC5B03}" srcId="{C782CD9B-2B4B-48D2-BF13-2B0D6056B78A}" destId="{7A5D9CDD-E10F-422D-808B-815C691EF2E8}" srcOrd="5" destOrd="0" parTransId="{089AE963-8402-4F38-908B-1CA814F78766}" sibTransId="{63A1392B-D9B4-4604-ACED-CDD4B7E19D6E}"/>
    <dgm:cxn modelId="{6330C07E-742C-4A96-B74E-E7469DA1A24A}" type="presOf" srcId="{7A5D9CDD-E10F-422D-808B-815C691EF2E8}" destId="{A2199658-E72A-4294-AFD3-6892981EEB12}" srcOrd="0" destOrd="0" presId="urn:microsoft.com/office/officeart/2005/8/layout/chevron1"/>
    <dgm:cxn modelId="{27321C92-3D75-49F6-BD88-55224176FF9F}" type="presOf" srcId="{5805825E-3BC3-4961-910E-96065463977D}" destId="{0A5AB2D9-0A33-47A4-83C2-3990E2018CD9}" srcOrd="0" destOrd="0" presId="urn:microsoft.com/office/officeart/2005/8/layout/chevron1"/>
    <dgm:cxn modelId="{87053992-1316-4C75-BAD9-A7483602F88E}" type="presOf" srcId="{A07A8528-D240-4AAE-BA81-005F6AD457F1}" destId="{8CED6B9D-804A-4009-A04D-D699125D11F0}" srcOrd="0" destOrd="0" presId="urn:microsoft.com/office/officeart/2005/8/layout/chevron1"/>
    <dgm:cxn modelId="{E31AF39A-8379-4E6C-A609-86E70E364BFC}" type="presOf" srcId="{B754C885-66E5-4615-BD33-B6EE917A035D}" destId="{6C62160D-9EC9-4B84-8EFD-9C3E10FC055A}" srcOrd="0" destOrd="0" presId="urn:microsoft.com/office/officeart/2005/8/layout/chevron1"/>
    <dgm:cxn modelId="{92751D9D-02E3-45C2-978C-737085227C42}" srcId="{C782CD9B-2B4B-48D2-BF13-2B0D6056B78A}" destId="{DFCF748E-4FA2-4C04-B1DF-85DA1021BE5D}" srcOrd="0" destOrd="0" parTransId="{7DAF1956-B700-4203-9672-92E4451DCC31}" sibTransId="{A0ED7260-8442-4FBF-80B4-500E49A4F3AF}"/>
    <dgm:cxn modelId="{FE5FBCA8-5D6F-44E5-8DFA-D24300AECCE8}" srcId="{C782CD9B-2B4B-48D2-BF13-2B0D6056B78A}" destId="{56EC974B-4690-4A6A-B143-36A5A9DDDB75}" srcOrd="6" destOrd="0" parTransId="{F24B2512-EFC3-4494-92F8-F4C2A580DD56}" sibTransId="{57612FAC-3D38-4A5A-9D54-8452999285F4}"/>
    <dgm:cxn modelId="{A30FA2CD-3007-4ECB-9076-D5BF50C30E0F}" type="presOf" srcId="{56EC974B-4690-4A6A-B143-36A5A9DDDB75}" destId="{F9C55CAF-C1A3-4EFD-AD93-3CBF7E30E2FA}" srcOrd="0" destOrd="0" presId="urn:microsoft.com/office/officeart/2005/8/layout/chevron1"/>
    <dgm:cxn modelId="{DCB200D8-D4C5-4E7D-8C26-80742683B4A0}" type="presOf" srcId="{DFCF748E-4FA2-4C04-B1DF-85DA1021BE5D}" destId="{F7031506-3856-48AD-BFC1-89D9660F7FF7}" srcOrd="0" destOrd="0" presId="urn:microsoft.com/office/officeart/2005/8/layout/chevron1"/>
    <dgm:cxn modelId="{D6C89AE1-00A8-492D-888B-1E3DDC006D86}" srcId="{C782CD9B-2B4B-48D2-BF13-2B0D6056B78A}" destId="{5805825E-3BC3-4961-910E-96065463977D}" srcOrd="8" destOrd="0" parTransId="{263FA899-3C2D-4809-A47A-DB65911293C7}" sibTransId="{B58F1702-0059-4F53-9A60-77242457BBFA}"/>
    <dgm:cxn modelId="{C381E8F4-D0AE-4AD0-B8F1-4BDFF55901DE}" srcId="{C782CD9B-2B4B-48D2-BF13-2B0D6056B78A}" destId="{72FFD339-6A5F-4ED7-B529-6155AF8C35BB}" srcOrd="2" destOrd="0" parTransId="{ECFEA23F-DCCD-42C6-8706-10917CE3C2B0}" sibTransId="{A3B7292F-5113-4C29-982F-BC1D14C7BE90}"/>
    <dgm:cxn modelId="{C9F268FB-CB20-4E78-9CDC-F035D61B7E09}" srcId="{C782CD9B-2B4B-48D2-BF13-2B0D6056B78A}" destId="{A07A8528-D240-4AAE-BA81-005F6AD457F1}" srcOrd="7" destOrd="0" parTransId="{3C15A388-1B3D-47E8-B2CB-E67F7E1AFFF1}" sibTransId="{7D0C416E-0310-43FE-A0D6-735CD62199B6}"/>
    <dgm:cxn modelId="{272BF650-873F-4568-9DE0-BF4007FDD6AB}" type="presParOf" srcId="{2069E263-CA68-447A-859F-7068DC9AF2B6}" destId="{F7031506-3856-48AD-BFC1-89D9660F7FF7}" srcOrd="0" destOrd="0" presId="urn:microsoft.com/office/officeart/2005/8/layout/chevron1"/>
    <dgm:cxn modelId="{0C75F765-D25C-491A-88B6-BA680CCCBB57}" type="presParOf" srcId="{2069E263-CA68-447A-859F-7068DC9AF2B6}" destId="{420EBE6C-A91F-49B7-AF4C-29A127D6266A}" srcOrd="1" destOrd="0" presId="urn:microsoft.com/office/officeart/2005/8/layout/chevron1"/>
    <dgm:cxn modelId="{A90DCC12-0439-4DCD-A1B1-0968AA329E98}" type="presParOf" srcId="{2069E263-CA68-447A-859F-7068DC9AF2B6}" destId="{6C62160D-9EC9-4B84-8EFD-9C3E10FC055A}" srcOrd="2" destOrd="0" presId="urn:microsoft.com/office/officeart/2005/8/layout/chevron1"/>
    <dgm:cxn modelId="{E4DE32B3-3B00-4BDC-AADF-5994AA0A9D3F}" type="presParOf" srcId="{2069E263-CA68-447A-859F-7068DC9AF2B6}" destId="{6415A264-B3C7-41A6-9BA0-D0AD6AE1DACB}" srcOrd="3" destOrd="0" presId="urn:microsoft.com/office/officeart/2005/8/layout/chevron1"/>
    <dgm:cxn modelId="{DB580572-8B20-4F2C-9AF4-5EFC8148315D}" type="presParOf" srcId="{2069E263-CA68-447A-859F-7068DC9AF2B6}" destId="{636F50A3-8EFE-4C08-B6BE-284B03274F0B}" srcOrd="4" destOrd="0" presId="urn:microsoft.com/office/officeart/2005/8/layout/chevron1"/>
    <dgm:cxn modelId="{3BDC69CA-B1A5-4E38-9E4A-A1CA1F5DFEB6}" type="presParOf" srcId="{2069E263-CA68-447A-859F-7068DC9AF2B6}" destId="{B0C5D3FB-8180-4CC6-9F14-5042E96FD8E3}" srcOrd="5" destOrd="0" presId="urn:microsoft.com/office/officeart/2005/8/layout/chevron1"/>
    <dgm:cxn modelId="{5E772A08-D293-4092-B3CF-29892747ACA7}" type="presParOf" srcId="{2069E263-CA68-447A-859F-7068DC9AF2B6}" destId="{6BB9B9CD-B911-4E33-8045-BE6A8D7C5B89}" srcOrd="6" destOrd="0" presId="urn:microsoft.com/office/officeart/2005/8/layout/chevron1"/>
    <dgm:cxn modelId="{7A208876-14C9-4D46-BA28-5F4158207866}" type="presParOf" srcId="{2069E263-CA68-447A-859F-7068DC9AF2B6}" destId="{60B2C4AD-8A0D-4CB2-93A9-16C6C0E4BD5B}" srcOrd="7" destOrd="0" presId="urn:microsoft.com/office/officeart/2005/8/layout/chevron1"/>
    <dgm:cxn modelId="{733649E3-328A-408D-B59A-C99093CEC395}" type="presParOf" srcId="{2069E263-CA68-447A-859F-7068DC9AF2B6}" destId="{A29D7AF6-34C9-459D-B160-0F8E7686BA2B}" srcOrd="8" destOrd="0" presId="urn:microsoft.com/office/officeart/2005/8/layout/chevron1"/>
    <dgm:cxn modelId="{509AB683-F053-4053-AADC-8D7AE6F4BE52}" type="presParOf" srcId="{2069E263-CA68-447A-859F-7068DC9AF2B6}" destId="{7004503D-9639-442B-9C04-FB1247092C40}" srcOrd="9" destOrd="0" presId="urn:microsoft.com/office/officeart/2005/8/layout/chevron1"/>
    <dgm:cxn modelId="{DBFF3BED-FAEE-4E47-BA27-E2D228687A25}" type="presParOf" srcId="{2069E263-CA68-447A-859F-7068DC9AF2B6}" destId="{A2199658-E72A-4294-AFD3-6892981EEB12}" srcOrd="10" destOrd="0" presId="urn:microsoft.com/office/officeart/2005/8/layout/chevron1"/>
    <dgm:cxn modelId="{63CC4CA0-421C-4719-ACA9-481903C4B48E}" type="presParOf" srcId="{2069E263-CA68-447A-859F-7068DC9AF2B6}" destId="{9B5C0F41-E4E2-4A3A-AA73-E3E4EB6ACD5E}" srcOrd="11" destOrd="0" presId="urn:microsoft.com/office/officeart/2005/8/layout/chevron1"/>
    <dgm:cxn modelId="{564CD40E-8A73-4A67-BC12-EA40373913B8}" type="presParOf" srcId="{2069E263-CA68-447A-859F-7068DC9AF2B6}" destId="{F9C55CAF-C1A3-4EFD-AD93-3CBF7E30E2FA}" srcOrd="12" destOrd="0" presId="urn:microsoft.com/office/officeart/2005/8/layout/chevron1"/>
    <dgm:cxn modelId="{43AF6E3E-7EB2-4F63-A1CF-AFDA1BB40007}" type="presParOf" srcId="{2069E263-CA68-447A-859F-7068DC9AF2B6}" destId="{DDB26EDE-11AF-40B7-9C16-348181381393}" srcOrd="13" destOrd="0" presId="urn:microsoft.com/office/officeart/2005/8/layout/chevron1"/>
    <dgm:cxn modelId="{43CB4B33-A6BE-4284-B5E0-E2F4F660CD09}" type="presParOf" srcId="{2069E263-CA68-447A-859F-7068DC9AF2B6}" destId="{8CED6B9D-804A-4009-A04D-D699125D11F0}" srcOrd="14" destOrd="0" presId="urn:microsoft.com/office/officeart/2005/8/layout/chevron1"/>
    <dgm:cxn modelId="{DC0A2465-9641-428C-80AE-71C9B6444796}" type="presParOf" srcId="{2069E263-CA68-447A-859F-7068DC9AF2B6}" destId="{C3D8151F-F75F-49EC-B6A3-4B15A8912918}" srcOrd="15" destOrd="0" presId="urn:microsoft.com/office/officeart/2005/8/layout/chevron1"/>
    <dgm:cxn modelId="{7451698B-CE92-4113-B9F9-11F5C8D16C25}" type="presParOf" srcId="{2069E263-CA68-447A-859F-7068DC9AF2B6}" destId="{0A5AB2D9-0A33-47A4-83C2-3990E2018CD9}" srcOrd="16" destOrd="0" presId="urn:microsoft.com/office/officeart/2005/8/layout/chevron1"/>
    <dgm:cxn modelId="{A512ED86-3300-40E5-B7FF-EB095413C48A}" type="presParOf" srcId="{2069E263-CA68-447A-859F-7068DC9AF2B6}" destId="{5FE5E96A-0031-41D2-A1BE-2634D143793A}" srcOrd="17" destOrd="0" presId="urn:microsoft.com/office/officeart/2005/8/layout/chevron1"/>
    <dgm:cxn modelId="{AAB67515-404E-4AA5-88FF-BC2DCDC7941B}" type="presParOf" srcId="{2069E263-CA68-447A-859F-7068DC9AF2B6}" destId="{F2510710-7BA2-44B7-8AA7-1347717B483B}" srcOrd="18"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782CD9B-2B4B-48D2-BF13-2B0D6056B78A}"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it-IT"/>
        </a:p>
      </dgm:t>
    </dgm:pt>
    <dgm:pt modelId="{DFCF748E-4FA2-4C04-B1DF-85DA1021BE5D}">
      <dgm:prSet phldrT="[Testo]"/>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Rete viaria complessiva</a:t>
          </a:r>
        </a:p>
      </dgm:t>
    </dgm:pt>
    <dgm:pt modelId="{7DAF1956-B700-4203-9672-92E4451DCC31}" type="parTrans" cxnId="{92751D9D-02E3-45C2-978C-737085227C42}">
      <dgm:prSet/>
      <dgm:spPr/>
      <dgm:t>
        <a:bodyPr/>
        <a:lstStyle/>
        <a:p>
          <a:endParaRPr lang="it-IT"/>
        </a:p>
      </dgm:t>
    </dgm:pt>
    <dgm:pt modelId="{A0ED7260-8442-4FBF-80B4-500E49A4F3AF}" type="sibTrans" cxnId="{92751D9D-02E3-45C2-978C-737085227C42}">
      <dgm:prSet/>
      <dgm:spPr/>
      <dgm:t>
        <a:bodyPr/>
        <a:lstStyle/>
        <a:p>
          <a:endParaRPr lang="it-IT"/>
        </a:p>
      </dgm:t>
    </dgm:pt>
    <dgm:pt modelId="{B754C885-66E5-4615-BD33-B6EE917A035D}">
      <dgm:prSet phldrT="[Testo]"/>
      <dgm:spPr>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dgm:spPr>
      <dgm:t>
        <a:bodyPr/>
        <a:lstStyle/>
        <a:p>
          <a:r>
            <a:rPr lang="it-IT" dirty="0"/>
            <a:t>Risorse</a:t>
          </a:r>
        </a:p>
      </dgm:t>
    </dgm:pt>
    <dgm:pt modelId="{65812F9F-DD0E-4752-BF8B-D07282594751}" type="parTrans" cxnId="{F8EA3703-CEE5-4162-AB46-CFFF8AC28B48}">
      <dgm:prSet/>
      <dgm:spPr/>
      <dgm:t>
        <a:bodyPr/>
        <a:lstStyle/>
        <a:p>
          <a:endParaRPr lang="it-IT"/>
        </a:p>
      </dgm:t>
    </dgm:pt>
    <dgm:pt modelId="{79AAED35-18A8-4347-A2B8-6AAE8B34BA56}" type="sibTrans" cxnId="{F8EA3703-CEE5-4162-AB46-CFFF8AC28B48}">
      <dgm:prSet/>
      <dgm:spPr/>
      <dgm:t>
        <a:bodyPr/>
        <a:lstStyle/>
        <a:p>
          <a:endParaRPr lang="it-IT"/>
        </a:p>
      </dgm:t>
    </dgm:pt>
    <dgm:pt modelId="{9225496C-39D8-4F53-8BB5-1B069B40EB3E}">
      <dgm:prSet phldrT="[Testo]"/>
      <dgm:spPr>
        <a:gradFill flip="none"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16200000" scaled="1"/>
          <a:tileRect/>
        </a:gradFill>
      </dgm:spPr>
      <dgm:t>
        <a:bodyPr/>
        <a:lstStyle/>
        <a:p>
          <a:r>
            <a:rPr lang="it-IT" dirty="0"/>
            <a:t>Affidamenti</a:t>
          </a:r>
        </a:p>
      </dgm:t>
    </dgm:pt>
    <dgm:pt modelId="{D3A21DFB-000A-4FCE-9E9D-8516EBA4DD45}" type="parTrans" cxnId="{94A2B45D-2D69-4650-AFC3-C5574217F910}">
      <dgm:prSet/>
      <dgm:spPr/>
      <dgm:t>
        <a:bodyPr/>
        <a:lstStyle/>
        <a:p>
          <a:endParaRPr lang="it-IT"/>
        </a:p>
      </dgm:t>
    </dgm:pt>
    <dgm:pt modelId="{1E3F53DD-2537-4C67-AA71-87081D444A81}" type="sibTrans" cxnId="{94A2B45D-2D69-4650-AFC3-C5574217F910}">
      <dgm:prSet/>
      <dgm:spPr/>
      <dgm:t>
        <a:bodyPr/>
        <a:lstStyle/>
        <a:p>
          <a:endParaRPr lang="it-IT"/>
        </a:p>
      </dgm:t>
    </dgm:pt>
    <dgm:pt modelId="{2F442204-E894-4EB6-A3FA-953074E6D5F9}">
      <dgm:prSet phldrT="[Testo]" custT="1"/>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sz="700" dirty="0"/>
            <a:t>Investimenti e Produzione</a:t>
          </a:r>
        </a:p>
        <a:p>
          <a:r>
            <a:rPr lang="it-IT" sz="700" dirty="0"/>
            <a:t>MP</a:t>
          </a:r>
        </a:p>
      </dgm:t>
    </dgm:pt>
    <dgm:pt modelId="{9E6A019B-6886-407A-A3BB-1A2A8D416818}" type="parTrans" cxnId="{6FD2AE64-BDEB-482D-ACF3-1D5403180A1E}">
      <dgm:prSet/>
      <dgm:spPr/>
      <dgm:t>
        <a:bodyPr/>
        <a:lstStyle/>
        <a:p>
          <a:endParaRPr lang="it-IT"/>
        </a:p>
      </dgm:t>
    </dgm:pt>
    <dgm:pt modelId="{07F51AA8-9070-4A56-AF24-8977CF9B6A80}" type="sibTrans" cxnId="{6FD2AE64-BDEB-482D-ACF3-1D5403180A1E}">
      <dgm:prSet/>
      <dgm:spPr/>
      <dgm:t>
        <a:bodyPr/>
        <a:lstStyle/>
        <a:p>
          <a:endParaRPr lang="it-IT"/>
        </a:p>
      </dgm:t>
    </dgm:pt>
    <dgm:pt modelId="{2D51EAF0-C497-40E9-996D-2D0BC40F318C}">
      <dgm:prSet phldrT="[Testo]"/>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Pagamenti</a:t>
          </a:r>
        </a:p>
      </dgm:t>
    </dgm:pt>
    <dgm:pt modelId="{43C509B8-DD3A-429A-ADC4-232D55259B3D}" type="parTrans" cxnId="{7BC9B318-E7A6-41F3-853C-1D1DFB2050EF}">
      <dgm:prSet/>
      <dgm:spPr/>
      <dgm:t>
        <a:bodyPr/>
        <a:lstStyle/>
        <a:p>
          <a:endParaRPr lang="it-IT"/>
        </a:p>
      </dgm:t>
    </dgm:pt>
    <dgm:pt modelId="{66A12237-9546-42D0-81C0-2C324670B743}" type="sibTrans" cxnId="{7BC9B318-E7A6-41F3-853C-1D1DFB2050EF}">
      <dgm:prSet/>
      <dgm:spPr/>
      <dgm:t>
        <a:bodyPr/>
        <a:lstStyle/>
        <a:p>
          <a:endParaRPr lang="it-IT"/>
        </a:p>
      </dgm:t>
    </dgm:pt>
    <dgm:pt modelId="{72FFD339-6A5F-4ED7-B529-6155AF8C35BB}">
      <dgm:prSet/>
      <dgm:spPr>
        <a:solidFill>
          <a:schemeClr val="accent1"/>
        </a:solidFill>
      </dgm:spPr>
      <dgm:t>
        <a:bodyPr/>
        <a:lstStyle/>
        <a:p>
          <a:r>
            <a:rPr lang="it-IT" dirty="0" err="1"/>
            <a:t>soc</a:t>
          </a:r>
          <a:endParaRPr lang="it-IT" dirty="0"/>
        </a:p>
      </dgm:t>
    </dgm:pt>
    <dgm:pt modelId="{ECFEA23F-DCCD-42C6-8706-10917CE3C2B0}" type="parTrans" cxnId="{C381E8F4-D0AE-4AD0-B8F1-4BDFF55901DE}">
      <dgm:prSet/>
      <dgm:spPr/>
      <dgm:t>
        <a:bodyPr/>
        <a:lstStyle/>
        <a:p>
          <a:endParaRPr lang="it-IT"/>
        </a:p>
      </dgm:t>
    </dgm:pt>
    <dgm:pt modelId="{A3B7292F-5113-4C29-982F-BC1D14C7BE90}" type="sibTrans" cxnId="{C381E8F4-D0AE-4AD0-B8F1-4BDFF55901DE}">
      <dgm:prSet/>
      <dgm:spPr/>
      <dgm:t>
        <a:bodyPr/>
        <a:lstStyle/>
        <a:p>
          <a:endParaRPr lang="it-IT"/>
        </a:p>
      </dgm:t>
    </dgm:pt>
    <dgm:pt modelId="{A07A8528-D240-4AAE-BA81-005F6AD457F1}">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Ispezione Opere D’arte</a:t>
          </a:r>
        </a:p>
      </dgm:t>
    </dgm:pt>
    <dgm:pt modelId="{3C15A388-1B3D-47E8-B2CB-E67F7E1AFFF1}" type="parTrans" cxnId="{C9F268FB-CB20-4E78-9CDC-F035D61B7E09}">
      <dgm:prSet/>
      <dgm:spPr/>
      <dgm:t>
        <a:bodyPr/>
        <a:lstStyle/>
        <a:p>
          <a:endParaRPr lang="it-IT"/>
        </a:p>
      </dgm:t>
    </dgm:pt>
    <dgm:pt modelId="{7D0C416E-0310-43FE-A0D6-735CD62199B6}" type="sibTrans" cxnId="{C9F268FB-CB20-4E78-9CDC-F035D61B7E09}">
      <dgm:prSet/>
      <dgm:spPr/>
      <dgm:t>
        <a:bodyPr/>
        <a:lstStyle/>
        <a:p>
          <a:endParaRPr lang="it-IT"/>
        </a:p>
      </dgm:t>
    </dgm:pt>
    <dgm:pt modelId="{56EC974B-4690-4A6A-B143-36A5A9DDDB75}">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Supporto Tecnico</a:t>
          </a:r>
        </a:p>
      </dgm:t>
    </dgm:pt>
    <dgm:pt modelId="{F24B2512-EFC3-4494-92F8-F4C2A580DD56}" type="parTrans" cxnId="{FE5FBCA8-5D6F-44E5-8DFA-D24300AECCE8}">
      <dgm:prSet/>
      <dgm:spPr/>
      <dgm:t>
        <a:bodyPr/>
        <a:lstStyle/>
        <a:p>
          <a:endParaRPr lang="it-IT"/>
        </a:p>
      </dgm:t>
    </dgm:pt>
    <dgm:pt modelId="{57612FAC-3D38-4A5A-9D54-8452999285F4}" type="sibTrans" cxnId="{FE5FBCA8-5D6F-44E5-8DFA-D24300AECCE8}">
      <dgm:prSet/>
      <dgm:spPr/>
      <dgm:t>
        <a:bodyPr/>
        <a:lstStyle/>
        <a:p>
          <a:endParaRPr lang="it-IT"/>
        </a:p>
      </dgm:t>
    </dgm:pt>
    <dgm:pt modelId="{5805825E-3BC3-4961-910E-96065463977D}">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Interventi Rilevanti</a:t>
          </a:r>
        </a:p>
      </dgm:t>
    </dgm:pt>
    <dgm:pt modelId="{263FA899-3C2D-4809-A47A-DB65911293C7}" type="parTrans" cxnId="{D6C89AE1-00A8-492D-888B-1E3DDC006D86}">
      <dgm:prSet/>
      <dgm:spPr/>
      <dgm:t>
        <a:bodyPr/>
        <a:lstStyle/>
        <a:p>
          <a:endParaRPr lang="it-IT"/>
        </a:p>
      </dgm:t>
    </dgm:pt>
    <dgm:pt modelId="{B58F1702-0059-4F53-9A60-77242457BBFA}" type="sibTrans" cxnId="{D6C89AE1-00A8-492D-888B-1E3DDC006D86}">
      <dgm:prSet/>
      <dgm:spPr/>
      <dgm:t>
        <a:bodyPr/>
        <a:lstStyle/>
        <a:p>
          <a:endParaRPr lang="it-IT"/>
        </a:p>
      </dgm:t>
    </dgm:pt>
    <dgm:pt modelId="{7A5D9CDD-E10F-422D-808B-815C691EF2E8}">
      <dgm:prSet phldrT="[Testo]" custT="1"/>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sz="700" dirty="0"/>
            <a:t>Investimenti e Produzione</a:t>
          </a:r>
        </a:p>
        <a:p>
          <a:r>
            <a:rPr lang="it-IT" sz="700" dirty="0"/>
            <a:t>NO</a:t>
          </a:r>
        </a:p>
      </dgm:t>
    </dgm:pt>
    <dgm:pt modelId="{089AE963-8402-4F38-908B-1CA814F78766}" type="parTrans" cxnId="{BEDD267B-EA80-4783-A782-86B96AAC5B03}">
      <dgm:prSet/>
      <dgm:spPr/>
      <dgm:t>
        <a:bodyPr/>
        <a:lstStyle/>
        <a:p>
          <a:endParaRPr lang="it-IT"/>
        </a:p>
      </dgm:t>
    </dgm:pt>
    <dgm:pt modelId="{63A1392B-D9B4-4604-ACED-CDD4B7E19D6E}" type="sibTrans" cxnId="{BEDD267B-EA80-4783-A782-86B96AAC5B03}">
      <dgm:prSet/>
      <dgm:spPr/>
      <dgm:t>
        <a:bodyPr/>
        <a:lstStyle/>
        <a:p>
          <a:endParaRPr lang="it-IT"/>
        </a:p>
      </dgm:t>
    </dgm:pt>
    <dgm:pt modelId="{2069E263-CA68-447A-859F-7068DC9AF2B6}" type="pres">
      <dgm:prSet presAssocID="{C782CD9B-2B4B-48D2-BF13-2B0D6056B78A}" presName="Name0" presStyleCnt="0">
        <dgm:presLayoutVars>
          <dgm:dir/>
          <dgm:animLvl val="lvl"/>
          <dgm:resizeHandles val="exact"/>
        </dgm:presLayoutVars>
      </dgm:prSet>
      <dgm:spPr/>
    </dgm:pt>
    <dgm:pt modelId="{F7031506-3856-48AD-BFC1-89D9660F7FF7}" type="pres">
      <dgm:prSet presAssocID="{DFCF748E-4FA2-4C04-B1DF-85DA1021BE5D}" presName="parTxOnly" presStyleLbl="node1" presStyleIdx="0" presStyleCnt="10">
        <dgm:presLayoutVars>
          <dgm:chMax val="0"/>
          <dgm:chPref val="0"/>
          <dgm:bulletEnabled val="1"/>
        </dgm:presLayoutVars>
      </dgm:prSet>
      <dgm:spPr/>
    </dgm:pt>
    <dgm:pt modelId="{420EBE6C-A91F-49B7-AF4C-29A127D6266A}" type="pres">
      <dgm:prSet presAssocID="{A0ED7260-8442-4FBF-80B4-500E49A4F3AF}" presName="parTxOnlySpace" presStyleCnt="0"/>
      <dgm:spPr/>
    </dgm:pt>
    <dgm:pt modelId="{6C62160D-9EC9-4B84-8EFD-9C3E10FC055A}" type="pres">
      <dgm:prSet presAssocID="{B754C885-66E5-4615-BD33-B6EE917A035D}" presName="parTxOnly" presStyleLbl="node1" presStyleIdx="1" presStyleCnt="10">
        <dgm:presLayoutVars>
          <dgm:chMax val="0"/>
          <dgm:chPref val="0"/>
          <dgm:bulletEnabled val="1"/>
        </dgm:presLayoutVars>
      </dgm:prSet>
      <dgm:spPr/>
    </dgm:pt>
    <dgm:pt modelId="{6415A264-B3C7-41A6-9BA0-D0AD6AE1DACB}" type="pres">
      <dgm:prSet presAssocID="{79AAED35-18A8-4347-A2B8-6AAE8B34BA56}" presName="parTxOnlySpace" presStyleCnt="0"/>
      <dgm:spPr/>
    </dgm:pt>
    <dgm:pt modelId="{636F50A3-8EFE-4C08-B6BE-284B03274F0B}" type="pres">
      <dgm:prSet presAssocID="{72FFD339-6A5F-4ED7-B529-6155AF8C35BB}" presName="parTxOnly" presStyleLbl="node1" presStyleIdx="2" presStyleCnt="10">
        <dgm:presLayoutVars>
          <dgm:chMax val="0"/>
          <dgm:chPref val="0"/>
          <dgm:bulletEnabled val="1"/>
        </dgm:presLayoutVars>
      </dgm:prSet>
      <dgm:spPr/>
    </dgm:pt>
    <dgm:pt modelId="{B0C5D3FB-8180-4CC6-9F14-5042E96FD8E3}" type="pres">
      <dgm:prSet presAssocID="{A3B7292F-5113-4C29-982F-BC1D14C7BE90}" presName="parTxOnlySpace" presStyleCnt="0"/>
      <dgm:spPr/>
    </dgm:pt>
    <dgm:pt modelId="{6BB9B9CD-B911-4E33-8045-BE6A8D7C5B89}" type="pres">
      <dgm:prSet presAssocID="{9225496C-39D8-4F53-8BB5-1B069B40EB3E}" presName="parTxOnly" presStyleLbl="node1" presStyleIdx="3" presStyleCnt="10">
        <dgm:presLayoutVars>
          <dgm:chMax val="0"/>
          <dgm:chPref val="0"/>
          <dgm:bulletEnabled val="1"/>
        </dgm:presLayoutVars>
      </dgm:prSet>
      <dgm:spPr/>
    </dgm:pt>
    <dgm:pt modelId="{60B2C4AD-8A0D-4CB2-93A9-16C6C0E4BD5B}" type="pres">
      <dgm:prSet presAssocID="{1E3F53DD-2537-4C67-AA71-87081D444A81}" presName="parTxOnlySpace" presStyleCnt="0"/>
      <dgm:spPr/>
    </dgm:pt>
    <dgm:pt modelId="{A29D7AF6-34C9-459D-B160-0F8E7686BA2B}" type="pres">
      <dgm:prSet presAssocID="{2F442204-E894-4EB6-A3FA-953074E6D5F9}" presName="parTxOnly" presStyleLbl="node1" presStyleIdx="4" presStyleCnt="10">
        <dgm:presLayoutVars>
          <dgm:chMax val="0"/>
          <dgm:chPref val="0"/>
          <dgm:bulletEnabled val="1"/>
        </dgm:presLayoutVars>
      </dgm:prSet>
      <dgm:spPr/>
    </dgm:pt>
    <dgm:pt modelId="{7004503D-9639-442B-9C04-FB1247092C40}" type="pres">
      <dgm:prSet presAssocID="{07F51AA8-9070-4A56-AF24-8977CF9B6A80}" presName="parTxOnlySpace" presStyleCnt="0"/>
      <dgm:spPr/>
    </dgm:pt>
    <dgm:pt modelId="{A2199658-E72A-4294-AFD3-6892981EEB12}" type="pres">
      <dgm:prSet presAssocID="{7A5D9CDD-E10F-422D-808B-815C691EF2E8}" presName="parTxOnly" presStyleLbl="node1" presStyleIdx="5" presStyleCnt="10">
        <dgm:presLayoutVars>
          <dgm:chMax val="0"/>
          <dgm:chPref val="0"/>
          <dgm:bulletEnabled val="1"/>
        </dgm:presLayoutVars>
      </dgm:prSet>
      <dgm:spPr/>
    </dgm:pt>
    <dgm:pt modelId="{9B5C0F41-E4E2-4A3A-AA73-E3E4EB6ACD5E}" type="pres">
      <dgm:prSet presAssocID="{63A1392B-D9B4-4604-ACED-CDD4B7E19D6E}" presName="parTxOnlySpace" presStyleCnt="0"/>
      <dgm:spPr/>
    </dgm:pt>
    <dgm:pt modelId="{F9C55CAF-C1A3-4EFD-AD93-3CBF7E30E2FA}" type="pres">
      <dgm:prSet presAssocID="{56EC974B-4690-4A6A-B143-36A5A9DDDB75}" presName="parTxOnly" presStyleLbl="node1" presStyleIdx="6" presStyleCnt="10">
        <dgm:presLayoutVars>
          <dgm:chMax val="0"/>
          <dgm:chPref val="0"/>
          <dgm:bulletEnabled val="1"/>
        </dgm:presLayoutVars>
      </dgm:prSet>
      <dgm:spPr/>
    </dgm:pt>
    <dgm:pt modelId="{DDB26EDE-11AF-40B7-9C16-348181381393}" type="pres">
      <dgm:prSet presAssocID="{57612FAC-3D38-4A5A-9D54-8452999285F4}" presName="parTxOnlySpace" presStyleCnt="0"/>
      <dgm:spPr/>
    </dgm:pt>
    <dgm:pt modelId="{8CED6B9D-804A-4009-A04D-D699125D11F0}" type="pres">
      <dgm:prSet presAssocID="{A07A8528-D240-4AAE-BA81-005F6AD457F1}" presName="parTxOnly" presStyleLbl="node1" presStyleIdx="7" presStyleCnt="10">
        <dgm:presLayoutVars>
          <dgm:chMax val="0"/>
          <dgm:chPref val="0"/>
          <dgm:bulletEnabled val="1"/>
        </dgm:presLayoutVars>
      </dgm:prSet>
      <dgm:spPr/>
    </dgm:pt>
    <dgm:pt modelId="{C3D8151F-F75F-49EC-B6A3-4B15A8912918}" type="pres">
      <dgm:prSet presAssocID="{7D0C416E-0310-43FE-A0D6-735CD62199B6}" presName="parTxOnlySpace" presStyleCnt="0"/>
      <dgm:spPr/>
    </dgm:pt>
    <dgm:pt modelId="{0A5AB2D9-0A33-47A4-83C2-3990E2018CD9}" type="pres">
      <dgm:prSet presAssocID="{5805825E-3BC3-4961-910E-96065463977D}" presName="parTxOnly" presStyleLbl="node1" presStyleIdx="8" presStyleCnt="10">
        <dgm:presLayoutVars>
          <dgm:chMax val="0"/>
          <dgm:chPref val="0"/>
          <dgm:bulletEnabled val="1"/>
        </dgm:presLayoutVars>
      </dgm:prSet>
      <dgm:spPr/>
    </dgm:pt>
    <dgm:pt modelId="{5FE5E96A-0031-41D2-A1BE-2634D143793A}" type="pres">
      <dgm:prSet presAssocID="{B58F1702-0059-4F53-9A60-77242457BBFA}" presName="parTxOnlySpace" presStyleCnt="0"/>
      <dgm:spPr/>
    </dgm:pt>
    <dgm:pt modelId="{F2510710-7BA2-44B7-8AA7-1347717B483B}" type="pres">
      <dgm:prSet presAssocID="{2D51EAF0-C497-40E9-996D-2D0BC40F318C}" presName="parTxOnly" presStyleLbl="node1" presStyleIdx="9" presStyleCnt="10">
        <dgm:presLayoutVars>
          <dgm:chMax val="0"/>
          <dgm:chPref val="0"/>
          <dgm:bulletEnabled val="1"/>
        </dgm:presLayoutVars>
      </dgm:prSet>
      <dgm:spPr/>
    </dgm:pt>
  </dgm:ptLst>
  <dgm:cxnLst>
    <dgm:cxn modelId="{F8EA3703-CEE5-4162-AB46-CFFF8AC28B48}" srcId="{C782CD9B-2B4B-48D2-BF13-2B0D6056B78A}" destId="{B754C885-66E5-4615-BD33-B6EE917A035D}" srcOrd="1" destOrd="0" parTransId="{65812F9F-DD0E-4752-BF8B-D07282594751}" sibTransId="{79AAED35-18A8-4347-A2B8-6AAE8B34BA56}"/>
    <dgm:cxn modelId="{C1627B12-8F68-4C3B-A9E9-3D031C2DA9D8}" type="presOf" srcId="{2F442204-E894-4EB6-A3FA-953074E6D5F9}" destId="{A29D7AF6-34C9-459D-B160-0F8E7686BA2B}" srcOrd="0" destOrd="0" presId="urn:microsoft.com/office/officeart/2005/8/layout/chevron1"/>
    <dgm:cxn modelId="{FDD52116-6006-4641-A0F8-F6E3A4D731C6}" type="presOf" srcId="{C782CD9B-2B4B-48D2-BF13-2B0D6056B78A}" destId="{2069E263-CA68-447A-859F-7068DC9AF2B6}" srcOrd="0" destOrd="0" presId="urn:microsoft.com/office/officeart/2005/8/layout/chevron1"/>
    <dgm:cxn modelId="{7BC9B318-E7A6-41F3-853C-1D1DFB2050EF}" srcId="{C782CD9B-2B4B-48D2-BF13-2B0D6056B78A}" destId="{2D51EAF0-C497-40E9-996D-2D0BC40F318C}" srcOrd="9" destOrd="0" parTransId="{43C509B8-DD3A-429A-ADC4-232D55259B3D}" sibTransId="{66A12237-9546-42D0-81C0-2C324670B743}"/>
    <dgm:cxn modelId="{6A02F021-6BF4-41C4-97EA-833030C1DFF4}" type="presOf" srcId="{DFCF748E-4FA2-4C04-B1DF-85DA1021BE5D}" destId="{F7031506-3856-48AD-BFC1-89D9660F7FF7}" srcOrd="0" destOrd="0" presId="urn:microsoft.com/office/officeart/2005/8/layout/chevron1"/>
    <dgm:cxn modelId="{75282F29-9513-4AFD-8C26-E60F03A17035}" type="presOf" srcId="{56EC974B-4690-4A6A-B143-36A5A9DDDB75}" destId="{F9C55CAF-C1A3-4EFD-AD93-3CBF7E30E2FA}" srcOrd="0" destOrd="0" presId="urn:microsoft.com/office/officeart/2005/8/layout/chevron1"/>
    <dgm:cxn modelId="{7708F129-F9D0-4320-8480-41F35F326741}" type="presOf" srcId="{2D51EAF0-C497-40E9-996D-2D0BC40F318C}" destId="{F2510710-7BA2-44B7-8AA7-1347717B483B}" srcOrd="0" destOrd="0" presId="urn:microsoft.com/office/officeart/2005/8/layout/chevron1"/>
    <dgm:cxn modelId="{22F2D12E-8EEE-481A-812D-E71C30696F73}" type="presOf" srcId="{9225496C-39D8-4F53-8BB5-1B069B40EB3E}" destId="{6BB9B9CD-B911-4E33-8045-BE6A8D7C5B89}" srcOrd="0" destOrd="0" presId="urn:microsoft.com/office/officeart/2005/8/layout/chevron1"/>
    <dgm:cxn modelId="{2A2F1C36-7B85-4719-BE86-420FDDA3968D}" type="presOf" srcId="{7A5D9CDD-E10F-422D-808B-815C691EF2E8}" destId="{A2199658-E72A-4294-AFD3-6892981EEB12}" srcOrd="0" destOrd="0" presId="urn:microsoft.com/office/officeart/2005/8/layout/chevron1"/>
    <dgm:cxn modelId="{94A2B45D-2D69-4650-AFC3-C5574217F910}" srcId="{C782CD9B-2B4B-48D2-BF13-2B0D6056B78A}" destId="{9225496C-39D8-4F53-8BB5-1B069B40EB3E}" srcOrd="3" destOrd="0" parTransId="{D3A21DFB-000A-4FCE-9E9D-8516EBA4DD45}" sibTransId="{1E3F53DD-2537-4C67-AA71-87081D444A81}"/>
    <dgm:cxn modelId="{6FD2AE64-BDEB-482D-ACF3-1D5403180A1E}" srcId="{C782CD9B-2B4B-48D2-BF13-2B0D6056B78A}" destId="{2F442204-E894-4EB6-A3FA-953074E6D5F9}" srcOrd="4" destOrd="0" parTransId="{9E6A019B-6886-407A-A3BB-1A2A8D416818}" sibTransId="{07F51AA8-9070-4A56-AF24-8977CF9B6A80}"/>
    <dgm:cxn modelId="{7B6C4C73-A3D5-4EF0-9990-FB436435A923}" type="presOf" srcId="{A07A8528-D240-4AAE-BA81-005F6AD457F1}" destId="{8CED6B9D-804A-4009-A04D-D699125D11F0}" srcOrd="0" destOrd="0" presId="urn:microsoft.com/office/officeart/2005/8/layout/chevron1"/>
    <dgm:cxn modelId="{1F0FBA55-60F4-4E4C-B8C6-5A8EFF5A81FE}" type="presOf" srcId="{5805825E-3BC3-4961-910E-96065463977D}" destId="{0A5AB2D9-0A33-47A4-83C2-3990E2018CD9}" srcOrd="0" destOrd="0" presId="urn:microsoft.com/office/officeart/2005/8/layout/chevron1"/>
    <dgm:cxn modelId="{BEDD267B-EA80-4783-A782-86B96AAC5B03}" srcId="{C782CD9B-2B4B-48D2-BF13-2B0D6056B78A}" destId="{7A5D9CDD-E10F-422D-808B-815C691EF2E8}" srcOrd="5" destOrd="0" parTransId="{089AE963-8402-4F38-908B-1CA814F78766}" sibTransId="{63A1392B-D9B4-4604-ACED-CDD4B7E19D6E}"/>
    <dgm:cxn modelId="{92751D9D-02E3-45C2-978C-737085227C42}" srcId="{C782CD9B-2B4B-48D2-BF13-2B0D6056B78A}" destId="{DFCF748E-4FA2-4C04-B1DF-85DA1021BE5D}" srcOrd="0" destOrd="0" parTransId="{7DAF1956-B700-4203-9672-92E4451DCC31}" sibTransId="{A0ED7260-8442-4FBF-80B4-500E49A4F3AF}"/>
    <dgm:cxn modelId="{FE5FBCA8-5D6F-44E5-8DFA-D24300AECCE8}" srcId="{C782CD9B-2B4B-48D2-BF13-2B0D6056B78A}" destId="{56EC974B-4690-4A6A-B143-36A5A9DDDB75}" srcOrd="6" destOrd="0" parTransId="{F24B2512-EFC3-4494-92F8-F4C2A580DD56}" sibTransId="{57612FAC-3D38-4A5A-9D54-8452999285F4}"/>
    <dgm:cxn modelId="{0C1A1EBF-CB07-41CA-A54F-7A8B81ABC9F8}" type="presOf" srcId="{72FFD339-6A5F-4ED7-B529-6155AF8C35BB}" destId="{636F50A3-8EFE-4C08-B6BE-284B03274F0B}" srcOrd="0" destOrd="0" presId="urn:microsoft.com/office/officeart/2005/8/layout/chevron1"/>
    <dgm:cxn modelId="{75F3ACD0-B531-4CFF-A27C-278496EE0634}" type="presOf" srcId="{B754C885-66E5-4615-BD33-B6EE917A035D}" destId="{6C62160D-9EC9-4B84-8EFD-9C3E10FC055A}" srcOrd="0" destOrd="0" presId="urn:microsoft.com/office/officeart/2005/8/layout/chevron1"/>
    <dgm:cxn modelId="{D6C89AE1-00A8-492D-888B-1E3DDC006D86}" srcId="{C782CD9B-2B4B-48D2-BF13-2B0D6056B78A}" destId="{5805825E-3BC3-4961-910E-96065463977D}" srcOrd="8" destOrd="0" parTransId="{263FA899-3C2D-4809-A47A-DB65911293C7}" sibTransId="{B58F1702-0059-4F53-9A60-77242457BBFA}"/>
    <dgm:cxn modelId="{C381E8F4-D0AE-4AD0-B8F1-4BDFF55901DE}" srcId="{C782CD9B-2B4B-48D2-BF13-2B0D6056B78A}" destId="{72FFD339-6A5F-4ED7-B529-6155AF8C35BB}" srcOrd="2" destOrd="0" parTransId="{ECFEA23F-DCCD-42C6-8706-10917CE3C2B0}" sibTransId="{A3B7292F-5113-4C29-982F-BC1D14C7BE90}"/>
    <dgm:cxn modelId="{C9F268FB-CB20-4E78-9CDC-F035D61B7E09}" srcId="{C782CD9B-2B4B-48D2-BF13-2B0D6056B78A}" destId="{A07A8528-D240-4AAE-BA81-005F6AD457F1}" srcOrd="7" destOrd="0" parTransId="{3C15A388-1B3D-47E8-B2CB-E67F7E1AFFF1}" sibTransId="{7D0C416E-0310-43FE-A0D6-735CD62199B6}"/>
    <dgm:cxn modelId="{C83A2936-23FC-46EB-B030-5C10324A19B4}" type="presParOf" srcId="{2069E263-CA68-447A-859F-7068DC9AF2B6}" destId="{F7031506-3856-48AD-BFC1-89D9660F7FF7}" srcOrd="0" destOrd="0" presId="urn:microsoft.com/office/officeart/2005/8/layout/chevron1"/>
    <dgm:cxn modelId="{DDBFE607-8640-4F85-8194-9146F7ECFD55}" type="presParOf" srcId="{2069E263-CA68-447A-859F-7068DC9AF2B6}" destId="{420EBE6C-A91F-49B7-AF4C-29A127D6266A}" srcOrd="1" destOrd="0" presId="urn:microsoft.com/office/officeart/2005/8/layout/chevron1"/>
    <dgm:cxn modelId="{F04DB5AE-BFD8-4C58-A634-83CCF90312E2}" type="presParOf" srcId="{2069E263-CA68-447A-859F-7068DC9AF2B6}" destId="{6C62160D-9EC9-4B84-8EFD-9C3E10FC055A}" srcOrd="2" destOrd="0" presId="urn:microsoft.com/office/officeart/2005/8/layout/chevron1"/>
    <dgm:cxn modelId="{9D0D1560-2BA4-4FF8-9956-350FA6E45554}" type="presParOf" srcId="{2069E263-CA68-447A-859F-7068DC9AF2B6}" destId="{6415A264-B3C7-41A6-9BA0-D0AD6AE1DACB}" srcOrd="3" destOrd="0" presId="urn:microsoft.com/office/officeart/2005/8/layout/chevron1"/>
    <dgm:cxn modelId="{DDA56896-01E9-46FD-81CA-8B78EFFB6AA1}" type="presParOf" srcId="{2069E263-CA68-447A-859F-7068DC9AF2B6}" destId="{636F50A3-8EFE-4C08-B6BE-284B03274F0B}" srcOrd="4" destOrd="0" presId="urn:microsoft.com/office/officeart/2005/8/layout/chevron1"/>
    <dgm:cxn modelId="{4A681DFA-6FA4-4E62-BFE3-8B2E70015BB8}" type="presParOf" srcId="{2069E263-CA68-447A-859F-7068DC9AF2B6}" destId="{B0C5D3FB-8180-4CC6-9F14-5042E96FD8E3}" srcOrd="5" destOrd="0" presId="urn:microsoft.com/office/officeart/2005/8/layout/chevron1"/>
    <dgm:cxn modelId="{F890D337-04B4-446F-86DD-93271A72051B}" type="presParOf" srcId="{2069E263-CA68-447A-859F-7068DC9AF2B6}" destId="{6BB9B9CD-B911-4E33-8045-BE6A8D7C5B89}" srcOrd="6" destOrd="0" presId="urn:microsoft.com/office/officeart/2005/8/layout/chevron1"/>
    <dgm:cxn modelId="{6E826656-B1B7-42D5-8A3F-17E01B67D606}" type="presParOf" srcId="{2069E263-CA68-447A-859F-7068DC9AF2B6}" destId="{60B2C4AD-8A0D-4CB2-93A9-16C6C0E4BD5B}" srcOrd="7" destOrd="0" presId="urn:microsoft.com/office/officeart/2005/8/layout/chevron1"/>
    <dgm:cxn modelId="{E9B47B38-324F-418B-86DD-F17C17F9928A}" type="presParOf" srcId="{2069E263-CA68-447A-859F-7068DC9AF2B6}" destId="{A29D7AF6-34C9-459D-B160-0F8E7686BA2B}" srcOrd="8" destOrd="0" presId="urn:microsoft.com/office/officeart/2005/8/layout/chevron1"/>
    <dgm:cxn modelId="{3737D2C4-DCC1-473D-A717-69CE7D581243}" type="presParOf" srcId="{2069E263-CA68-447A-859F-7068DC9AF2B6}" destId="{7004503D-9639-442B-9C04-FB1247092C40}" srcOrd="9" destOrd="0" presId="urn:microsoft.com/office/officeart/2005/8/layout/chevron1"/>
    <dgm:cxn modelId="{E50102A1-3C52-4891-A331-1C25F23564DE}" type="presParOf" srcId="{2069E263-CA68-447A-859F-7068DC9AF2B6}" destId="{A2199658-E72A-4294-AFD3-6892981EEB12}" srcOrd="10" destOrd="0" presId="urn:microsoft.com/office/officeart/2005/8/layout/chevron1"/>
    <dgm:cxn modelId="{45EF32A5-FB7B-4ADC-BFFC-40B0FEDEBFF0}" type="presParOf" srcId="{2069E263-CA68-447A-859F-7068DC9AF2B6}" destId="{9B5C0F41-E4E2-4A3A-AA73-E3E4EB6ACD5E}" srcOrd="11" destOrd="0" presId="urn:microsoft.com/office/officeart/2005/8/layout/chevron1"/>
    <dgm:cxn modelId="{F9F9DCFB-8BF5-427D-ACEE-F3D1F8396027}" type="presParOf" srcId="{2069E263-CA68-447A-859F-7068DC9AF2B6}" destId="{F9C55CAF-C1A3-4EFD-AD93-3CBF7E30E2FA}" srcOrd="12" destOrd="0" presId="urn:microsoft.com/office/officeart/2005/8/layout/chevron1"/>
    <dgm:cxn modelId="{DAB99FFA-18A9-48F7-9EA7-ADCADD44F1FE}" type="presParOf" srcId="{2069E263-CA68-447A-859F-7068DC9AF2B6}" destId="{DDB26EDE-11AF-40B7-9C16-348181381393}" srcOrd="13" destOrd="0" presId="urn:microsoft.com/office/officeart/2005/8/layout/chevron1"/>
    <dgm:cxn modelId="{5435593C-E418-4F3A-9CD9-337D95FDBBD3}" type="presParOf" srcId="{2069E263-CA68-447A-859F-7068DC9AF2B6}" destId="{8CED6B9D-804A-4009-A04D-D699125D11F0}" srcOrd="14" destOrd="0" presId="urn:microsoft.com/office/officeart/2005/8/layout/chevron1"/>
    <dgm:cxn modelId="{5463AB71-D5C3-4B4A-AB4C-32022D9E916D}" type="presParOf" srcId="{2069E263-CA68-447A-859F-7068DC9AF2B6}" destId="{C3D8151F-F75F-49EC-B6A3-4B15A8912918}" srcOrd="15" destOrd="0" presId="urn:microsoft.com/office/officeart/2005/8/layout/chevron1"/>
    <dgm:cxn modelId="{148B65AA-7AE5-445D-A4E0-CFFF8E2E3A52}" type="presParOf" srcId="{2069E263-CA68-447A-859F-7068DC9AF2B6}" destId="{0A5AB2D9-0A33-47A4-83C2-3990E2018CD9}" srcOrd="16" destOrd="0" presId="urn:microsoft.com/office/officeart/2005/8/layout/chevron1"/>
    <dgm:cxn modelId="{468541C6-D4DD-46F8-8DD9-256C0129FC26}" type="presParOf" srcId="{2069E263-CA68-447A-859F-7068DC9AF2B6}" destId="{5FE5E96A-0031-41D2-A1BE-2634D143793A}" srcOrd="17" destOrd="0" presId="urn:microsoft.com/office/officeart/2005/8/layout/chevron1"/>
    <dgm:cxn modelId="{12847766-0181-44BB-BC54-56BD6A1A4162}" type="presParOf" srcId="{2069E263-CA68-447A-859F-7068DC9AF2B6}" destId="{F2510710-7BA2-44B7-8AA7-1347717B483B}" srcOrd="18" destOrd="0" presId="urn:microsoft.com/office/officeart/2005/8/layout/chevron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782CD9B-2B4B-48D2-BF13-2B0D6056B78A}"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it-IT"/>
        </a:p>
      </dgm:t>
    </dgm:pt>
    <dgm:pt modelId="{DFCF748E-4FA2-4C04-B1DF-85DA1021BE5D}">
      <dgm:prSet phldrT="[Testo]"/>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Rete viaria complessiva</a:t>
          </a:r>
        </a:p>
      </dgm:t>
    </dgm:pt>
    <dgm:pt modelId="{7DAF1956-B700-4203-9672-92E4451DCC31}" type="parTrans" cxnId="{92751D9D-02E3-45C2-978C-737085227C42}">
      <dgm:prSet/>
      <dgm:spPr/>
      <dgm:t>
        <a:bodyPr/>
        <a:lstStyle/>
        <a:p>
          <a:endParaRPr lang="it-IT"/>
        </a:p>
      </dgm:t>
    </dgm:pt>
    <dgm:pt modelId="{A0ED7260-8442-4FBF-80B4-500E49A4F3AF}" type="sibTrans" cxnId="{92751D9D-02E3-45C2-978C-737085227C42}">
      <dgm:prSet/>
      <dgm:spPr/>
      <dgm:t>
        <a:bodyPr/>
        <a:lstStyle/>
        <a:p>
          <a:endParaRPr lang="it-IT"/>
        </a:p>
      </dgm:t>
    </dgm:pt>
    <dgm:pt modelId="{B754C885-66E5-4615-BD33-B6EE917A035D}">
      <dgm:prSet phldrT="[Testo]"/>
      <dgm:spPr>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dgm:spPr>
      <dgm:t>
        <a:bodyPr/>
        <a:lstStyle/>
        <a:p>
          <a:r>
            <a:rPr lang="it-IT" dirty="0"/>
            <a:t>Risorse</a:t>
          </a:r>
        </a:p>
      </dgm:t>
    </dgm:pt>
    <dgm:pt modelId="{65812F9F-DD0E-4752-BF8B-D07282594751}" type="parTrans" cxnId="{F8EA3703-CEE5-4162-AB46-CFFF8AC28B48}">
      <dgm:prSet/>
      <dgm:spPr/>
      <dgm:t>
        <a:bodyPr/>
        <a:lstStyle/>
        <a:p>
          <a:endParaRPr lang="it-IT"/>
        </a:p>
      </dgm:t>
    </dgm:pt>
    <dgm:pt modelId="{79AAED35-18A8-4347-A2B8-6AAE8B34BA56}" type="sibTrans" cxnId="{F8EA3703-CEE5-4162-AB46-CFFF8AC28B48}">
      <dgm:prSet/>
      <dgm:spPr/>
      <dgm:t>
        <a:bodyPr/>
        <a:lstStyle/>
        <a:p>
          <a:endParaRPr lang="it-IT"/>
        </a:p>
      </dgm:t>
    </dgm:pt>
    <dgm:pt modelId="{9225496C-39D8-4F53-8BB5-1B069B40EB3E}">
      <dgm:prSet phldrT="[Testo]"/>
      <dgm:spPr>
        <a:gradFill flip="none"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16200000" scaled="1"/>
          <a:tileRect/>
        </a:gradFill>
      </dgm:spPr>
      <dgm:t>
        <a:bodyPr/>
        <a:lstStyle/>
        <a:p>
          <a:r>
            <a:rPr lang="it-IT" dirty="0"/>
            <a:t>Affidamenti</a:t>
          </a:r>
        </a:p>
      </dgm:t>
    </dgm:pt>
    <dgm:pt modelId="{D3A21DFB-000A-4FCE-9E9D-8516EBA4DD45}" type="parTrans" cxnId="{94A2B45D-2D69-4650-AFC3-C5574217F910}">
      <dgm:prSet/>
      <dgm:spPr/>
      <dgm:t>
        <a:bodyPr/>
        <a:lstStyle/>
        <a:p>
          <a:endParaRPr lang="it-IT"/>
        </a:p>
      </dgm:t>
    </dgm:pt>
    <dgm:pt modelId="{1E3F53DD-2537-4C67-AA71-87081D444A81}" type="sibTrans" cxnId="{94A2B45D-2D69-4650-AFC3-C5574217F910}">
      <dgm:prSet/>
      <dgm:spPr/>
      <dgm:t>
        <a:bodyPr/>
        <a:lstStyle/>
        <a:p>
          <a:endParaRPr lang="it-IT"/>
        </a:p>
      </dgm:t>
    </dgm:pt>
    <dgm:pt modelId="{2F442204-E894-4EB6-A3FA-953074E6D5F9}">
      <dgm:prSet phldrT="[Testo]" custT="1"/>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sz="700" dirty="0"/>
            <a:t>Investimenti e Produzione</a:t>
          </a:r>
        </a:p>
        <a:p>
          <a:r>
            <a:rPr lang="it-IT" sz="700" dirty="0"/>
            <a:t>MP</a:t>
          </a:r>
        </a:p>
      </dgm:t>
    </dgm:pt>
    <dgm:pt modelId="{9E6A019B-6886-407A-A3BB-1A2A8D416818}" type="parTrans" cxnId="{6FD2AE64-BDEB-482D-ACF3-1D5403180A1E}">
      <dgm:prSet/>
      <dgm:spPr/>
      <dgm:t>
        <a:bodyPr/>
        <a:lstStyle/>
        <a:p>
          <a:endParaRPr lang="it-IT"/>
        </a:p>
      </dgm:t>
    </dgm:pt>
    <dgm:pt modelId="{07F51AA8-9070-4A56-AF24-8977CF9B6A80}" type="sibTrans" cxnId="{6FD2AE64-BDEB-482D-ACF3-1D5403180A1E}">
      <dgm:prSet/>
      <dgm:spPr/>
      <dgm:t>
        <a:bodyPr/>
        <a:lstStyle/>
        <a:p>
          <a:endParaRPr lang="it-IT"/>
        </a:p>
      </dgm:t>
    </dgm:pt>
    <dgm:pt modelId="{2D51EAF0-C497-40E9-996D-2D0BC40F318C}">
      <dgm:prSet phldrT="[Testo]"/>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Pagamenti</a:t>
          </a:r>
        </a:p>
      </dgm:t>
    </dgm:pt>
    <dgm:pt modelId="{43C509B8-DD3A-429A-ADC4-232D55259B3D}" type="parTrans" cxnId="{7BC9B318-E7A6-41F3-853C-1D1DFB2050EF}">
      <dgm:prSet/>
      <dgm:spPr/>
      <dgm:t>
        <a:bodyPr/>
        <a:lstStyle/>
        <a:p>
          <a:endParaRPr lang="it-IT"/>
        </a:p>
      </dgm:t>
    </dgm:pt>
    <dgm:pt modelId="{66A12237-9546-42D0-81C0-2C324670B743}" type="sibTrans" cxnId="{7BC9B318-E7A6-41F3-853C-1D1DFB2050EF}">
      <dgm:prSet/>
      <dgm:spPr/>
      <dgm:t>
        <a:bodyPr/>
        <a:lstStyle/>
        <a:p>
          <a:endParaRPr lang="it-IT"/>
        </a:p>
      </dgm:t>
    </dgm:pt>
    <dgm:pt modelId="{72FFD339-6A5F-4ED7-B529-6155AF8C35BB}">
      <dgm:prSet/>
      <dgm:spPr>
        <a:solidFill>
          <a:schemeClr val="accent1"/>
        </a:solidFill>
      </dgm:spPr>
      <dgm:t>
        <a:bodyPr/>
        <a:lstStyle/>
        <a:p>
          <a:r>
            <a:rPr lang="it-IT" dirty="0" err="1"/>
            <a:t>soc</a:t>
          </a:r>
          <a:endParaRPr lang="it-IT" dirty="0"/>
        </a:p>
      </dgm:t>
    </dgm:pt>
    <dgm:pt modelId="{ECFEA23F-DCCD-42C6-8706-10917CE3C2B0}" type="parTrans" cxnId="{C381E8F4-D0AE-4AD0-B8F1-4BDFF55901DE}">
      <dgm:prSet/>
      <dgm:spPr/>
      <dgm:t>
        <a:bodyPr/>
        <a:lstStyle/>
        <a:p>
          <a:endParaRPr lang="it-IT"/>
        </a:p>
      </dgm:t>
    </dgm:pt>
    <dgm:pt modelId="{A3B7292F-5113-4C29-982F-BC1D14C7BE90}" type="sibTrans" cxnId="{C381E8F4-D0AE-4AD0-B8F1-4BDFF55901DE}">
      <dgm:prSet/>
      <dgm:spPr/>
      <dgm:t>
        <a:bodyPr/>
        <a:lstStyle/>
        <a:p>
          <a:endParaRPr lang="it-IT"/>
        </a:p>
      </dgm:t>
    </dgm:pt>
    <dgm:pt modelId="{A07A8528-D240-4AAE-BA81-005F6AD457F1}">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Ispezione Opere D’arte</a:t>
          </a:r>
        </a:p>
      </dgm:t>
    </dgm:pt>
    <dgm:pt modelId="{3C15A388-1B3D-47E8-B2CB-E67F7E1AFFF1}" type="parTrans" cxnId="{C9F268FB-CB20-4E78-9CDC-F035D61B7E09}">
      <dgm:prSet/>
      <dgm:spPr/>
      <dgm:t>
        <a:bodyPr/>
        <a:lstStyle/>
        <a:p>
          <a:endParaRPr lang="it-IT"/>
        </a:p>
      </dgm:t>
    </dgm:pt>
    <dgm:pt modelId="{7D0C416E-0310-43FE-A0D6-735CD62199B6}" type="sibTrans" cxnId="{C9F268FB-CB20-4E78-9CDC-F035D61B7E09}">
      <dgm:prSet/>
      <dgm:spPr/>
      <dgm:t>
        <a:bodyPr/>
        <a:lstStyle/>
        <a:p>
          <a:endParaRPr lang="it-IT"/>
        </a:p>
      </dgm:t>
    </dgm:pt>
    <dgm:pt modelId="{56EC974B-4690-4A6A-B143-36A5A9DDDB75}">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Supporto Tecnico</a:t>
          </a:r>
        </a:p>
      </dgm:t>
    </dgm:pt>
    <dgm:pt modelId="{F24B2512-EFC3-4494-92F8-F4C2A580DD56}" type="parTrans" cxnId="{FE5FBCA8-5D6F-44E5-8DFA-D24300AECCE8}">
      <dgm:prSet/>
      <dgm:spPr/>
      <dgm:t>
        <a:bodyPr/>
        <a:lstStyle/>
        <a:p>
          <a:endParaRPr lang="it-IT"/>
        </a:p>
      </dgm:t>
    </dgm:pt>
    <dgm:pt modelId="{57612FAC-3D38-4A5A-9D54-8452999285F4}" type="sibTrans" cxnId="{FE5FBCA8-5D6F-44E5-8DFA-D24300AECCE8}">
      <dgm:prSet/>
      <dgm:spPr/>
      <dgm:t>
        <a:bodyPr/>
        <a:lstStyle/>
        <a:p>
          <a:endParaRPr lang="it-IT"/>
        </a:p>
      </dgm:t>
    </dgm:pt>
    <dgm:pt modelId="{5805825E-3BC3-4961-910E-96065463977D}">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Interventi Rilevanti</a:t>
          </a:r>
        </a:p>
      </dgm:t>
    </dgm:pt>
    <dgm:pt modelId="{263FA899-3C2D-4809-A47A-DB65911293C7}" type="parTrans" cxnId="{D6C89AE1-00A8-492D-888B-1E3DDC006D86}">
      <dgm:prSet/>
      <dgm:spPr/>
      <dgm:t>
        <a:bodyPr/>
        <a:lstStyle/>
        <a:p>
          <a:endParaRPr lang="it-IT"/>
        </a:p>
      </dgm:t>
    </dgm:pt>
    <dgm:pt modelId="{B58F1702-0059-4F53-9A60-77242457BBFA}" type="sibTrans" cxnId="{D6C89AE1-00A8-492D-888B-1E3DDC006D86}">
      <dgm:prSet/>
      <dgm:spPr/>
      <dgm:t>
        <a:bodyPr/>
        <a:lstStyle/>
        <a:p>
          <a:endParaRPr lang="it-IT"/>
        </a:p>
      </dgm:t>
    </dgm:pt>
    <dgm:pt modelId="{7A5D9CDD-E10F-422D-808B-815C691EF2E8}">
      <dgm:prSet phldrT="[Testo]" custT="1"/>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sz="700" dirty="0"/>
            <a:t>Investimenti e Produzione</a:t>
          </a:r>
        </a:p>
        <a:p>
          <a:r>
            <a:rPr lang="it-IT" sz="700" dirty="0"/>
            <a:t>NO</a:t>
          </a:r>
        </a:p>
      </dgm:t>
    </dgm:pt>
    <dgm:pt modelId="{089AE963-8402-4F38-908B-1CA814F78766}" type="parTrans" cxnId="{BEDD267B-EA80-4783-A782-86B96AAC5B03}">
      <dgm:prSet/>
      <dgm:spPr/>
      <dgm:t>
        <a:bodyPr/>
        <a:lstStyle/>
        <a:p>
          <a:endParaRPr lang="it-IT"/>
        </a:p>
      </dgm:t>
    </dgm:pt>
    <dgm:pt modelId="{63A1392B-D9B4-4604-ACED-CDD4B7E19D6E}" type="sibTrans" cxnId="{BEDD267B-EA80-4783-A782-86B96AAC5B03}">
      <dgm:prSet/>
      <dgm:spPr/>
      <dgm:t>
        <a:bodyPr/>
        <a:lstStyle/>
        <a:p>
          <a:endParaRPr lang="it-IT"/>
        </a:p>
      </dgm:t>
    </dgm:pt>
    <dgm:pt modelId="{2069E263-CA68-447A-859F-7068DC9AF2B6}" type="pres">
      <dgm:prSet presAssocID="{C782CD9B-2B4B-48D2-BF13-2B0D6056B78A}" presName="Name0" presStyleCnt="0">
        <dgm:presLayoutVars>
          <dgm:dir/>
          <dgm:animLvl val="lvl"/>
          <dgm:resizeHandles val="exact"/>
        </dgm:presLayoutVars>
      </dgm:prSet>
      <dgm:spPr/>
    </dgm:pt>
    <dgm:pt modelId="{F7031506-3856-48AD-BFC1-89D9660F7FF7}" type="pres">
      <dgm:prSet presAssocID="{DFCF748E-4FA2-4C04-B1DF-85DA1021BE5D}" presName="parTxOnly" presStyleLbl="node1" presStyleIdx="0" presStyleCnt="10">
        <dgm:presLayoutVars>
          <dgm:chMax val="0"/>
          <dgm:chPref val="0"/>
          <dgm:bulletEnabled val="1"/>
        </dgm:presLayoutVars>
      </dgm:prSet>
      <dgm:spPr/>
    </dgm:pt>
    <dgm:pt modelId="{420EBE6C-A91F-49B7-AF4C-29A127D6266A}" type="pres">
      <dgm:prSet presAssocID="{A0ED7260-8442-4FBF-80B4-500E49A4F3AF}" presName="parTxOnlySpace" presStyleCnt="0"/>
      <dgm:spPr/>
    </dgm:pt>
    <dgm:pt modelId="{6C62160D-9EC9-4B84-8EFD-9C3E10FC055A}" type="pres">
      <dgm:prSet presAssocID="{B754C885-66E5-4615-BD33-B6EE917A035D}" presName="parTxOnly" presStyleLbl="node1" presStyleIdx="1" presStyleCnt="10">
        <dgm:presLayoutVars>
          <dgm:chMax val="0"/>
          <dgm:chPref val="0"/>
          <dgm:bulletEnabled val="1"/>
        </dgm:presLayoutVars>
      </dgm:prSet>
      <dgm:spPr/>
    </dgm:pt>
    <dgm:pt modelId="{6415A264-B3C7-41A6-9BA0-D0AD6AE1DACB}" type="pres">
      <dgm:prSet presAssocID="{79AAED35-18A8-4347-A2B8-6AAE8B34BA56}" presName="parTxOnlySpace" presStyleCnt="0"/>
      <dgm:spPr/>
    </dgm:pt>
    <dgm:pt modelId="{636F50A3-8EFE-4C08-B6BE-284B03274F0B}" type="pres">
      <dgm:prSet presAssocID="{72FFD339-6A5F-4ED7-B529-6155AF8C35BB}" presName="parTxOnly" presStyleLbl="node1" presStyleIdx="2" presStyleCnt="10">
        <dgm:presLayoutVars>
          <dgm:chMax val="0"/>
          <dgm:chPref val="0"/>
          <dgm:bulletEnabled val="1"/>
        </dgm:presLayoutVars>
      </dgm:prSet>
      <dgm:spPr/>
    </dgm:pt>
    <dgm:pt modelId="{B0C5D3FB-8180-4CC6-9F14-5042E96FD8E3}" type="pres">
      <dgm:prSet presAssocID="{A3B7292F-5113-4C29-982F-BC1D14C7BE90}" presName="parTxOnlySpace" presStyleCnt="0"/>
      <dgm:spPr/>
    </dgm:pt>
    <dgm:pt modelId="{6BB9B9CD-B911-4E33-8045-BE6A8D7C5B89}" type="pres">
      <dgm:prSet presAssocID="{9225496C-39D8-4F53-8BB5-1B069B40EB3E}" presName="parTxOnly" presStyleLbl="node1" presStyleIdx="3" presStyleCnt="10">
        <dgm:presLayoutVars>
          <dgm:chMax val="0"/>
          <dgm:chPref val="0"/>
          <dgm:bulletEnabled val="1"/>
        </dgm:presLayoutVars>
      </dgm:prSet>
      <dgm:spPr/>
    </dgm:pt>
    <dgm:pt modelId="{60B2C4AD-8A0D-4CB2-93A9-16C6C0E4BD5B}" type="pres">
      <dgm:prSet presAssocID="{1E3F53DD-2537-4C67-AA71-87081D444A81}" presName="parTxOnlySpace" presStyleCnt="0"/>
      <dgm:spPr/>
    </dgm:pt>
    <dgm:pt modelId="{A29D7AF6-34C9-459D-B160-0F8E7686BA2B}" type="pres">
      <dgm:prSet presAssocID="{2F442204-E894-4EB6-A3FA-953074E6D5F9}" presName="parTxOnly" presStyleLbl="node1" presStyleIdx="4" presStyleCnt="10">
        <dgm:presLayoutVars>
          <dgm:chMax val="0"/>
          <dgm:chPref val="0"/>
          <dgm:bulletEnabled val="1"/>
        </dgm:presLayoutVars>
      </dgm:prSet>
      <dgm:spPr/>
    </dgm:pt>
    <dgm:pt modelId="{7004503D-9639-442B-9C04-FB1247092C40}" type="pres">
      <dgm:prSet presAssocID="{07F51AA8-9070-4A56-AF24-8977CF9B6A80}" presName="parTxOnlySpace" presStyleCnt="0"/>
      <dgm:spPr/>
    </dgm:pt>
    <dgm:pt modelId="{A2199658-E72A-4294-AFD3-6892981EEB12}" type="pres">
      <dgm:prSet presAssocID="{7A5D9CDD-E10F-422D-808B-815C691EF2E8}" presName="parTxOnly" presStyleLbl="node1" presStyleIdx="5" presStyleCnt="10">
        <dgm:presLayoutVars>
          <dgm:chMax val="0"/>
          <dgm:chPref val="0"/>
          <dgm:bulletEnabled val="1"/>
        </dgm:presLayoutVars>
      </dgm:prSet>
      <dgm:spPr/>
    </dgm:pt>
    <dgm:pt modelId="{9B5C0F41-E4E2-4A3A-AA73-E3E4EB6ACD5E}" type="pres">
      <dgm:prSet presAssocID="{63A1392B-D9B4-4604-ACED-CDD4B7E19D6E}" presName="parTxOnlySpace" presStyleCnt="0"/>
      <dgm:spPr/>
    </dgm:pt>
    <dgm:pt modelId="{F9C55CAF-C1A3-4EFD-AD93-3CBF7E30E2FA}" type="pres">
      <dgm:prSet presAssocID="{56EC974B-4690-4A6A-B143-36A5A9DDDB75}" presName="parTxOnly" presStyleLbl="node1" presStyleIdx="6" presStyleCnt="10">
        <dgm:presLayoutVars>
          <dgm:chMax val="0"/>
          <dgm:chPref val="0"/>
          <dgm:bulletEnabled val="1"/>
        </dgm:presLayoutVars>
      </dgm:prSet>
      <dgm:spPr/>
    </dgm:pt>
    <dgm:pt modelId="{DDB26EDE-11AF-40B7-9C16-348181381393}" type="pres">
      <dgm:prSet presAssocID="{57612FAC-3D38-4A5A-9D54-8452999285F4}" presName="parTxOnlySpace" presStyleCnt="0"/>
      <dgm:spPr/>
    </dgm:pt>
    <dgm:pt modelId="{8CED6B9D-804A-4009-A04D-D699125D11F0}" type="pres">
      <dgm:prSet presAssocID="{A07A8528-D240-4AAE-BA81-005F6AD457F1}" presName="parTxOnly" presStyleLbl="node1" presStyleIdx="7" presStyleCnt="10">
        <dgm:presLayoutVars>
          <dgm:chMax val="0"/>
          <dgm:chPref val="0"/>
          <dgm:bulletEnabled val="1"/>
        </dgm:presLayoutVars>
      </dgm:prSet>
      <dgm:spPr/>
    </dgm:pt>
    <dgm:pt modelId="{C3D8151F-F75F-49EC-B6A3-4B15A8912918}" type="pres">
      <dgm:prSet presAssocID="{7D0C416E-0310-43FE-A0D6-735CD62199B6}" presName="parTxOnlySpace" presStyleCnt="0"/>
      <dgm:spPr/>
    </dgm:pt>
    <dgm:pt modelId="{0A5AB2D9-0A33-47A4-83C2-3990E2018CD9}" type="pres">
      <dgm:prSet presAssocID="{5805825E-3BC3-4961-910E-96065463977D}" presName="parTxOnly" presStyleLbl="node1" presStyleIdx="8" presStyleCnt="10">
        <dgm:presLayoutVars>
          <dgm:chMax val="0"/>
          <dgm:chPref val="0"/>
          <dgm:bulletEnabled val="1"/>
        </dgm:presLayoutVars>
      </dgm:prSet>
      <dgm:spPr/>
    </dgm:pt>
    <dgm:pt modelId="{5FE5E96A-0031-41D2-A1BE-2634D143793A}" type="pres">
      <dgm:prSet presAssocID="{B58F1702-0059-4F53-9A60-77242457BBFA}" presName="parTxOnlySpace" presStyleCnt="0"/>
      <dgm:spPr/>
    </dgm:pt>
    <dgm:pt modelId="{F2510710-7BA2-44B7-8AA7-1347717B483B}" type="pres">
      <dgm:prSet presAssocID="{2D51EAF0-C497-40E9-996D-2D0BC40F318C}" presName="parTxOnly" presStyleLbl="node1" presStyleIdx="9" presStyleCnt="10">
        <dgm:presLayoutVars>
          <dgm:chMax val="0"/>
          <dgm:chPref val="0"/>
          <dgm:bulletEnabled val="1"/>
        </dgm:presLayoutVars>
      </dgm:prSet>
      <dgm:spPr/>
    </dgm:pt>
  </dgm:ptLst>
  <dgm:cxnLst>
    <dgm:cxn modelId="{F8EA3703-CEE5-4162-AB46-CFFF8AC28B48}" srcId="{C782CD9B-2B4B-48D2-BF13-2B0D6056B78A}" destId="{B754C885-66E5-4615-BD33-B6EE917A035D}" srcOrd="1" destOrd="0" parTransId="{65812F9F-DD0E-4752-BF8B-D07282594751}" sibTransId="{79AAED35-18A8-4347-A2B8-6AAE8B34BA56}"/>
    <dgm:cxn modelId="{7BC9B318-E7A6-41F3-853C-1D1DFB2050EF}" srcId="{C782CD9B-2B4B-48D2-BF13-2B0D6056B78A}" destId="{2D51EAF0-C497-40E9-996D-2D0BC40F318C}" srcOrd="9" destOrd="0" parTransId="{43C509B8-DD3A-429A-ADC4-232D55259B3D}" sibTransId="{66A12237-9546-42D0-81C0-2C324670B743}"/>
    <dgm:cxn modelId="{7A18CB1C-AB4E-4AEE-86A3-F46F9F3304E3}" type="presOf" srcId="{2F442204-E894-4EB6-A3FA-953074E6D5F9}" destId="{A29D7AF6-34C9-459D-B160-0F8E7686BA2B}" srcOrd="0" destOrd="0" presId="urn:microsoft.com/office/officeart/2005/8/layout/chevron1"/>
    <dgm:cxn modelId="{0CE4E91D-623D-4222-9CA8-298ACA8CD7FD}" type="presOf" srcId="{56EC974B-4690-4A6A-B143-36A5A9DDDB75}" destId="{F9C55CAF-C1A3-4EFD-AD93-3CBF7E30E2FA}" srcOrd="0" destOrd="0" presId="urn:microsoft.com/office/officeart/2005/8/layout/chevron1"/>
    <dgm:cxn modelId="{45737321-FD66-4A31-B32A-5A8647AC7F76}" type="presOf" srcId="{7A5D9CDD-E10F-422D-808B-815C691EF2E8}" destId="{A2199658-E72A-4294-AFD3-6892981EEB12}" srcOrd="0" destOrd="0" presId="urn:microsoft.com/office/officeart/2005/8/layout/chevron1"/>
    <dgm:cxn modelId="{66C1F329-CC48-477F-9684-E7D732E96A4E}" type="presOf" srcId="{DFCF748E-4FA2-4C04-B1DF-85DA1021BE5D}" destId="{F7031506-3856-48AD-BFC1-89D9660F7FF7}" srcOrd="0" destOrd="0" presId="urn:microsoft.com/office/officeart/2005/8/layout/chevron1"/>
    <dgm:cxn modelId="{38B9D83D-DF5F-4C20-9A4A-F7AAF96D2147}" type="presOf" srcId="{A07A8528-D240-4AAE-BA81-005F6AD457F1}" destId="{8CED6B9D-804A-4009-A04D-D699125D11F0}" srcOrd="0" destOrd="0" presId="urn:microsoft.com/office/officeart/2005/8/layout/chevron1"/>
    <dgm:cxn modelId="{94A2B45D-2D69-4650-AFC3-C5574217F910}" srcId="{C782CD9B-2B4B-48D2-BF13-2B0D6056B78A}" destId="{9225496C-39D8-4F53-8BB5-1B069B40EB3E}" srcOrd="3" destOrd="0" parTransId="{D3A21DFB-000A-4FCE-9E9D-8516EBA4DD45}" sibTransId="{1E3F53DD-2537-4C67-AA71-87081D444A81}"/>
    <dgm:cxn modelId="{6FD2AE64-BDEB-482D-ACF3-1D5403180A1E}" srcId="{C782CD9B-2B4B-48D2-BF13-2B0D6056B78A}" destId="{2F442204-E894-4EB6-A3FA-953074E6D5F9}" srcOrd="4" destOrd="0" parTransId="{9E6A019B-6886-407A-A3BB-1A2A8D416818}" sibTransId="{07F51AA8-9070-4A56-AF24-8977CF9B6A80}"/>
    <dgm:cxn modelId="{58646669-5DD5-48E8-80AA-803F0A94833B}" type="presOf" srcId="{9225496C-39D8-4F53-8BB5-1B069B40EB3E}" destId="{6BB9B9CD-B911-4E33-8045-BE6A8D7C5B89}" srcOrd="0" destOrd="0" presId="urn:microsoft.com/office/officeart/2005/8/layout/chevron1"/>
    <dgm:cxn modelId="{BEDD267B-EA80-4783-A782-86B96AAC5B03}" srcId="{C782CD9B-2B4B-48D2-BF13-2B0D6056B78A}" destId="{7A5D9CDD-E10F-422D-808B-815C691EF2E8}" srcOrd="5" destOrd="0" parTransId="{089AE963-8402-4F38-908B-1CA814F78766}" sibTransId="{63A1392B-D9B4-4604-ACED-CDD4B7E19D6E}"/>
    <dgm:cxn modelId="{92751D9D-02E3-45C2-978C-737085227C42}" srcId="{C782CD9B-2B4B-48D2-BF13-2B0D6056B78A}" destId="{DFCF748E-4FA2-4C04-B1DF-85DA1021BE5D}" srcOrd="0" destOrd="0" parTransId="{7DAF1956-B700-4203-9672-92E4451DCC31}" sibTransId="{A0ED7260-8442-4FBF-80B4-500E49A4F3AF}"/>
    <dgm:cxn modelId="{CDABC5A0-6422-4970-813E-E67E0238A816}" type="presOf" srcId="{72FFD339-6A5F-4ED7-B529-6155AF8C35BB}" destId="{636F50A3-8EFE-4C08-B6BE-284B03274F0B}" srcOrd="0" destOrd="0" presId="urn:microsoft.com/office/officeart/2005/8/layout/chevron1"/>
    <dgm:cxn modelId="{2DC57AA6-126F-47A2-8887-E35E3FB60278}" type="presOf" srcId="{B754C885-66E5-4615-BD33-B6EE917A035D}" destId="{6C62160D-9EC9-4B84-8EFD-9C3E10FC055A}" srcOrd="0" destOrd="0" presId="urn:microsoft.com/office/officeart/2005/8/layout/chevron1"/>
    <dgm:cxn modelId="{FE5FBCA8-5D6F-44E5-8DFA-D24300AECCE8}" srcId="{C782CD9B-2B4B-48D2-BF13-2B0D6056B78A}" destId="{56EC974B-4690-4A6A-B143-36A5A9DDDB75}" srcOrd="6" destOrd="0" parTransId="{F24B2512-EFC3-4494-92F8-F4C2A580DD56}" sibTransId="{57612FAC-3D38-4A5A-9D54-8452999285F4}"/>
    <dgm:cxn modelId="{55D88FBB-90FE-4F16-8E92-368B52149A3C}" type="presOf" srcId="{C782CD9B-2B4B-48D2-BF13-2B0D6056B78A}" destId="{2069E263-CA68-447A-859F-7068DC9AF2B6}" srcOrd="0" destOrd="0" presId="urn:microsoft.com/office/officeart/2005/8/layout/chevron1"/>
    <dgm:cxn modelId="{D6C89AE1-00A8-492D-888B-1E3DDC006D86}" srcId="{C782CD9B-2B4B-48D2-BF13-2B0D6056B78A}" destId="{5805825E-3BC3-4961-910E-96065463977D}" srcOrd="8" destOrd="0" parTransId="{263FA899-3C2D-4809-A47A-DB65911293C7}" sibTransId="{B58F1702-0059-4F53-9A60-77242457BBFA}"/>
    <dgm:cxn modelId="{A947E4F1-E8D1-4233-B3A9-03C09B844936}" type="presOf" srcId="{5805825E-3BC3-4961-910E-96065463977D}" destId="{0A5AB2D9-0A33-47A4-83C2-3990E2018CD9}" srcOrd="0" destOrd="0" presId="urn:microsoft.com/office/officeart/2005/8/layout/chevron1"/>
    <dgm:cxn modelId="{C381E8F4-D0AE-4AD0-B8F1-4BDFF55901DE}" srcId="{C782CD9B-2B4B-48D2-BF13-2B0D6056B78A}" destId="{72FFD339-6A5F-4ED7-B529-6155AF8C35BB}" srcOrd="2" destOrd="0" parTransId="{ECFEA23F-DCCD-42C6-8706-10917CE3C2B0}" sibTransId="{A3B7292F-5113-4C29-982F-BC1D14C7BE90}"/>
    <dgm:cxn modelId="{0D99EBF9-8D03-417E-94EF-69787C1BBB7E}" type="presOf" srcId="{2D51EAF0-C497-40E9-996D-2D0BC40F318C}" destId="{F2510710-7BA2-44B7-8AA7-1347717B483B}" srcOrd="0" destOrd="0" presId="urn:microsoft.com/office/officeart/2005/8/layout/chevron1"/>
    <dgm:cxn modelId="{C9F268FB-CB20-4E78-9CDC-F035D61B7E09}" srcId="{C782CD9B-2B4B-48D2-BF13-2B0D6056B78A}" destId="{A07A8528-D240-4AAE-BA81-005F6AD457F1}" srcOrd="7" destOrd="0" parTransId="{3C15A388-1B3D-47E8-B2CB-E67F7E1AFFF1}" sibTransId="{7D0C416E-0310-43FE-A0D6-735CD62199B6}"/>
    <dgm:cxn modelId="{AC9AD49A-BFA0-40CE-AF93-2C4BBC279CD6}" type="presParOf" srcId="{2069E263-CA68-447A-859F-7068DC9AF2B6}" destId="{F7031506-3856-48AD-BFC1-89D9660F7FF7}" srcOrd="0" destOrd="0" presId="urn:microsoft.com/office/officeart/2005/8/layout/chevron1"/>
    <dgm:cxn modelId="{3FFC2769-657D-4782-973C-B5C0D121EC9F}" type="presParOf" srcId="{2069E263-CA68-447A-859F-7068DC9AF2B6}" destId="{420EBE6C-A91F-49B7-AF4C-29A127D6266A}" srcOrd="1" destOrd="0" presId="urn:microsoft.com/office/officeart/2005/8/layout/chevron1"/>
    <dgm:cxn modelId="{565A604E-7C37-4468-93DB-FE4F69773489}" type="presParOf" srcId="{2069E263-CA68-447A-859F-7068DC9AF2B6}" destId="{6C62160D-9EC9-4B84-8EFD-9C3E10FC055A}" srcOrd="2" destOrd="0" presId="urn:microsoft.com/office/officeart/2005/8/layout/chevron1"/>
    <dgm:cxn modelId="{BEFE7281-46F8-4465-B128-5F801F17FD4B}" type="presParOf" srcId="{2069E263-CA68-447A-859F-7068DC9AF2B6}" destId="{6415A264-B3C7-41A6-9BA0-D0AD6AE1DACB}" srcOrd="3" destOrd="0" presId="urn:microsoft.com/office/officeart/2005/8/layout/chevron1"/>
    <dgm:cxn modelId="{CCD418FE-40E3-4240-BC8F-A1855D14F0F5}" type="presParOf" srcId="{2069E263-CA68-447A-859F-7068DC9AF2B6}" destId="{636F50A3-8EFE-4C08-B6BE-284B03274F0B}" srcOrd="4" destOrd="0" presId="urn:microsoft.com/office/officeart/2005/8/layout/chevron1"/>
    <dgm:cxn modelId="{D16A317A-EF0B-4D09-AB78-1D0F2049FE7E}" type="presParOf" srcId="{2069E263-CA68-447A-859F-7068DC9AF2B6}" destId="{B0C5D3FB-8180-4CC6-9F14-5042E96FD8E3}" srcOrd="5" destOrd="0" presId="urn:microsoft.com/office/officeart/2005/8/layout/chevron1"/>
    <dgm:cxn modelId="{16C5D977-204E-43D3-BCC8-EDFC22882F69}" type="presParOf" srcId="{2069E263-CA68-447A-859F-7068DC9AF2B6}" destId="{6BB9B9CD-B911-4E33-8045-BE6A8D7C5B89}" srcOrd="6" destOrd="0" presId="urn:microsoft.com/office/officeart/2005/8/layout/chevron1"/>
    <dgm:cxn modelId="{33D58DC9-D2FD-4433-AB12-DEA9467ED398}" type="presParOf" srcId="{2069E263-CA68-447A-859F-7068DC9AF2B6}" destId="{60B2C4AD-8A0D-4CB2-93A9-16C6C0E4BD5B}" srcOrd="7" destOrd="0" presId="urn:microsoft.com/office/officeart/2005/8/layout/chevron1"/>
    <dgm:cxn modelId="{802EE759-364C-424D-BD32-9877321ECDDA}" type="presParOf" srcId="{2069E263-CA68-447A-859F-7068DC9AF2B6}" destId="{A29D7AF6-34C9-459D-B160-0F8E7686BA2B}" srcOrd="8" destOrd="0" presId="urn:microsoft.com/office/officeart/2005/8/layout/chevron1"/>
    <dgm:cxn modelId="{9FB1270F-39BA-4A1B-A6E5-A972BC5335DB}" type="presParOf" srcId="{2069E263-CA68-447A-859F-7068DC9AF2B6}" destId="{7004503D-9639-442B-9C04-FB1247092C40}" srcOrd="9" destOrd="0" presId="urn:microsoft.com/office/officeart/2005/8/layout/chevron1"/>
    <dgm:cxn modelId="{501D40DB-A66A-4380-9502-2C1431AE792A}" type="presParOf" srcId="{2069E263-CA68-447A-859F-7068DC9AF2B6}" destId="{A2199658-E72A-4294-AFD3-6892981EEB12}" srcOrd="10" destOrd="0" presId="urn:microsoft.com/office/officeart/2005/8/layout/chevron1"/>
    <dgm:cxn modelId="{62C2CFE4-0CF8-4734-B574-487DA600A1B8}" type="presParOf" srcId="{2069E263-CA68-447A-859F-7068DC9AF2B6}" destId="{9B5C0F41-E4E2-4A3A-AA73-E3E4EB6ACD5E}" srcOrd="11" destOrd="0" presId="urn:microsoft.com/office/officeart/2005/8/layout/chevron1"/>
    <dgm:cxn modelId="{0BBE2E4A-7A2C-4257-817A-9E6643F58475}" type="presParOf" srcId="{2069E263-CA68-447A-859F-7068DC9AF2B6}" destId="{F9C55CAF-C1A3-4EFD-AD93-3CBF7E30E2FA}" srcOrd="12" destOrd="0" presId="urn:microsoft.com/office/officeart/2005/8/layout/chevron1"/>
    <dgm:cxn modelId="{B2BC6CC0-7E33-4CFD-8E32-8322EE490710}" type="presParOf" srcId="{2069E263-CA68-447A-859F-7068DC9AF2B6}" destId="{DDB26EDE-11AF-40B7-9C16-348181381393}" srcOrd="13" destOrd="0" presId="urn:microsoft.com/office/officeart/2005/8/layout/chevron1"/>
    <dgm:cxn modelId="{7DCD446E-7A1E-4FA9-A98A-369A2126D9C5}" type="presParOf" srcId="{2069E263-CA68-447A-859F-7068DC9AF2B6}" destId="{8CED6B9D-804A-4009-A04D-D699125D11F0}" srcOrd="14" destOrd="0" presId="urn:microsoft.com/office/officeart/2005/8/layout/chevron1"/>
    <dgm:cxn modelId="{DEA67694-B8DE-4B6E-AC10-22734D8531DE}" type="presParOf" srcId="{2069E263-CA68-447A-859F-7068DC9AF2B6}" destId="{C3D8151F-F75F-49EC-B6A3-4B15A8912918}" srcOrd="15" destOrd="0" presId="urn:microsoft.com/office/officeart/2005/8/layout/chevron1"/>
    <dgm:cxn modelId="{0735BA4D-8EAC-4D8C-B9DC-785CE6576EB6}" type="presParOf" srcId="{2069E263-CA68-447A-859F-7068DC9AF2B6}" destId="{0A5AB2D9-0A33-47A4-83C2-3990E2018CD9}" srcOrd="16" destOrd="0" presId="urn:microsoft.com/office/officeart/2005/8/layout/chevron1"/>
    <dgm:cxn modelId="{EEE74430-A4F4-455D-91A2-E858951A27CF}" type="presParOf" srcId="{2069E263-CA68-447A-859F-7068DC9AF2B6}" destId="{5FE5E96A-0031-41D2-A1BE-2634D143793A}" srcOrd="17" destOrd="0" presId="urn:microsoft.com/office/officeart/2005/8/layout/chevron1"/>
    <dgm:cxn modelId="{B0905552-3A24-482A-8796-162AD61BB3CB}" type="presParOf" srcId="{2069E263-CA68-447A-859F-7068DC9AF2B6}" destId="{F2510710-7BA2-44B7-8AA7-1347717B483B}" srcOrd="18" destOrd="0" presId="urn:microsoft.com/office/officeart/2005/8/layout/chevron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782CD9B-2B4B-48D2-BF13-2B0D6056B78A}"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it-IT"/>
        </a:p>
      </dgm:t>
    </dgm:pt>
    <dgm:pt modelId="{DFCF748E-4FA2-4C04-B1DF-85DA1021BE5D}">
      <dgm:prSet phldrT="[Testo]"/>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Rete viaria complessiva</a:t>
          </a:r>
        </a:p>
      </dgm:t>
    </dgm:pt>
    <dgm:pt modelId="{7DAF1956-B700-4203-9672-92E4451DCC31}" type="parTrans" cxnId="{92751D9D-02E3-45C2-978C-737085227C42}">
      <dgm:prSet/>
      <dgm:spPr/>
      <dgm:t>
        <a:bodyPr/>
        <a:lstStyle/>
        <a:p>
          <a:endParaRPr lang="it-IT"/>
        </a:p>
      </dgm:t>
    </dgm:pt>
    <dgm:pt modelId="{A0ED7260-8442-4FBF-80B4-500E49A4F3AF}" type="sibTrans" cxnId="{92751D9D-02E3-45C2-978C-737085227C42}">
      <dgm:prSet/>
      <dgm:spPr/>
      <dgm:t>
        <a:bodyPr/>
        <a:lstStyle/>
        <a:p>
          <a:endParaRPr lang="it-IT"/>
        </a:p>
      </dgm:t>
    </dgm:pt>
    <dgm:pt modelId="{B754C885-66E5-4615-BD33-B6EE917A035D}">
      <dgm:prSet phldrT="[Testo]"/>
      <dgm:spPr>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dgm:spPr>
      <dgm:t>
        <a:bodyPr/>
        <a:lstStyle/>
        <a:p>
          <a:r>
            <a:rPr lang="it-IT" dirty="0"/>
            <a:t>Risorse</a:t>
          </a:r>
        </a:p>
      </dgm:t>
    </dgm:pt>
    <dgm:pt modelId="{65812F9F-DD0E-4752-BF8B-D07282594751}" type="parTrans" cxnId="{F8EA3703-CEE5-4162-AB46-CFFF8AC28B48}">
      <dgm:prSet/>
      <dgm:spPr/>
      <dgm:t>
        <a:bodyPr/>
        <a:lstStyle/>
        <a:p>
          <a:endParaRPr lang="it-IT"/>
        </a:p>
      </dgm:t>
    </dgm:pt>
    <dgm:pt modelId="{79AAED35-18A8-4347-A2B8-6AAE8B34BA56}" type="sibTrans" cxnId="{F8EA3703-CEE5-4162-AB46-CFFF8AC28B48}">
      <dgm:prSet/>
      <dgm:spPr/>
      <dgm:t>
        <a:bodyPr/>
        <a:lstStyle/>
        <a:p>
          <a:endParaRPr lang="it-IT"/>
        </a:p>
      </dgm:t>
    </dgm:pt>
    <dgm:pt modelId="{9225496C-39D8-4F53-8BB5-1B069B40EB3E}">
      <dgm:prSet phldrT="[Testo]"/>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Affidamenti</a:t>
          </a:r>
        </a:p>
      </dgm:t>
    </dgm:pt>
    <dgm:pt modelId="{D3A21DFB-000A-4FCE-9E9D-8516EBA4DD45}" type="parTrans" cxnId="{94A2B45D-2D69-4650-AFC3-C5574217F910}">
      <dgm:prSet/>
      <dgm:spPr/>
      <dgm:t>
        <a:bodyPr/>
        <a:lstStyle/>
        <a:p>
          <a:endParaRPr lang="it-IT"/>
        </a:p>
      </dgm:t>
    </dgm:pt>
    <dgm:pt modelId="{1E3F53DD-2537-4C67-AA71-87081D444A81}" type="sibTrans" cxnId="{94A2B45D-2D69-4650-AFC3-C5574217F910}">
      <dgm:prSet/>
      <dgm:spPr/>
      <dgm:t>
        <a:bodyPr/>
        <a:lstStyle/>
        <a:p>
          <a:endParaRPr lang="it-IT"/>
        </a:p>
      </dgm:t>
    </dgm:pt>
    <dgm:pt modelId="{2F442204-E894-4EB6-A3FA-953074E6D5F9}">
      <dgm:prSet phldrT="[Testo]" custT="1"/>
      <dgm:spPr>
        <a:solidFill>
          <a:schemeClr val="tx2"/>
        </a:solidFill>
      </dgm:spPr>
      <dgm:t>
        <a:bodyPr/>
        <a:lstStyle/>
        <a:p>
          <a:r>
            <a:rPr lang="it-IT" sz="700" dirty="0"/>
            <a:t>Investimenti e Produzione</a:t>
          </a:r>
        </a:p>
        <a:p>
          <a:r>
            <a:rPr lang="it-IT" sz="700" dirty="0"/>
            <a:t>MP</a:t>
          </a:r>
        </a:p>
      </dgm:t>
    </dgm:pt>
    <dgm:pt modelId="{9E6A019B-6886-407A-A3BB-1A2A8D416818}" type="parTrans" cxnId="{6FD2AE64-BDEB-482D-ACF3-1D5403180A1E}">
      <dgm:prSet/>
      <dgm:spPr/>
      <dgm:t>
        <a:bodyPr/>
        <a:lstStyle/>
        <a:p>
          <a:endParaRPr lang="it-IT"/>
        </a:p>
      </dgm:t>
    </dgm:pt>
    <dgm:pt modelId="{07F51AA8-9070-4A56-AF24-8977CF9B6A80}" type="sibTrans" cxnId="{6FD2AE64-BDEB-482D-ACF3-1D5403180A1E}">
      <dgm:prSet/>
      <dgm:spPr/>
      <dgm:t>
        <a:bodyPr/>
        <a:lstStyle/>
        <a:p>
          <a:endParaRPr lang="it-IT"/>
        </a:p>
      </dgm:t>
    </dgm:pt>
    <dgm:pt modelId="{2D51EAF0-C497-40E9-996D-2D0BC40F318C}">
      <dgm:prSet phldrT="[Testo]"/>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Pagamenti</a:t>
          </a:r>
        </a:p>
      </dgm:t>
    </dgm:pt>
    <dgm:pt modelId="{43C509B8-DD3A-429A-ADC4-232D55259B3D}" type="parTrans" cxnId="{7BC9B318-E7A6-41F3-853C-1D1DFB2050EF}">
      <dgm:prSet/>
      <dgm:spPr/>
      <dgm:t>
        <a:bodyPr/>
        <a:lstStyle/>
        <a:p>
          <a:endParaRPr lang="it-IT"/>
        </a:p>
      </dgm:t>
    </dgm:pt>
    <dgm:pt modelId="{66A12237-9546-42D0-81C0-2C324670B743}" type="sibTrans" cxnId="{7BC9B318-E7A6-41F3-853C-1D1DFB2050EF}">
      <dgm:prSet/>
      <dgm:spPr/>
      <dgm:t>
        <a:bodyPr/>
        <a:lstStyle/>
        <a:p>
          <a:endParaRPr lang="it-IT"/>
        </a:p>
      </dgm:t>
    </dgm:pt>
    <dgm:pt modelId="{72FFD339-6A5F-4ED7-B529-6155AF8C35BB}">
      <dgm:prSet/>
      <dgm:spPr>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dgm:spPr>
      <dgm:t>
        <a:bodyPr/>
        <a:lstStyle/>
        <a:p>
          <a:r>
            <a:rPr lang="it-IT" dirty="0" err="1"/>
            <a:t>soc</a:t>
          </a:r>
          <a:endParaRPr lang="it-IT" dirty="0"/>
        </a:p>
      </dgm:t>
    </dgm:pt>
    <dgm:pt modelId="{ECFEA23F-DCCD-42C6-8706-10917CE3C2B0}" type="parTrans" cxnId="{C381E8F4-D0AE-4AD0-B8F1-4BDFF55901DE}">
      <dgm:prSet/>
      <dgm:spPr/>
      <dgm:t>
        <a:bodyPr/>
        <a:lstStyle/>
        <a:p>
          <a:endParaRPr lang="it-IT"/>
        </a:p>
      </dgm:t>
    </dgm:pt>
    <dgm:pt modelId="{A3B7292F-5113-4C29-982F-BC1D14C7BE90}" type="sibTrans" cxnId="{C381E8F4-D0AE-4AD0-B8F1-4BDFF55901DE}">
      <dgm:prSet/>
      <dgm:spPr/>
      <dgm:t>
        <a:bodyPr/>
        <a:lstStyle/>
        <a:p>
          <a:endParaRPr lang="it-IT"/>
        </a:p>
      </dgm:t>
    </dgm:pt>
    <dgm:pt modelId="{A07A8528-D240-4AAE-BA81-005F6AD457F1}">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Ispezione Opere D’arte</a:t>
          </a:r>
        </a:p>
      </dgm:t>
    </dgm:pt>
    <dgm:pt modelId="{3C15A388-1B3D-47E8-B2CB-E67F7E1AFFF1}" type="parTrans" cxnId="{C9F268FB-CB20-4E78-9CDC-F035D61B7E09}">
      <dgm:prSet/>
      <dgm:spPr/>
      <dgm:t>
        <a:bodyPr/>
        <a:lstStyle/>
        <a:p>
          <a:endParaRPr lang="it-IT"/>
        </a:p>
      </dgm:t>
    </dgm:pt>
    <dgm:pt modelId="{7D0C416E-0310-43FE-A0D6-735CD62199B6}" type="sibTrans" cxnId="{C9F268FB-CB20-4E78-9CDC-F035D61B7E09}">
      <dgm:prSet/>
      <dgm:spPr/>
      <dgm:t>
        <a:bodyPr/>
        <a:lstStyle/>
        <a:p>
          <a:endParaRPr lang="it-IT"/>
        </a:p>
      </dgm:t>
    </dgm:pt>
    <dgm:pt modelId="{56EC974B-4690-4A6A-B143-36A5A9DDDB75}">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Supporto Tecnico</a:t>
          </a:r>
        </a:p>
      </dgm:t>
    </dgm:pt>
    <dgm:pt modelId="{F24B2512-EFC3-4494-92F8-F4C2A580DD56}" type="parTrans" cxnId="{FE5FBCA8-5D6F-44E5-8DFA-D24300AECCE8}">
      <dgm:prSet/>
      <dgm:spPr/>
      <dgm:t>
        <a:bodyPr/>
        <a:lstStyle/>
        <a:p>
          <a:endParaRPr lang="it-IT"/>
        </a:p>
      </dgm:t>
    </dgm:pt>
    <dgm:pt modelId="{57612FAC-3D38-4A5A-9D54-8452999285F4}" type="sibTrans" cxnId="{FE5FBCA8-5D6F-44E5-8DFA-D24300AECCE8}">
      <dgm:prSet/>
      <dgm:spPr/>
      <dgm:t>
        <a:bodyPr/>
        <a:lstStyle/>
        <a:p>
          <a:endParaRPr lang="it-IT"/>
        </a:p>
      </dgm:t>
    </dgm:pt>
    <dgm:pt modelId="{5805825E-3BC3-4961-910E-96065463977D}">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Interventi Rilevanti</a:t>
          </a:r>
        </a:p>
      </dgm:t>
    </dgm:pt>
    <dgm:pt modelId="{263FA899-3C2D-4809-A47A-DB65911293C7}" type="parTrans" cxnId="{D6C89AE1-00A8-492D-888B-1E3DDC006D86}">
      <dgm:prSet/>
      <dgm:spPr/>
      <dgm:t>
        <a:bodyPr/>
        <a:lstStyle/>
        <a:p>
          <a:endParaRPr lang="it-IT"/>
        </a:p>
      </dgm:t>
    </dgm:pt>
    <dgm:pt modelId="{B58F1702-0059-4F53-9A60-77242457BBFA}" type="sibTrans" cxnId="{D6C89AE1-00A8-492D-888B-1E3DDC006D86}">
      <dgm:prSet/>
      <dgm:spPr/>
      <dgm:t>
        <a:bodyPr/>
        <a:lstStyle/>
        <a:p>
          <a:endParaRPr lang="it-IT"/>
        </a:p>
      </dgm:t>
    </dgm:pt>
    <dgm:pt modelId="{7A5D9CDD-E10F-422D-808B-815C691EF2E8}">
      <dgm:prSet phldrT="[Testo]" custT="1"/>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sz="700" dirty="0"/>
            <a:t>Investimenti e Produzione</a:t>
          </a:r>
        </a:p>
        <a:p>
          <a:r>
            <a:rPr lang="it-IT" sz="700" dirty="0"/>
            <a:t>NO</a:t>
          </a:r>
        </a:p>
      </dgm:t>
    </dgm:pt>
    <dgm:pt modelId="{089AE963-8402-4F38-908B-1CA814F78766}" type="parTrans" cxnId="{BEDD267B-EA80-4783-A782-86B96AAC5B03}">
      <dgm:prSet/>
      <dgm:spPr/>
      <dgm:t>
        <a:bodyPr/>
        <a:lstStyle/>
        <a:p>
          <a:endParaRPr lang="it-IT"/>
        </a:p>
      </dgm:t>
    </dgm:pt>
    <dgm:pt modelId="{63A1392B-D9B4-4604-ACED-CDD4B7E19D6E}" type="sibTrans" cxnId="{BEDD267B-EA80-4783-A782-86B96AAC5B03}">
      <dgm:prSet/>
      <dgm:spPr/>
      <dgm:t>
        <a:bodyPr/>
        <a:lstStyle/>
        <a:p>
          <a:endParaRPr lang="it-IT"/>
        </a:p>
      </dgm:t>
    </dgm:pt>
    <dgm:pt modelId="{2069E263-CA68-447A-859F-7068DC9AF2B6}" type="pres">
      <dgm:prSet presAssocID="{C782CD9B-2B4B-48D2-BF13-2B0D6056B78A}" presName="Name0" presStyleCnt="0">
        <dgm:presLayoutVars>
          <dgm:dir/>
          <dgm:animLvl val="lvl"/>
          <dgm:resizeHandles val="exact"/>
        </dgm:presLayoutVars>
      </dgm:prSet>
      <dgm:spPr/>
    </dgm:pt>
    <dgm:pt modelId="{F7031506-3856-48AD-BFC1-89D9660F7FF7}" type="pres">
      <dgm:prSet presAssocID="{DFCF748E-4FA2-4C04-B1DF-85DA1021BE5D}" presName="parTxOnly" presStyleLbl="node1" presStyleIdx="0" presStyleCnt="10">
        <dgm:presLayoutVars>
          <dgm:chMax val="0"/>
          <dgm:chPref val="0"/>
          <dgm:bulletEnabled val="1"/>
        </dgm:presLayoutVars>
      </dgm:prSet>
      <dgm:spPr/>
    </dgm:pt>
    <dgm:pt modelId="{420EBE6C-A91F-49B7-AF4C-29A127D6266A}" type="pres">
      <dgm:prSet presAssocID="{A0ED7260-8442-4FBF-80B4-500E49A4F3AF}" presName="parTxOnlySpace" presStyleCnt="0"/>
      <dgm:spPr/>
    </dgm:pt>
    <dgm:pt modelId="{6C62160D-9EC9-4B84-8EFD-9C3E10FC055A}" type="pres">
      <dgm:prSet presAssocID="{B754C885-66E5-4615-BD33-B6EE917A035D}" presName="parTxOnly" presStyleLbl="node1" presStyleIdx="1" presStyleCnt="10">
        <dgm:presLayoutVars>
          <dgm:chMax val="0"/>
          <dgm:chPref val="0"/>
          <dgm:bulletEnabled val="1"/>
        </dgm:presLayoutVars>
      </dgm:prSet>
      <dgm:spPr/>
    </dgm:pt>
    <dgm:pt modelId="{6415A264-B3C7-41A6-9BA0-D0AD6AE1DACB}" type="pres">
      <dgm:prSet presAssocID="{79AAED35-18A8-4347-A2B8-6AAE8B34BA56}" presName="parTxOnlySpace" presStyleCnt="0"/>
      <dgm:spPr/>
    </dgm:pt>
    <dgm:pt modelId="{636F50A3-8EFE-4C08-B6BE-284B03274F0B}" type="pres">
      <dgm:prSet presAssocID="{72FFD339-6A5F-4ED7-B529-6155AF8C35BB}" presName="parTxOnly" presStyleLbl="node1" presStyleIdx="2" presStyleCnt="10">
        <dgm:presLayoutVars>
          <dgm:chMax val="0"/>
          <dgm:chPref val="0"/>
          <dgm:bulletEnabled val="1"/>
        </dgm:presLayoutVars>
      </dgm:prSet>
      <dgm:spPr/>
    </dgm:pt>
    <dgm:pt modelId="{B0C5D3FB-8180-4CC6-9F14-5042E96FD8E3}" type="pres">
      <dgm:prSet presAssocID="{A3B7292F-5113-4C29-982F-BC1D14C7BE90}" presName="parTxOnlySpace" presStyleCnt="0"/>
      <dgm:spPr/>
    </dgm:pt>
    <dgm:pt modelId="{6BB9B9CD-B911-4E33-8045-BE6A8D7C5B89}" type="pres">
      <dgm:prSet presAssocID="{9225496C-39D8-4F53-8BB5-1B069B40EB3E}" presName="parTxOnly" presStyleLbl="node1" presStyleIdx="3" presStyleCnt="10">
        <dgm:presLayoutVars>
          <dgm:chMax val="0"/>
          <dgm:chPref val="0"/>
          <dgm:bulletEnabled val="1"/>
        </dgm:presLayoutVars>
      </dgm:prSet>
      <dgm:spPr/>
    </dgm:pt>
    <dgm:pt modelId="{60B2C4AD-8A0D-4CB2-93A9-16C6C0E4BD5B}" type="pres">
      <dgm:prSet presAssocID="{1E3F53DD-2537-4C67-AA71-87081D444A81}" presName="parTxOnlySpace" presStyleCnt="0"/>
      <dgm:spPr/>
    </dgm:pt>
    <dgm:pt modelId="{A29D7AF6-34C9-459D-B160-0F8E7686BA2B}" type="pres">
      <dgm:prSet presAssocID="{2F442204-E894-4EB6-A3FA-953074E6D5F9}" presName="parTxOnly" presStyleLbl="node1" presStyleIdx="4" presStyleCnt="10">
        <dgm:presLayoutVars>
          <dgm:chMax val="0"/>
          <dgm:chPref val="0"/>
          <dgm:bulletEnabled val="1"/>
        </dgm:presLayoutVars>
      </dgm:prSet>
      <dgm:spPr/>
    </dgm:pt>
    <dgm:pt modelId="{7004503D-9639-442B-9C04-FB1247092C40}" type="pres">
      <dgm:prSet presAssocID="{07F51AA8-9070-4A56-AF24-8977CF9B6A80}" presName="parTxOnlySpace" presStyleCnt="0"/>
      <dgm:spPr/>
    </dgm:pt>
    <dgm:pt modelId="{A2199658-E72A-4294-AFD3-6892981EEB12}" type="pres">
      <dgm:prSet presAssocID="{7A5D9CDD-E10F-422D-808B-815C691EF2E8}" presName="parTxOnly" presStyleLbl="node1" presStyleIdx="5" presStyleCnt="10">
        <dgm:presLayoutVars>
          <dgm:chMax val="0"/>
          <dgm:chPref val="0"/>
          <dgm:bulletEnabled val="1"/>
        </dgm:presLayoutVars>
      </dgm:prSet>
      <dgm:spPr/>
    </dgm:pt>
    <dgm:pt modelId="{9B5C0F41-E4E2-4A3A-AA73-E3E4EB6ACD5E}" type="pres">
      <dgm:prSet presAssocID="{63A1392B-D9B4-4604-ACED-CDD4B7E19D6E}" presName="parTxOnlySpace" presStyleCnt="0"/>
      <dgm:spPr/>
    </dgm:pt>
    <dgm:pt modelId="{F9C55CAF-C1A3-4EFD-AD93-3CBF7E30E2FA}" type="pres">
      <dgm:prSet presAssocID="{56EC974B-4690-4A6A-B143-36A5A9DDDB75}" presName="parTxOnly" presStyleLbl="node1" presStyleIdx="6" presStyleCnt="10">
        <dgm:presLayoutVars>
          <dgm:chMax val="0"/>
          <dgm:chPref val="0"/>
          <dgm:bulletEnabled val="1"/>
        </dgm:presLayoutVars>
      </dgm:prSet>
      <dgm:spPr/>
    </dgm:pt>
    <dgm:pt modelId="{DDB26EDE-11AF-40B7-9C16-348181381393}" type="pres">
      <dgm:prSet presAssocID="{57612FAC-3D38-4A5A-9D54-8452999285F4}" presName="parTxOnlySpace" presStyleCnt="0"/>
      <dgm:spPr/>
    </dgm:pt>
    <dgm:pt modelId="{8CED6B9D-804A-4009-A04D-D699125D11F0}" type="pres">
      <dgm:prSet presAssocID="{A07A8528-D240-4AAE-BA81-005F6AD457F1}" presName="parTxOnly" presStyleLbl="node1" presStyleIdx="7" presStyleCnt="10">
        <dgm:presLayoutVars>
          <dgm:chMax val="0"/>
          <dgm:chPref val="0"/>
          <dgm:bulletEnabled val="1"/>
        </dgm:presLayoutVars>
      </dgm:prSet>
      <dgm:spPr/>
    </dgm:pt>
    <dgm:pt modelId="{C3D8151F-F75F-49EC-B6A3-4B15A8912918}" type="pres">
      <dgm:prSet presAssocID="{7D0C416E-0310-43FE-A0D6-735CD62199B6}" presName="parTxOnlySpace" presStyleCnt="0"/>
      <dgm:spPr/>
    </dgm:pt>
    <dgm:pt modelId="{0A5AB2D9-0A33-47A4-83C2-3990E2018CD9}" type="pres">
      <dgm:prSet presAssocID="{5805825E-3BC3-4961-910E-96065463977D}" presName="parTxOnly" presStyleLbl="node1" presStyleIdx="8" presStyleCnt="10">
        <dgm:presLayoutVars>
          <dgm:chMax val="0"/>
          <dgm:chPref val="0"/>
          <dgm:bulletEnabled val="1"/>
        </dgm:presLayoutVars>
      </dgm:prSet>
      <dgm:spPr/>
    </dgm:pt>
    <dgm:pt modelId="{5FE5E96A-0031-41D2-A1BE-2634D143793A}" type="pres">
      <dgm:prSet presAssocID="{B58F1702-0059-4F53-9A60-77242457BBFA}" presName="parTxOnlySpace" presStyleCnt="0"/>
      <dgm:spPr/>
    </dgm:pt>
    <dgm:pt modelId="{F2510710-7BA2-44B7-8AA7-1347717B483B}" type="pres">
      <dgm:prSet presAssocID="{2D51EAF0-C497-40E9-996D-2D0BC40F318C}" presName="parTxOnly" presStyleLbl="node1" presStyleIdx="9" presStyleCnt="10">
        <dgm:presLayoutVars>
          <dgm:chMax val="0"/>
          <dgm:chPref val="0"/>
          <dgm:bulletEnabled val="1"/>
        </dgm:presLayoutVars>
      </dgm:prSet>
      <dgm:spPr/>
    </dgm:pt>
  </dgm:ptLst>
  <dgm:cxnLst>
    <dgm:cxn modelId="{DE7B6300-990D-491E-8AE7-BA337A0C4DBD}" type="presOf" srcId="{56EC974B-4690-4A6A-B143-36A5A9DDDB75}" destId="{F9C55CAF-C1A3-4EFD-AD93-3CBF7E30E2FA}" srcOrd="0" destOrd="0" presId="urn:microsoft.com/office/officeart/2005/8/layout/chevron1"/>
    <dgm:cxn modelId="{F8EA3703-CEE5-4162-AB46-CFFF8AC28B48}" srcId="{C782CD9B-2B4B-48D2-BF13-2B0D6056B78A}" destId="{B754C885-66E5-4615-BD33-B6EE917A035D}" srcOrd="1" destOrd="0" parTransId="{65812F9F-DD0E-4752-BF8B-D07282594751}" sibTransId="{79AAED35-18A8-4347-A2B8-6AAE8B34BA56}"/>
    <dgm:cxn modelId="{7BC9B318-E7A6-41F3-853C-1D1DFB2050EF}" srcId="{C782CD9B-2B4B-48D2-BF13-2B0D6056B78A}" destId="{2D51EAF0-C497-40E9-996D-2D0BC40F318C}" srcOrd="9" destOrd="0" parTransId="{43C509B8-DD3A-429A-ADC4-232D55259B3D}" sibTransId="{66A12237-9546-42D0-81C0-2C324670B743}"/>
    <dgm:cxn modelId="{0C3A0A28-63E2-4BD9-A9FF-8CD06AD42489}" type="presOf" srcId="{2D51EAF0-C497-40E9-996D-2D0BC40F318C}" destId="{F2510710-7BA2-44B7-8AA7-1347717B483B}" srcOrd="0" destOrd="0" presId="urn:microsoft.com/office/officeart/2005/8/layout/chevron1"/>
    <dgm:cxn modelId="{94A2B45D-2D69-4650-AFC3-C5574217F910}" srcId="{C782CD9B-2B4B-48D2-BF13-2B0D6056B78A}" destId="{9225496C-39D8-4F53-8BB5-1B069B40EB3E}" srcOrd="3" destOrd="0" parTransId="{D3A21DFB-000A-4FCE-9E9D-8516EBA4DD45}" sibTransId="{1E3F53DD-2537-4C67-AA71-87081D444A81}"/>
    <dgm:cxn modelId="{6FD2AE64-BDEB-482D-ACF3-1D5403180A1E}" srcId="{C782CD9B-2B4B-48D2-BF13-2B0D6056B78A}" destId="{2F442204-E894-4EB6-A3FA-953074E6D5F9}" srcOrd="4" destOrd="0" parTransId="{9E6A019B-6886-407A-A3BB-1A2A8D416818}" sibTransId="{07F51AA8-9070-4A56-AF24-8977CF9B6A80}"/>
    <dgm:cxn modelId="{44310A67-3FA3-4DF2-AC0C-5D78EB2B7F8C}" type="presOf" srcId="{DFCF748E-4FA2-4C04-B1DF-85DA1021BE5D}" destId="{F7031506-3856-48AD-BFC1-89D9660F7FF7}" srcOrd="0" destOrd="0" presId="urn:microsoft.com/office/officeart/2005/8/layout/chevron1"/>
    <dgm:cxn modelId="{81ADDC6C-777D-44E4-9206-452904BCBEA2}" type="presOf" srcId="{2F442204-E894-4EB6-A3FA-953074E6D5F9}" destId="{A29D7AF6-34C9-459D-B160-0F8E7686BA2B}" srcOrd="0" destOrd="0" presId="urn:microsoft.com/office/officeart/2005/8/layout/chevron1"/>
    <dgm:cxn modelId="{FCC69E6D-418C-4C11-9A40-3882AB4F150A}" type="presOf" srcId="{A07A8528-D240-4AAE-BA81-005F6AD457F1}" destId="{8CED6B9D-804A-4009-A04D-D699125D11F0}" srcOrd="0" destOrd="0" presId="urn:microsoft.com/office/officeart/2005/8/layout/chevron1"/>
    <dgm:cxn modelId="{26956654-ABC8-494C-958F-B556FF737B3A}" type="presOf" srcId="{9225496C-39D8-4F53-8BB5-1B069B40EB3E}" destId="{6BB9B9CD-B911-4E33-8045-BE6A8D7C5B89}" srcOrd="0" destOrd="0" presId="urn:microsoft.com/office/officeart/2005/8/layout/chevron1"/>
    <dgm:cxn modelId="{BEDD267B-EA80-4783-A782-86B96AAC5B03}" srcId="{C782CD9B-2B4B-48D2-BF13-2B0D6056B78A}" destId="{7A5D9CDD-E10F-422D-808B-815C691EF2E8}" srcOrd="5" destOrd="0" parTransId="{089AE963-8402-4F38-908B-1CA814F78766}" sibTransId="{63A1392B-D9B4-4604-ACED-CDD4B7E19D6E}"/>
    <dgm:cxn modelId="{92751D9D-02E3-45C2-978C-737085227C42}" srcId="{C782CD9B-2B4B-48D2-BF13-2B0D6056B78A}" destId="{DFCF748E-4FA2-4C04-B1DF-85DA1021BE5D}" srcOrd="0" destOrd="0" parTransId="{7DAF1956-B700-4203-9672-92E4451DCC31}" sibTransId="{A0ED7260-8442-4FBF-80B4-500E49A4F3AF}"/>
    <dgm:cxn modelId="{369FF8A0-D208-4661-856D-97C9DCBA186E}" type="presOf" srcId="{7A5D9CDD-E10F-422D-808B-815C691EF2E8}" destId="{A2199658-E72A-4294-AFD3-6892981EEB12}" srcOrd="0" destOrd="0" presId="urn:microsoft.com/office/officeart/2005/8/layout/chevron1"/>
    <dgm:cxn modelId="{6CF95DA4-2613-481C-BAA3-954E0C20D138}" type="presOf" srcId="{C782CD9B-2B4B-48D2-BF13-2B0D6056B78A}" destId="{2069E263-CA68-447A-859F-7068DC9AF2B6}" srcOrd="0" destOrd="0" presId="urn:microsoft.com/office/officeart/2005/8/layout/chevron1"/>
    <dgm:cxn modelId="{FE5FBCA8-5D6F-44E5-8DFA-D24300AECCE8}" srcId="{C782CD9B-2B4B-48D2-BF13-2B0D6056B78A}" destId="{56EC974B-4690-4A6A-B143-36A5A9DDDB75}" srcOrd="6" destOrd="0" parTransId="{F24B2512-EFC3-4494-92F8-F4C2A580DD56}" sibTransId="{57612FAC-3D38-4A5A-9D54-8452999285F4}"/>
    <dgm:cxn modelId="{540C9FBE-E502-4DEA-A44A-75F91CEC07E9}" type="presOf" srcId="{B754C885-66E5-4615-BD33-B6EE917A035D}" destId="{6C62160D-9EC9-4B84-8EFD-9C3E10FC055A}" srcOrd="0" destOrd="0" presId="urn:microsoft.com/office/officeart/2005/8/layout/chevron1"/>
    <dgm:cxn modelId="{7D1325D4-B714-4C73-8429-4B3DEC071782}" type="presOf" srcId="{5805825E-3BC3-4961-910E-96065463977D}" destId="{0A5AB2D9-0A33-47A4-83C2-3990E2018CD9}" srcOrd="0" destOrd="0" presId="urn:microsoft.com/office/officeart/2005/8/layout/chevron1"/>
    <dgm:cxn modelId="{D6C89AE1-00A8-492D-888B-1E3DDC006D86}" srcId="{C782CD9B-2B4B-48D2-BF13-2B0D6056B78A}" destId="{5805825E-3BC3-4961-910E-96065463977D}" srcOrd="8" destOrd="0" parTransId="{263FA899-3C2D-4809-A47A-DB65911293C7}" sibTransId="{B58F1702-0059-4F53-9A60-77242457BBFA}"/>
    <dgm:cxn modelId="{3A1818EF-1EA4-4A6D-8B4F-D70731EA601C}" type="presOf" srcId="{72FFD339-6A5F-4ED7-B529-6155AF8C35BB}" destId="{636F50A3-8EFE-4C08-B6BE-284B03274F0B}" srcOrd="0" destOrd="0" presId="urn:microsoft.com/office/officeart/2005/8/layout/chevron1"/>
    <dgm:cxn modelId="{C381E8F4-D0AE-4AD0-B8F1-4BDFF55901DE}" srcId="{C782CD9B-2B4B-48D2-BF13-2B0D6056B78A}" destId="{72FFD339-6A5F-4ED7-B529-6155AF8C35BB}" srcOrd="2" destOrd="0" parTransId="{ECFEA23F-DCCD-42C6-8706-10917CE3C2B0}" sibTransId="{A3B7292F-5113-4C29-982F-BC1D14C7BE90}"/>
    <dgm:cxn modelId="{C9F268FB-CB20-4E78-9CDC-F035D61B7E09}" srcId="{C782CD9B-2B4B-48D2-BF13-2B0D6056B78A}" destId="{A07A8528-D240-4AAE-BA81-005F6AD457F1}" srcOrd="7" destOrd="0" parTransId="{3C15A388-1B3D-47E8-B2CB-E67F7E1AFFF1}" sibTransId="{7D0C416E-0310-43FE-A0D6-735CD62199B6}"/>
    <dgm:cxn modelId="{FA0BDCB6-DA4D-4C0D-A9AB-3A32EB6D8224}" type="presParOf" srcId="{2069E263-CA68-447A-859F-7068DC9AF2B6}" destId="{F7031506-3856-48AD-BFC1-89D9660F7FF7}" srcOrd="0" destOrd="0" presId="urn:microsoft.com/office/officeart/2005/8/layout/chevron1"/>
    <dgm:cxn modelId="{3C88ABDC-BB6F-4062-814A-4FF79FD55B6B}" type="presParOf" srcId="{2069E263-CA68-447A-859F-7068DC9AF2B6}" destId="{420EBE6C-A91F-49B7-AF4C-29A127D6266A}" srcOrd="1" destOrd="0" presId="urn:microsoft.com/office/officeart/2005/8/layout/chevron1"/>
    <dgm:cxn modelId="{6994B2C2-69C2-48CD-AC7B-2844BEE22D10}" type="presParOf" srcId="{2069E263-CA68-447A-859F-7068DC9AF2B6}" destId="{6C62160D-9EC9-4B84-8EFD-9C3E10FC055A}" srcOrd="2" destOrd="0" presId="urn:microsoft.com/office/officeart/2005/8/layout/chevron1"/>
    <dgm:cxn modelId="{9275EFAA-1231-4B66-BA81-0FD647924410}" type="presParOf" srcId="{2069E263-CA68-447A-859F-7068DC9AF2B6}" destId="{6415A264-B3C7-41A6-9BA0-D0AD6AE1DACB}" srcOrd="3" destOrd="0" presId="urn:microsoft.com/office/officeart/2005/8/layout/chevron1"/>
    <dgm:cxn modelId="{4182748B-374B-479E-A33B-866A1EB1CE83}" type="presParOf" srcId="{2069E263-CA68-447A-859F-7068DC9AF2B6}" destId="{636F50A3-8EFE-4C08-B6BE-284B03274F0B}" srcOrd="4" destOrd="0" presId="urn:microsoft.com/office/officeart/2005/8/layout/chevron1"/>
    <dgm:cxn modelId="{C58944AA-1C25-457E-BDE2-0A8D910C4337}" type="presParOf" srcId="{2069E263-CA68-447A-859F-7068DC9AF2B6}" destId="{B0C5D3FB-8180-4CC6-9F14-5042E96FD8E3}" srcOrd="5" destOrd="0" presId="urn:microsoft.com/office/officeart/2005/8/layout/chevron1"/>
    <dgm:cxn modelId="{C1B7FD5F-6964-4965-ABB8-11E06BB37009}" type="presParOf" srcId="{2069E263-CA68-447A-859F-7068DC9AF2B6}" destId="{6BB9B9CD-B911-4E33-8045-BE6A8D7C5B89}" srcOrd="6" destOrd="0" presId="urn:microsoft.com/office/officeart/2005/8/layout/chevron1"/>
    <dgm:cxn modelId="{3F982982-2FA6-42F4-ABC5-3447533EFA3F}" type="presParOf" srcId="{2069E263-CA68-447A-859F-7068DC9AF2B6}" destId="{60B2C4AD-8A0D-4CB2-93A9-16C6C0E4BD5B}" srcOrd="7" destOrd="0" presId="urn:microsoft.com/office/officeart/2005/8/layout/chevron1"/>
    <dgm:cxn modelId="{DBEF3433-EEE9-4F6E-B9A9-960D6388F001}" type="presParOf" srcId="{2069E263-CA68-447A-859F-7068DC9AF2B6}" destId="{A29D7AF6-34C9-459D-B160-0F8E7686BA2B}" srcOrd="8" destOrd="0" presId="urn:microsoft.com/office/officeart/2005/8/layout/chevron1"/>
    <dgm:cxn modelId="{6C6D0BAE-B5F2-4420-81AC-6183C8025C6B}" type="presParOf" srcId="{2069E263-CA68-447A-859F-7068DC9AF2B6}" destId="{7004503D-9639-442B-9C04-FB1247092C40}" srcOrd="9" destOrd="0" presId="urn:microsoft.com/office/officeart/2005/8/layout/chevron1"/>
    <dgm:cxn modelId="{CC9FA072-4A68-484C-A508-CC8DE0C03DA8}" type="presParOf" srcId="{2069E263-CA68-447A-859F-7068DC9AF2B6}" destId="{A2199658-E72A-4294-AFD3-6892981EEB12}" srcOrd="10" destOrd="0" presId="urn:microsoft.com/office/officeart/2005/8/layout/chevron1"/>
    <dgm:cxn modelId="{1465DD93-2AC0-4F94-B63D-62FF91284D96}" type="presParOf" srcId="{2069E263-CA68-447A-859F-7068DC9AF2B6}" destId="{9B5C0F41-E4E2-4A3A-AA73-E3E4EB6ACD5E}" srcOrd="11" destOrd="0" presId="urn:microsoft.com/office/officeart/2005/8/layout/chevron1"/>
    <dgm:cxn modelId="{2CBE4058-7E25-455D-B61D-320CB1893046}" type="presParOf" srcId="{2069E263-CA68-447A-859F-7068DC9AF2B6}" destId="{F9C55CAF-C1A3-4EFD-AD93-3CBF7E30E2FA}" srcOrd="12" destOrd="0" presId="urn:microsoft.com/office/officeart/2005/8/layout/chevron1"/>
    <dgm:cxn modelId="{A130863F-08B0-4DB5-AA0B-074602720409}" type="presParOf" srcId="{2069E263-CA68-447A-859F-7068DC9AF2B6}" destId="{DDB26EDE-11AF-40B7-9C16-348181381393}" srcOrd="13" destOrd="0" presId="urn:microsoft.com/office/officeart/2005/8/layout/chevron1"/>
    <dgm:cxn modelId="{4AB53D36-0283-48A9-BEEA-977A57E07092}" type="presParOf" srcId="{2069E263-CA68-447A-859F-7068DC9AF2B6}" destId="{8CED6B9D-804A-4009-A04D-D699125D11F0}" srcOrd="14" destOrd="0" presId="urn:microsoft.com/office/officeart/2005/8/layout/chevron1"/>
    <dgm:cxn modelId="{632E39D5-CBE4-4E7C-B95E-4BF3527267FF}" type="presParOf" srcId="{2069E263-CA68-447A-859F-7068DC9AF2B6}" destId="{C3D8151F-F75F-49EC-B6A3-4B15A8912918}" srcOrd="15" destOrd="0" presId="urn:microsoft.com/office/officeart/2005/8/layout/chevron1"/>
    <dgm:cxn modelId="{423760AD-29F7-443D-B4A1-43A5209CBDB7}" type="presParOf" srcId="{2069E263-CA68-447A-859F-7068DC9AF2B6}" destId="{0A5AB2D9-0A33-47A4-83C2-3990E2018CD9}" srcOrd="16" destOrd="0" presId="urn:microsoft.com/office/officeart/2005/8/layout/chevron1"/>
    <dgm:cxn modelId="{5BFE2D22-79D2-4B1F-BC6C-10FE590E341F}" type="presParOf" srcId="{2069E263-CA68-447A-859F-7068DC9AF2B6}" destId="{5FE5E96A-0031-41D2-A1BE-2634D143793A}" srcOrd="17" destOrd="0" presId="urn:microsoft.com/office/officeart/2005/8/layout/chevron1"/>
    <dgm:cxn modelId="{E7C2BE00-6F86-4FCD-AFB7-EEBBF9621DF8}" type="presParOf" srcId="{2069E263-CA68-447A-859F-7068DC9AF2B6}" destId="{F2510710-7BA2-44B7-8AA7-1347717B483B}" srcOrd="18"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C782CD9B-2B4B-48D2-BF13-2B0D6056B78A}"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it-IT"/>
        </a:p>
      </dgm:t>
    </dgm:pt>
    <dgm:pt modelId="{DFCF748E-4FA2-4C04-B1DF-85DA1021BE5D}">
      <dgm:prSet phldrT="[Testo]"/>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Rete viaria complessiva</a:t>
          </a:r>
        </a:p>
      </dgm:t>
    </dgm:pt>
    <dgm:pt modelId="{7DAF1956-B700-4203-9672-92E4451DCC31}" type="parTrans" cxnId="{92751D9D-02E3-45C2-978C-737085227C42}">
      <dgm:prSet/>
      <dgm:spPr/>
      <dgm:t>
        <a:bodyPr/>
        <a:lstStyle/>
        <a:p>
          <a:endParaRPr lang="it-IT"/>
        </a:p>
      </dgm:t>
    </dgm:pt>
    <dgm:pt modelId="{A0ED7260-8442-4FBF-80B4-500E49A4F3AF}" type="sibTrans" cxnId="{92751D9D-02E3-45C2-978C-737085227C42}">
      <dgm:prSet/>
      <dgm:spPr/>
      <dgm:t>
        <a:bodyPr/>
        <a:lstStyle/>
        <a:p>
          <a:endParaRPr lang="it-IT"/>
        </a:p>
      </dgm:t>
    </dgm:pt>
    <dgm:pt modelId="{B754C885-66E5-4615-BD33-B6EE917A035D}">
      <dgm:prSet phldrT="[Testo]"/>
      <dgm:spPr>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dgm:spPr>
      <dgm:t>
        <a:bodyPr/>
        <a:lstStyle/>
        <a:p>
          <a:r>
            <a:rPr lang="it-IT" dirty="0"/>
            <a:t>Risorse</a:t>
          </a:r>
        </a:p>
      </dgm:t>
    </dgm:pt>
    <dgm:pt modelId="{65812F9F-DD0E-4752-BF8B-D07282594751}" type="parTrans" cxnId="{F8EA3703-CEE5-4162-AB46-CFFF8AC28B48}">
      <dgm:prSet/>
      <dgm:spPr/>
      <dgm:t>
        <a:bodyPr/>
        <a:lstStyle/>
        <a:p>
          <a:endParaRPr lang="it-IT"/>
        </a:p>
      </dgm:t>
    </dgm:pt>
    <dgm:pt modelId="{79AAED35-18A8-4347-A2B8-6AAE8B34BA56}" type="sibTrans" cxnId="{F8EA3703-CEE5-4162-AB46-CFFF8AC28B48}">
      <dgm:prSet/>
      <dgm:spPr/>
      <dgm:t>
        <a:bodyPr/>
        <a:lstStyle/>
        <a:p>
          <a:endParaRPr lang="it-IT"/>
        </a:p>
      </dgm:t>
    </dgm:pt>
    <dgm:pt modelId="{9225496C-39D8-4F53-8BB5-1B069B40EB3E}">
      <dgm:prSet phldrT="[Testo]"/>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Affidamenti</a:t>
          </a:r>
        </a:p>
      </dgm:t>
    </dgm:pt>
    <dgm:pt modelId="{D3A21DFB-000A-4FCE-9E9D-8516EBA4DD45}" type="parTrans" cxnId="{94A2B45D-2D69-4650-AFC3-C5574217F910}">
      <dgm:prSet/>
      <dgm:spPr/>
      <dgm:t>
        <a:bodyPr/>
        <a:lstStyle/>
        <a:p>
          <a:endParaRPr lang="it-IT"/>
        </a:p>
      </dgm:t>
    </dgm:pt>
    <dgm:pt modelId="{1E3F53DD-2537-4C67-AA71-87081D444A81}" type="sibTrans" cxnId="{94A2B45D-2D69-4650-AFC3-C5574217F910}">
      <dgm:prSet/>
      <dgm:spPr/>
      <dgm:t>
        <a:bodyPr/>
        <a:lstStyle/>
        <a:p>
          <a:endParaRPr lang="it-IT"/>
        </a:p>
      </dgm:t>
    </dgm:pt>
    <dgm:pt modelId="{2F442204-E894-4EB6-A3FA-953074E6D5F9}">
      <dgm:prSet phldrT="[Testo]" custT="1"/>
      <dgm:spPr>
        <a:solidFill>
          <a:schemeClr val="tx2"/>
        </a:solidFill>
      </dgm:spPr>
      <dgm:t>
        <a:bodyPr/>
        <a:lstStyle/>
        <a:p>
          <a:r>
            <a:rPr lang="it-IT" sz="700" dirty="0"/>
            <a:t>Investimenti e Produzione</a:t>
          </a:r>
        </a:p>
        <a:p>
          <a:r>
            <a:rPr lang="it-IT" sz="700" dirty="0"/>
            <a:t>MP</a:t>
          </a:r>
        </a:p>
      </dgm:t>
    </dgm:pt>
    <dgm:pt modelId="{9E6A019B-6886-407A-A3BB-1A2A8D416818}" type="parTrans" cxnId="{6FD2AE64-BDEB-482D-ACF3-1D5403180A1E}">
      <dgm:prSet/>
      <dgm:spPr/>
      <dgm:t>
        <a:bodyPr/>
        <a:lstStyle/>
        <a:p>
          <a:endParaRPr lang="it-IT"/>
        </a:p>
      </dgm:t>
    </dgm:pt>
    <dgm:pt modelId="{07F51AA8-9070-4A56-AF24-8977CF9B6A80}" type="sibTrans" cxnId="{6FD2AE64-BDEB-482D-ACF3-1D5403180A1E}">
      <dgm:prSet/>
      <dgm:spPr/>
      <dgm:t>
        <a:bodyPr/>
        <a:lstStyle/>
        <a:p>
          <a:endParaRPr lang="it-IT"/>
        </a:p>
      </dgm:t>
    </dgm:pt>
    <dgm:pt modelId="{2D51EAF0-C497-40E9-996D-2D0BC40F318C}">
      <dgm:prSet phldrT="[Testo]"/>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Pagamenti</a:t>
          </a:r>
        </a:p>
      </dgm:t>
    </dgm:pt>
    <dgm:pt modelId="{43C509B8-DD3A-429A-ADC4-232D55259B3D}" type="parTrans" cxnId="{7BC9B318-E7A6-41F3-853C-1D1DFB2050EF}">
      <dgm:prSet/>
      <dgm:spPr/>
      <dgm:t>
        <a:bodyPr/>
        <a:lstStyle/>
        <a:p>
          <a:endParaRPr lang="it-IT"/>
        </a:p>
      </dgm:t>
    </dgm:pt>
    <dgm:pt modelId="{66A12237-9546-42D0-81C0-2C324670B743}" type="sibTrans" cxnId="{7BC9B318-E7A6-41F3-853C-1D1DFB2050EF}">
      <dgm:prSet/>
      <dgm:spPr/>
      <dgm:t>
        <a:bodyPr/>
        <a:lstStyle/>
        <a:p>
          <a:endParaRPr lang="it-IT"/>
        </a:p>
      </dgm:t>
    </dgm:pt>
    <dgm:pt modelId="{72FFD339-6A5F-4ED7-B529-6155AF8C35BB}">
      <dgm:prSet/>
      <dgm:spPr>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dgm:spPr>
      <dgm:t>
        <a:bodyPr/>
        <a:lstStyle/>
        <a:p>
          <a:r>
            <a:rPr lang="it-IT" dirty="0" err="1"/>
            <a:t>soc</a:t>
          </a:r>
          <a:endParaRPr lang="it-IT" dirty="0"/>
        </a:p>
      </dgm:t>
    </dgm:pt>
    <dgm:pt modelId="{ECFEA23F-DCCD-42C6-8706-10917CE3C2B0}" type="parTrans" cxnId="{C381E8F4-D0AE-4AD0-B8F1-4BDFF55901DE}">
      <dgm:prSet/>
      <dgm:spPr/>
      <dgm:t>
        <a:bodyPr/>
        <a:lstStyle/>
        <a:p>
          <a:endParaRPr lang="it-IT"/>
        </a:p>
      </dgm:t>
    </dgm:pt>
    <dgm:pt modelId="{A3B7292F-5113-4C29-982F-BC1D14C7BE90}" type="sibTrans" cxnId="{C381E8F4-D0AE-4AD0-B8F1-4BDFF55901DE}">
      <dgm:prSet/>
      <dgm:spPr/>
      <dgm:t>
        <a:bodyPr/>
        <a:lstStyle/>
        <a:p>
          <a:endParaRPr lang="it-IT"/>
        </a:p>
      </dgm:t>
    </dgm:pt>
    <dgm:pt modelId="{A07A8528-D240-4AAE-BA81-005F6AD457F1}">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Ispezione Opere D’arte</a:t>
          </a:r>
        </a:p>
      </dgm:t>
    </dgm:pt>
    <dgm:pt modelId="{3C15A388-1B3D-47E8-B2CB-E67F7E1AFFF1}" type="parTrans" cxnId="{C9F268FB-CB20-4E78-9CDC-F035D61B7E09}">
      <dgm:prSet/>
      <dgm:spPr/>
      <dgm:t>
        <a:bodyPr/>
        <a:lstStyle/>
        <a:p>
          <a:endParaRPr lang="it-IT"/>
        </a:p>
      </dgm:t>
    </dgm:pt>
    <dgm:pt modelId="{7D0C416E-0310-43FE-A0D6-735CD62199B6}" type="sibTrans" cxnId="{C9F268FB-CB20-4E78-9CDC-F035D61B7E09}">
      <dgm:prSet/>
      <dgm:spPr/>
      <dgm:t>
        <a:bodyPr/>
        <a:lstStyle/>
        <a:p>
          <a:endParaRPr lang="it-IT"/>
        </a:p>
      </dgm:t>
    </dgm:pt>
    <dgm:pt modelId="{56EC974B-4690-4A6A-B143-36A5A9DDDB75}">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Supporto Tecnico</a:t>
          </a:r>
        </a:p>
      </dgm:t>
    </dgm:pt>
    <dgm:pt modelId="{F24B2512-EFC3-4494-92F8-F4C2A580DD56}" type="parTrans" cxnId="{FE5FBCA8-5D6F-44E5-8DFA-D24300AECCE8}">
      <dgm:prSet/>
      <dgm:spPr/>
      <dgm:t>
        <a:bodyPr/>
        <a:lstStyle/>
        <a:p>
          <a:endParaRPr lang="it-IT"/>
        </a:p>
      </dgm:t>
    </dgm:pt>
    <dgm:pt modelId="{57612FAC-3D38-4A5A-9D54-8452999285F4}" type="sibTrans" cxnId="{FE5FBCA8-5D6F-44E5-8DFA-D24300AECCE8}">
      <dgm:prSet/>
      <dgm:spPr/>
      <dgm:t>
        <a:bodyPr/>
        <a:lstStyle/>
        <a:p>
          <a:endParaRPr lang="it-IT"/>
        </a:p>
      </dgm:t>
    </dgm:pt>
    <dgm:pt modelId="{5805825E-3BC3-4961-910E-96065463977D}">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Interventi Rilevanti</a:t>
          </a:r>
        </a:p>
      </dgm:t>
    </dgm:pt>
    <dgm:pt modelId="{263FA899-3C2D-4809-A47A-DB65911293C7}" type="parTrans" cxnId="{D6C89AE1-00A8-492D-888B-1E3DDC006D86}">
      <dgm:prSet/>
      <dgm:spPr/>
      <dgm:t>
        <a:bodyPr/>
        <a:lstStyle/>
        <a:p>
          <a:endParaRPr lang="it-IT"/>
        </a:p>
      </dgm:t>
    </dgm:pt>
    <dgm:pt modelId="{B58F1702-0059-4F53-9A60-77242457BBFA}" type="sibTrans" cxnId="{D6C89AE1-00A8-492D-888B-1E3DDC006D86}">
      <dgm:prSet/>
      <dgm:spPr/>
      <dgm:t>
        <a:bodyPr/>
        <a:lstStyle/>
        <a:p>
          <a:endParaRPr lang="it-IT"/>
        </a:p>
      </dgm:t>
    </dgm:pt>
    <dgm:pt modelId="{7A5D9CDD-E10F-422D-808B-815C691EF2E8}">
      <dgm:prSet phldrT="[Testo]" custT="1"/>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sz="700" dirty="0"/>
            <a:t>Investimenti e Produzione</a:t>
          </a:r>
        </a:p>
        <a:p>
          <a:r>
            <a:rPr lang="it-IT" sz="700" dirty="0"/>
            <a:t>NO</a:t>
          </a:r>
        </a:p>
      </dgm:t>
    </dgm:pt>
    <dgm:pt modelId="{089AE963-8402-4F38-908B-1CA814F78766}" type="parTrans" cxnId="{BEDD267B-EA80-4783-A782-86B96AAC5B03}">
      <dgm:prSet/>
      <dgm:spPr/>
      <dgm:t>
        <a:bodyPr/>
        <a:lstStyle/>
        <a:p>
          <a:endParaRPr lang="it-IT"/>
        </a:p>
      </dgm:t>
    </dgm:pt>
    <dgm:pt modelId="{63A1392B-D9B4-4604-ACED-CDD4B7E19D6E}" type="sibTrans" cxnId="{BEDD267B-EA80-4783-A782-86B96AAC5B03}">
      <dgm:prSet/>
      <dgm:spPr/>
      <dgm:t>
        <a:bodyPr/>
        <a:lstStyle/>
        <a:p>
          <a:endParaRPr lang="it-IT"/>
        </a:p>
      </dgm:t>
    </dgm:pt>
    <dgm:pt modelId="{2069E263-CA68-447A-859F-7068DC9AF2B6}" type="pres">
      <dgm:prSet presAssocID="{C782CD9B-2B4B-48D2-BF13-2B0D6056B78A}" presName="Name0" presStyleCnt="0">
        <dgm:presLayoutVars>
          <dgm:dir/>
          <dgm:animLvl val="lvl"/>
          <dgm:resizeHandles val="exact"/>
        </dgm:presLayoutVars>
      </dgm:prSet>
      <dgm:spPr/>
    </dgm:pt>
    <dgm:pt modelId="{F7031506-3856-48AD-BFC1-89D9660F7FF7}" type="pres">
      <dgm:prSet presAssocID="{DFCF748E-4FA2-4C04-B1DF-85DA1021BE5D}" presName="parTxOnly" presStyleLbl="node1" presStyleIdx="0" presStyleCnt="10">
        <dgm:presLayoutVars>
          <dgm:chMax val="0"/>
          <dgm:chPref val="0"/>
          <dgm:bulletEnabled val="1"/>
        </dgm:presLayoutVars>
      </dgm:prSet>
      <dgm:spPr/>
    </dgm:pt>
    <dgm:pt modelId="{420EBE6C-A91F-49B7-AF4C-29A127D6266A}" type="pres">
      <dgm:prSet presAssocID="{A0ED7260-8442-4FBF-80B4-500E49A4F3AF}" presName="parTxOnlySpace" presStyleCnt="0"/>
      <dgm:spPr/>
    </dgm:pt>
    <dgm:pt modelId="{6C62160D-9EC9-4B84-8EFD-9C3E10FC055A}" type="pres">
      <dgm:prSet presAssocID="{B754C885-66E5-4615-BD33-B6EE917A035D}" presName="parTxOnly" presStyleLbl="node1" presStyleIdx="1" presStyleCnt="10">
        <dgm:presLayoutVars>
          <dgm:chMax val="0"/>
          <dgm:chPref val="0"/>
          <dgm:bulletEnabled val="1"/>
        </dgm:presLayoutVars>
      </dgm:prSet>
      <dgm:spPr/>
    </dgm:pt>
    <dgm:pt modelId="{6415A264-B3C7-41A6-9BA0-D0AD6AE1DACB}" type="pres">
      <dgm:prSet presAssocID="{79AAED35-18A8-4347-A2B8-6AAE8B34BA56}" presName="parTxOnlySpace" presStyleCnt="0"/>
      <dgm:spPr/>
    </dgm:pt>
    <dgm:pt modelId="{636F50A3-8EFE-4C08-B6BE-284B03274F0B}" type="pres">
      <dgm:prSet presAssocID="{72FFD339-6A5F-4ED7-B529-6155AF8C35BB}" presName="parTxOnly" presStyleLbl="node1" presStyleIdx="2" presStyleCnt="10">
        <dgm:presLayoutVars>
          <dgm:chMax val="0"/>
          <dgm:chPref val="0"/>
          <dgm:bulletEnabled val="1"/>
        </dgm:presLayoutVars>
      </dgm:prSet>
      <dgm:spPr/>
    </dgm:pt>
    <dgm:pt modelId="{B0C5D3FB-8180-4CC6-9F14-5042E96FD8E3}" type="pres">
      <dgm:prSet presAssocID="{A3B7292F-5113-4C29-982F-BC1D14C7BE90}" presName="parTxOnlySpace" presStyleCnt="0"/>
      <dgm:spPr/>
    </dgm:pt>
    <dgm:pt modelId="{6BB9B9CD-B911-4E33-8045-BE6A8D7C5B89}" type="pres">
      <dgm:prSet presAssocID="{9225496C-39D8-4F53-8BB5-1B069B40EB3E}" presName="parTxOnly" presStyleLbl="node1" presStyleIdx="3" presStyleCnt="10">
        <dgm:presLayoutVars>
          <dgm:chMax val="0"/>
          <dgm:chPref val="0"/>
          <dgm:bulletEnabled val="1"/>
        </dgm:presLayoutVars>
      </dgm:prSet>
      <dgm:spPr/>
    </dgm:pt>
    <dgm:pt modelId="{60B2C4AD-8A0D-4CB2-93A9-16C6C0E4BD5B}" type="pres">
      <dgm:prSet presAssocID="{1E3F53DD-2537-4C67-AA71-87081D444A81}" presName="parTxOnlySpace" presStyleCnt="0"/>
      <dgm:spPr/>
    </dgm:pt>
    <dgm:pt modelId="{A29D7AF6-34C9-459D-B160-0F8E7686BA2B}" type="pres">
      <dgm:prSet presAssocID="{2F442204-E894-4EB6-A3FA-953074E6D5F9}" presName="parTxOnly" presStyleLbl="node1" presStyleIdx="4" presStyleCnt="10">
        <dgm:presLayoutVars>
          <dgm:chMax val="0"/>
          <dgm:chPref val="0"/>
          <dgm:bulletEnabled val="1"/>
        </dgm:presLayoutVars>
      </dgm:prSet>
      <dgm:spPr/>
    </dgm:pt>
    <dgm:pt modelId="{7004503D-9639-442B-9C04-FB1247092C40}" type="pres">
      <dgm:prSet presAssocID="{07F51AA8-9070-4A56-AF24-8977CF9B6A80}" presName="parTxOnlySpace" presStyleCnt="0"/>
      <dgm:spPr/>
    </dgm:pt>
    <dgm:pt modelId="{A2199658-E72A-4294-AFD3-6892981EEB12}" type="pres">
      <dgm:prSet presAssocID="{7A5D9CDD-E10F-422D-808B-815C691EF2E8}" presName="parTxOnly" presStyleLbl="node1" presStyleIdx="5" presStyleCnt="10">
        <dgm:presLayoutVars>
          <dgm:chMax val="0"/>
          <dgm:chPref val="0"/>
          <dgm:bulletEnabled val="1"/>
        </dgm:presLayoutVars>
      </dgm:prSet>
      <dgm:spPr/>
    </dgm:pt>
    <dgm:pt modelId="{9B5C0F41-E4E2-4A3A-AA73-E3E4EB6ACD5E}" type="pres">
      <dgm:prSet presAssocID="{63A1392B-D9B4-4604-ACED-CDD4B7E19D6E}" presName="parTxOnlySpace" presStyleCnt="0"/>
      <dgm:spPr/>
    </dgm:pt>
    <dgm:pt modelId="{F9C55CAF-C1A3-4EFD-AD93-3CBF7E30E2FA}" type="pres">
      <dgm:prSet presAssocID="{56EC974B-4690-4A6A-B143-36A5A9DDDB75}" presName="parTxOnly" presStyleLbl="node1" presStyleIdx="6" presStyleCnt="10">
        <dgm:presLayoutVars>
          <dgm:chMax val="0"/>
          <dgm:chPref val="0"/>
          <dgm:bulletEnabled val="1"/>
        </dgm:presLayoutVars>
      </dgm:prSet>
      <dgm:spPr/>
    </dgm:pt>
    <dgm:pt modelId="{DDB26EDE-11AF-40B7-9C16-348181381393}" type="pres">
      <dgm:prSet presAssocID="{57612FAC-3D38-4A5A-9D54-8452999285F4}" presName="parTxOnlySpace" presStyleCnt="0"/>
      <dgm:spPr/>
    </dgm:pt>
    <dgm:pt modelId="{8CED6B9D-804A-4009-A04D-D699125D11F0}" type="pres">
      <dgm:prSet presAssocID="{A07A8528-D240-4AAE-BA81-005F6AD457F1}" presName="parTxOnly" presStyleLbl="node1" presStyleIdx="7" presStyleCnt="10">
        <dgm:presLayoutVars>
          <dgm:chMax val="0"/>
          <dgm:chPref val="0"/>
          <dgm:bulletEnabled val="1"/>
        </dgm:presLayoutVars>
      </dgm:prSet>
      <dgm:spPr/>
    </dgm:pt>
    <dgm:pt modelId="{C3D8151F-F75F-49EC-B6A3-4B15A8912918}" type="pres">
      <dgm:prSet presAssocID="{7D0C416E-0310-43FE-A0D6-735CD62199B6}" presName="parTxOnlySpace" presStyleCnt="0"/>
      <dgm:spPr/>
    </dgm:pt>
    <dgm:pt modelId="{0A5AB2D9-0A33-47A4-83C2-3990E2018CD9}" type="pres">
      <dgm:prSet presAssocID="{5805825E-3BC3-4961-910E-96065463977D}" presName="parTxOnly" presStyleLbl="node1" presStyleIdx="8" presStyleCnt="10">
        <dgm:presLayoutVars>
          <dgm:chMax val="0"/>
          <dgm:chPref val="0"/>
          <dgm:bulletEnabled val="1"/>
        </dgm:presLayoutVars>
      </dgm:prSet>
      <dgm:spPr/>
    </dgm:pt>
    <dgm:pt modelId="{5FE5E96A-0031-41D2-A1BE-2634D143793A}" type="pres">
      <dgm:prSet presAssocID="{B58F1702-0059-4F53-9A60-77242457BBFA}" presName="parTxOnlySpace" presStyleCnt="0"/>
      <dgm:spPr/>
    </dgm:pt>
    <dgm:pt modelId="{F2510710-7BA2-44B7-8AA7-1347717B483B}" type="pres">
      <dgm:prSet presAssocID="{2D51EAF0-C497-40E9-996D-2D0BC40F318C}" presName="parTxOnly" presStyleLbl="node1" presStyleIdx="9" presStyleCnt="10">
        <dgm:presLayoutVars>
          <dgm:chMax val="0"/>
          <dgm:chPref val="0"/>
          <dgm:bulletEnabled val="1"/>
        </dgm:presLayoutVars>
      </dgm:prSet>
      <dgm:spPr/>
    </dgm:pt>
  </dgm:ptLst>
  <dgm:cxnLst>
    <dgm:cxn modelId="{185D4602-73F7-4657-8696-227907D94F70}" type="presOf" srcId="{DFCF748E-4FA2-4C04-B1DF-85DA1021BE5D}" destId="{F7031506-3856-48AD-BFC1-89D9660F7FF7}" srcOrd="0" destOrd="0" presId="urn:microsoft.com/office/officeart/2005/8/layout/chevron1"/>
    <dgm:cxn modelId="{F8EA3703-CEE5-4162-AB46-CFFF8AC28B48}" srcId="{C782CD9B-2B4B-48D2-BF13-2B0D6056B78A}" destId="{B754C885-66E5-4615-BD33-B6EE917A035D}" srcOrd="1" destOrd="0" parTransId="{65812F9F-DD0E-4752-BF8B-D07282594751}" sibTransId="{79AAED35-18A8-4347-A2B8-6AAE8B34BA56}"/>
    <dgm:cxn modelId="{A1D72704-7588-4356-B21C-E6A07B978016}" type="presOf" srcId="{C782CD9B-2B4B-48D2-BF13-2B0D6056B78A}" destId="{2069E263-CA68-447A-859F-7068DC9AF2B6}" srcOrd="0" destOrd="0" presId="urn:microsoft.com/office/officeart/2005/8/layout/chevron1"/>
    <dgm:cxn modelId="{F22FF804-CF51-48CD-BE78-8C34DABFED51}" type="presOf" srcId="{7A5D9CDD-E10F-422D-808B-815C691EF2E8}" destId="{A2199658-E72A-4294-AFD3-6892981EEB12}" srcOrd="0" destOrd="0" presId="urn:microsoft.com/office/officeart/2005/8/layout/chevron1"/>
    <dgm:cxn modelId="{7BC9B318-E7A6-41F3-853C-1D1DFB2050EF}" srcId="{C782CD9B-2B4B-48D2-BF13-2B0D6056B78A}" destId="{2D51EAF0-C497-40E9-996D-2D0BC40F318C}" srcOrd="9" destOrd="0" parTransId="{43C509B8-DD3A-429A-ADC4-232D55259B3D}" sibTransId="{66A12237-9546-42D0-81C0-2C324670B743}"/>
    <dgm:cxn modelId="{A3DDD439-A502-4FF1-A9B0-5B1092399073}" type="presOf" srcId="{2D51EAF0-C497-40E9-996D-2D0BC40F318C}" destId="{F2510710-7BA2-44B7-8AA7-1347717B483B}" srcOrd="0" destOrd="0" presId="urn:microsoft.com/office/officeart/2005/8/layout/chevron1"/>
    <dgm:cxn modelId="{94A2B45D-2D69-4650-AFC3-C5574217F910}" srcId="{C782CD9B-2B4B-48D2-BF13-2B0D6056B78A}" destId="{9225496C-39D8-4F53-8BB5-1B069B40EB3E}" srcOrd="3" destOrd="0" parTransId="{D3A21DFB-000A-4FCE-9E9D-8516EBA4DD45}" sibTransId="{1E3F53DD-2537-4C67-AA71-87081D444A81}"/>
    <dgm:cxn modelId="{6FD2AE64-BDEB-482D-ACF3-1D5403180A1E}" srcId="{C782CD9B-2B4B-48D2-BF13-2B0D6056B78A}" destId="{2F442204-E894-4EB6-A3FA-953074E6D5F9}" srcOrd="4" destOrd="0" parTransId="{9E6A019B-6886-407A-A3BB-1A2A8D416818}" sibTransId="{07F51AA8-9070-4A56-AF24-8977CF9B6A80}"/>
    <dgm:cxn modelId="{2D769374-5BBB-4B81-AE3C-EE418577D4E4}" type="presOf" srcId="{A07A8528-D240-4AAE-BA81-005F6AD457F1}" destId="{8CED6B9D-804A-4009-A04D-D699125D11F0}" srcOrd="0" destOrd="0" presId="urn:microsoft.com/office/officeart/2005/8/layout/chevron1"/>
    <dgm:cxn modelId="{BEDD267B-EA80-4783-A782-86B96AAC5B03}" srcId="{C782CD9B-2B4B-48D2-BF13-2B0D6056B78A}" destId="{7A5D9CDD-E10F-422D-808B-815C691EF2E8}" srcOrd="5" destOrd="0" parTransId="{089AE963-8402-4F38-908B-1CA814F78766}" sibTransId="{63A1392B-D9B4-4604-ACED-CDD4B7E19D6E}"/>
    <dgm:cxn modelId="{4F60BF93-B661-4232-AA64-03D04C376B48}" type="presOf" srcId="{56EC974B-4690-4A6A-B143-36A5A9DDDB75}" destId="{F9C55CAF-C1A3-4EFD-AD93-3CBF7E30E2FA}" srcOrd="0" destOrd="0" presId="urn:microsoft.com/office/officeart/2005/8/layout/chevron1"/>
    <dgm:cxn modelId="{92751D9D-02E3-45C2-978C-737085227C42}" srcId="{C782CD9B-2B4B-48D2-BF13-2B0D6056B78A}" destId="{DFCF748E-4FA2-4C04-B1DF-85DA1021BE5D}" srcOrd="0" destOrd="0" parTransId="{7DAF1956-B700-4203-9672-92E4451DCC31}" sibTransId="{A0ED7260-8442-4FBF-80B4-500E49A4F3AF}"/>
    <dgm:cxn modelId="{FE5FBCA8-5D6F-44E5-8DFA-D24300AECCE8}" srcId="{C782CD9B-2B4B-48D2-BF13-2B0D6056B78A}" destId="{56EC974B-4690-4A6A-B143-36A5A9DDDB75}" srcOrd="6" destOrd="0" parTransId="{F24B2512-EFC3-4494-92F8-F4C2A580DD56}" sibTransId="{57612FAC-3D38-4A5A-9D54-8452999285F4}"/>
    <dgm:cxn modelId="{B0E827CC-A3F4-494D-B8C8-F94C0743D2D2}" type="presOf" srcId="{5805825E-3BC3-4961-910E-96065463977D}" destId="{0A5AB2D9-0A33-47A4-83C2-3990E2018CD9}" srcOrd="0" destOrd="0" presId="urn:microsoft.com/office/officeart/2005/8/layout/chevron1"/>
    <dgm:cxn modelId="{2327B8CD-B43D-435A-BC4A-3192AD59CD96}" type="presOf" srcId="{2F442204-E894-4EB6-A3FA-953074E6D5F9}" destId="{A29D7AF6-34C9-459D-B160-0F8E7686BA2B}" srcOrd="0" destOrd="0" presId="urn:microsoft.com/office/officeart/2005/8/layout/chevron1"/>
    <dgm:cxn modelId="{C8DA85D3-521B-4782-8334-9DFCDC94D59B}" type="presOf" srcId="{B754C885-66E5-4615-BD33-B6EE917A035D}" destId="{6C62160D-9EC9-4B84-8EFD-9C3E10FC055A}" srcOrd="0" destOrd="0" presId="urn:microsoft.com/office/officeart/2005/8/layout/chevron1"/>
    <dgm:cxn modelId="{D6C89AE1-00A8-492D-888B-1E3DDC006D86}" srcId="{C782CD9B-2B4B-48D2-BF13-2B0D6056B78A}" destId="{5805825E-3BC3-4961-910E-96065463977D}" srcOrd="8" destOrd="0" parTransId="{263FA899-3C2D-4809-A47A-DB65911293C7}" sibTransId="{B58F1702-0059-4F53-9A60-77242457BBFA}"/>
    <dgm:cxn modelId="{2FA464E2-4385-4460-82FF-FD75508234DD}" type="presOf" srcId="{72FFD339-6A5F-4ED7-B529-6155AF8C35BB}" destId="{636F50A3-8EFE-4C08-B6BE-284B03274F0B}" srcOrd="0" destOrd="0" presId="urn:microsoft.com/office/officeart/2005/8/layout/chevron1"/>
    <dgm:cxn modelId="{2A2172E5-2AA0-44D1-86D5-FDEB4B23AC14}" type="presOf" srcId="{9225496C-39D8-4F53-8BB5-1B069B40EB3E}" destId="{6BB9B9CD-B911-4E33-8045-BE6A8D7C5B89}" srcOrd="0" destOrd="0" presId="urn:microsoft.com/office/officeart/2005/8/layout/chevron1"/>
    <dgm:cxn modelId="{C381E8F4-D0AE-4AD0-B8F1-4BDFF55901DE}" srcId="{C782CD9B-2B4B-48D2-BF13-2B0D6056B78A}" destId="{72FFD339-6A5F-4ED7-B529-6155AF8C35BB}" srcOrd="2" destOrd="0" parTransId="{ECFEA23F-DCCD-42C6-8706-10917CE3C2B0}" sibTransId="{A3B7292F-5113-4C29-982F-BC1D14C7BE90}"/>
    <dgm:cxn modelId="{C9F268FB-CB20-4E78-9CDC-F035D61B7E09}" srcId="{C782CD9B-2B4B-48D2-BF13-2B0D6056B78A}" destId="{A07A8528-D240-4AAE-BA81-005F6AD457F1}" srcOrd="7" destOrd="0" parTransId="{3C15A388-1B3D-47E8-B2CB-E67F7E1AFFF1}" sibTransId="{7D0C416E-0310-43FE-A0D6-735CD62199B6}"/>
    <dgm:cxn modelId="{7A32E11F-8840-47E4-A3B8-3A3FD1E1C02C}" type="presParOf" srcId="{2069E263-CA68-447A-859F-7068DC9AF2B6}" destId="{F7031506-3856-48AD-BFC1-89D9660F7FF7}" srcOrd="0" destOrd="0" presId="urn:microsoft.com/office/officeart/2005/8/layout/chevron1"/>
    <dgm:cxn modelId="{CD6AB88E-FB8D-46DE-B186-FEEEA9149C09}" type="presParOf" srcId="{2069E263-CA68-447A-859F-7068DC9AF2B6}" destId="{420EBE6C-A91F-49B7-AF4C-29A127D6266A}" srcOrd="1" destOrd="0" presId="urn:microsoft.com/office/officeart/2005/8/layout/chevron1"/>
    <dgm:cxn modelId="{E9B5E13A-734C-422B-92D9-0915B61D85AD}" type="presParOf" srcId="{2069E263-CA68-447A-859F-7068DC9AF2B6}" destId="{6C62160D-9EC9-4B84-8EFD-9C3E10FC055A}" srcOrd="2" destOrd="0" presId="urn:microsoft.com/office/officeart/2005/8/layout/chevron1"/>
    <dgm:cxn modelId="{4B0981D9-B618-4C81-BC9C-778CD1A13E59}" type="presParOf" srcId="{2069E263-CA68-447A-859F-7068DC9AF2B6}" destId="{6415A264-B3C7-41A6-9BA0-D0AD6AE1DACB}" srcOrd="3" destOrd="0" presId="urn:microsoft.com/office/officeart/2005/8/layout/chevron1"/>
    <dgm:cxn modelId="{9C46E730-009B-44A3-8D87-7CEBE62271B2}" type="presParOf" srcId="{2069E263-CA68-447A-859F-7068DC9AF2B6}" destId="{636F50A3-8EFE-4C08-B6BE-284B03274F0B}" srcOrd="4" destOrd="0" presId="urn:microsoft.com/office/officeart/2005/8/layout/chevron1"/>
    <dgm:cxn modelId="{AE6FD293-6DD7-4573-8A9F-4FC375657A15}" type="presParOf" srcId="{2069E263-CA68-447A-859F-7068DC9AF2B6}" destId="{B0C5D3FB-8180-4CC6-9F14-5042E96FD8E3}" srcOrd="5" destOrd="0" presId="urn:microsoft.com/office/officeart/2005/8/layout/chevron1"/>
    <dgm:cxn modelId="{EFDFA466-6DA7-4E82-BE2A-67B1BB11AAA0}" type="presParOf" srcId="{2069E263-CA68-447A-859F-7068DC9AF2B6}" destId="{6BB9B9CD-B911-4E33-8045-BE6A8D7C5B89}" srcOrd="6" destOrd="0" presId="urn:microsoft.com/office/officeart/2005/8/layout/chevron1"/>
    <dgm:cxn modelId="{4E4712B4-EA5A-4315-B4DD-C52BD3DBFC35}" type="presParOf" srcId="{2069E263-CA68-447A-859F-7068DC9AF2B6}" destId="{60B2C4AD-8A0D-4CB2-93A9-16C6C0E4BD5B}" srcOrd="7" destOrd="0" presId="urn:microsoft.com/office/officeart/2005/8/layout/chevron1"/>
    <dgm:cxn modelId="{1732559E-2DB4-4306-A290-C26747B6D765}" type="presParOf" srcId="{2069E263-CA68-447A-859F-7068DC9AF2B6}" destId="{A29D7AF6-34C9-459D-B160-0F8E7686BA2B}" srcOrd="8" destOrd="0" presId="urn:microsoft.com/office/officeart/2005/8/layout/chevron1"/>
    <dgm:cxn modelId="{4EEA7B81-A922-4416-B63A-FBD167C15818}" type="presParOf" srcId="{2069E263-CA68-447A-859F-7068DC9AF2B6}" destId="{7004503D-9639-442B-9C04-FB1247092C40}" srcOrd="9" destOrd="0" presId="urn:microsoft.com/office/officeart/2005/8/layout/chevron1"/>
    <dgm:cxn modelId="{B6FC7C53-90FC-43C7-8A25-4ED36D54F9A7}" type="presParOf" srcId="{2069E263-CA68-447A-859F-7068DC9AF2B6}" destId="{A2199658-E72A-4294-AFD3-6892981EEB12}" srcOrd="10" destOrd="0" presId="urn:microsoft.com/office/officeart/2005/8/layout/chevron1"/>
    <dgm:cxn modelId="{3711575E-A4FB-4C83-81D4-6986F38D05CC}" type="presParOf" srcId="{2069E263-CA68-447A-859F-7068DC9AF2B6}" destId="{9B5C0F41-E4E2-4A3A-AA73-E3E4EB6ACD5E}" srcOrd="11" destOrd="0" presId="urn:microsoft.com/office/officeart/2005/8/layout/chevron1"/>
    <dgm:cxn modelId="{CCC73177-5581-4AAB-BE1B-6DC689178598}" type="presParOf" srcId="{2069E263-CA68-447A-859F-7068DC9AF2B6}" destId="{F9C55CAF-C1A3-4EFD-AD93-3CBF7E30E2FA}" srcOrd="12" destOrd="0" presId="urn:microsoft.com/office/officeart/2005/8/layout/chevron1"/>
    <dgm:cxn modelId="{06C8B30C-6D5A-40B0-A2AF-A2450ABAD89B}" type="presParOf" srcId="{2069E263-CA68-447A-859F-7068DC9AF2B6}" destId="{DDB26EDE-11AF-40B7-9C16-348181381393}" srcOrd="13" destOrd="0" presId="urn:microsoft.com/office/officeart/2005/8/layout/chevron1"/>
    <dgm:cxn modelId="{9192D2C7-F398-4282-A4FE-86A369A4B2FE}" type="presParOf" srcId="{2069E263-CA68-447A-859F-7068DC9AF2B6}" destId="{8CED6B9D-804A-4009-A04D-D699125D11F0}" srcOrd="14" destOrd="0" presId="urn:microsoft.com/office/officeart/2005/8/layout/chevron1"/>
    <dgm:cxn modelId="{8ED8B140-6BD0-42CB-BB14-B93AD9EA0455}" type="presParOf" srcId="{2069E263-CA68-447A-859F-7068DC9AF2B6}" destId="{C3D8151F-F75F-49EC-B6A3-4B15A8912918}" srcOrd="15" destOrd="0" presId="urn:microsoft.com/office/officeart/2005/8/layout/chevron1"/>
    <dgm:cxn modelId="{FD206206-B997-4E30-BCAA-CC2905B4C0B7}" type="presParOf" srcId="{2069E263-CA68-447A-859F-7068DC9AF2B6}" destId="{0A5AB2D9-0A33-47A4-83C2-3990E2018CD9}" srcOrd="16" destOrd="0" presId="urn:microsoft.com/office/officeart/2005/8/layout/chevron1"/>
    <dgm:cxn modelId="{E58085B2-5B7A-419A-A2D2-A27CA4DFE542}" type="presParOf" srcId="{2069E263-CA68-447A-859F-7068DC9AF2B6}" destId="{5FE5E96A-0031-41D2-A1BE-2634D143793A}" srcOrd="17" destOrd="0" presId="urn:microsoft.com/office/officeart/2005/8/layout/chevron1"/>
    <dgm:cxn modelId="{DFF1F6CF-2BB1-493E-ADAF-D263D6024E49}" type="presParOf" srcId="{2069E263-CA68-447A-859F-7068DC9AF2B6}" destId="{F2510710-7BA2-44B7-8AA7-1347717B483B}" srcOrd="18"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C782CD9B-2B4B-48D2-BF13-2B0D6056B78A}"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it-IT"/>
        </a:p>
      </dgm:t>
    </dgm:pt>
    <dgm:pt modelId="{DFCF748E-4FA2-4C04-B1DF-85DA1021BE5D}">
      <dgm:prSet phldrT="[Testo]"/>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Rete viaria complessiva</a:t>
          </a:r>
        </a:p>
      </dgm:t>
    </dgm:pt>
    <dgm:pt modelId="{7DAF1956-B700-4203-9672-92E4451DCC31}" type="parTrans" cxnId="{92751D9D-02E3-45C2-978C-737085227C42}">
      <dgm:prSet/>
      <dgm:spPr/>
      <dgm:t>
        <a:bodyPr/>
        <a:lstStyle/>
        <a:p>
          <a:endParaRPr lang="it-IT"/>
        </a:p>
      </dgm:t>
    </dgm:pt>
    <dgm:pt modelId="{A0ED7260-8442-4FBF-80B4-500E49A4F3AF}" type="sibTrans" cxnId="{92751D9D-02E3-45C2-978C-737085227C42}">
      <dgm:prSet/>
      <dgm:spPr/>
      <dgm:t>
        <a:bodyPr/>
        <a:lstStyle/>
        <a:p>
          <a:endParaRPr lang="it-IT"/>
        </a:p>
      </dgm:t>
    </dgm:pt>
    <dgm:pt modelId="{B754C885-66E5-4615-BD33-B6EE917A035D}">
      <dgm:prSet phldrT="[Testo]"/>
      <dgm:spPr>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dgm:spPr>
      <dgm:t>
        <a:bodyPr/>
        <a:lstStyle/>
        <a:p>
          <a:r>
            <a:rPr lang="it-IT" dirty="0"/>
            <a:t>Risorse</a:t>
          </a:r>
        </a:p>
      </dgm:t>
    </dgm:pt>
    <dgm:pt modelId="{65812F9F-DD0E-4752-BF8B-D07282594751}" type="parTrans" cxnId="{F8EA3703-CEE5-4162-AB46-CFFF8AC28B48}">
      <dgm:prSet/>
      <dgm:spPr/>
      <dgm:t>
        <a:bodyPr/>
        <a:lstStyle/>
        <a:p>
          <a:endParaRPr lang="it-IT"/>
        </a:p>
      </dgm:t>
    </dgm:pt>
    <dgm:pt modelId="{79AAED35-18A8-4347-A2B8-6AAE8B34BA56}" type="sibTrans" cxnId="{F8EA3703-CEE5-4162-AB46-CFFF8AC28B48}">
      <dgm:prSet/>
      <dgm:spPr/>
      <dgm:t>
        <a:bodyPr/>
        <a:lstStyle/>
        <a:p>
          <a:endParaRPr lang="it-IT"/>
        </a:p>
      </dgm:t>
    </dgm:pt>
    <dgm:pt modelId="{9225496C-39D8-4F53-8BB5-1B069B40EB3E}">
      <dgm:prSet phldrT="[Testo]"/>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Affidamenti</a:t>
          </a:r>
        </a:p>
      </dgm:t>
    </dgm:pt>
    <dgm:pt modelId="{D3A21DFB-000A-4FCE-9E9D-8516EBA4DD45}" type="parTrans" cxnId="{94A2B45D-2D69-4650-AFC3-C5574217F910}">
      <dgm:prSet/>
      <dgm:spPr/>
      <dgm:t>
        <a:bodyPr/>
        <a:lstStyle/>
        <a:p>
          <a:endParaRPr lang="it-IT"/>
        </a:p>
      </dgm:t>
    </dgm:pt>
    <dgm:pt modelId="{1E3F53DD-2537-4C67-AA71-87081D444A81}" type="sibTrans" cxnId="{94A2B45D-2D69-4650-AFC3-C5574217F910}">
      <dgm:prSet/>
      <dgm:spPr/>
      <dgm:t>
        <a:bodyPr/>
        <a:lstStyle/>
        <a:p>
          <a:endParaRPr lang="it-IT"/>
        </a:p>
      </dgm:t>
    </dgm:pt>
    <dgm:pt modelId="{2F442204-E894-4EB6-A3FA-953074E6D5F9}">
      <dgm:prSet phldrT="[Testo]" custT="1"/>
      <dgm:spPr>
        <a:solidFill>
          <a:schemeClr val="tx2"/>
        </a:solidFill>
      </dgm:spPr>
      <dgm:t>
        <a:bodyPr/>
        <a:lstStyle/>
        <a:p>
          <a:r>
            <a:rPr lang="it-IT" sz="700" dirty="0"/>
            <a:t>Investimenti e Produzione</a:t>
          </a:r>
        </a:p>
        <a:p>
          <a:r>
            <a:rPr lang="it-IT" sz="700" dirty="0"/>
            <a:t>MP</a:t>
          </a:r>
        </a:p>
      </dgm:t>
    </dgm:pt>
    <dgm:pt modelId="{9E6A019B-6886-407A-A3BB-1A2A8D416818}" type="parTrans" cxnId="{6FD2AE64-BDEB-482D-ACF3-1D5403180A1E}">
      <dgm:prSet/>
      <dgm:spPr/>
      <dgm:t>
        <a:bodyPr/>
        <a:lstStyle/>
        <a:p>
          <a:endParaRPr lang="it-IT"/>
        </a:p>
      </dgm:t>
    </dgm:pt>
    <dgm:pt modelId="{07F51AA8-9070-4A56-AF24-8977CF9B6A80}" type="sibTrans" cxnId="{6FD2AE64-BDEB-482D-ACF3-1D5403180A1E}">
      <dgm:prSet/>
      <dgm:spPr/>
      <dgm:t>
        <a:bodyPr/>
        <a:lstStyle/>
        <a:p>
          <a:endParaRPr lang="it-IT"/>
        </a:p>
      </dgm:t>
    </dgm:pt>
    <dgm:pt modelId="{2D51EAF0-C497-40E9-996D-2D0BC40F318C}">
      <dgm:prSet phldrT="[Testo]"/>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Pagamenti</a:t>
          </a:r>
        </a:p>
      </dgm:t>
    </dgm:pt>
    <dgm:pt modelId="{43C509B8-DD3A-429A-ADC4-232D55259B3D}" type="parTrans" cxnId="{7BC9B318-E7A6-41F3-853C-1D1DFB2050EF}">
      <dgm:prSet/>
      <dgm:spPr/>
      <dgm:t>
        <a:bodyPr/>
        <a:lstStyle/>
        <a:p>
          <a:endParaRPr lang="it-IT"/>
        </a:p>
      </dgm:t>
    </dgm:pt>
    <dgm:pt modelId="{66A12237-9546-42D0-81C0-2C324670B743}" type="sibTrans" cxnId="{7BC9B318-E7A6-41F3-853C-1D1DFB2050EF}">
      <dgm:prSet/>
      <dgm:spPr/>
      <dgm:t>
        <a:bodyPr/>
        <a:lstStyle/>
        <a:p>
          <a:endParaRPr lang="it-IT"/>
        </a:p>
      </dgm:t>
    </dgm:pt>
    <dgm:pt modelId="{72FFD339-6A5F-4ED7-B529-6155AF8C35BB}">
      <dgm:prSet/>
      <dgm:spPr>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dgm:spPr>
      <dgm:t>
        <a:bodyPr/>
        <a:lstStyle/>
        <a:p>
          <a:r>
            <a:rPr lang="it-IT" dirty="0" err="1"/>
            <a:t>soc</a:t>
          </a:r>
          <a:endParaRPr lang="it-IT" dirty="0"/>
        </a:p>
      </dgm:t>
    </dgm:pt>
    <dgm:pt modelId="{ECFEA23F-DCCD-42C6-8706-10917CE3C2B0}" type="parTrans" cxnId="{C381E8F4-D0AE-4AD0-B8F1-4BDFF55901DE}">
      <dgm:prSet/>
      <dgm:spPr/>
      <dgm:t>
        <a:bodyPr/>
        <a:lstStyle/>
        <a:p>
          <a:endParaRPr lang="it-IT"/>
        </a:p>
      </dgm:t>
    </dgm:pt>
    <dgm:pt modelId="{A3B7292F-5113-4C29-982F-BC1D14C7BE90}" type="sibTrans" cxnId="{C381E8F4-D0AE-4AD0-B8F1-4BDFF55901DE}">
      <dgm:prSet/>
      <dgm:spPr/>
      <dgm:t>
        <a:bodyPr/>
        <a:lstStyle/>
        <a:p>
          <a:endParaRPr lang="it-IT"/>
        </a:p>
      </dgm:t>
    </dgm:pt>
    <dgm:pt modelId="{A07A8528-D240-4AAE-BA81-005F6AD457F1}">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Ispezione Opere D’arte</a:t>
          </a:r>
        </a:p>
      </dgm:t>
    </dgm:pt>
    <dgm:pt modelId="{3C15A388-1B3D-47E8-B2CB-E67F7E1AFFF1}" type="parTrans" cxnId="{C9F268FB-CB20-4E78-9CDC-F035D61B7E09}">
      <dgm:prSet/>
      <dgm:spPr/>
      <dgm:t>
        <a:bodyPr/>
        <a:lstStyle/>
        <a:p>
          <a:endParaRPr lang="it-IT"/>
        </a:p>
      </dgm:t>
    </dgm:pt>
    <dgm:pt modelId="{7D0C416E-0310-43FE-A0D6-735CD62199B6}" type="sibTrans" cxnId="{C9F268FB-CB20-4E78-9CDC-F035D61B7E09}">
      <dgm:prSet/>
      <dgm:spPr/>
      <dgm:t>
        <a:bodyPr/>
        <a:lstStyle/>
        <a:p>
          <a:endParaRPr lang="it-IT"/>
        </a:p>
      </dgm:t>
    </dgm:pt>
    <dgm:pt modelId="{56EC974B-4690-4A6A-B143-36A5A9DDDB75}">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Supporto Tecnico</a:t>
          </a:r>
        </a:p>
      </dgm:t>
    </dgm:pt>
    <dgm:pt modelId="{F24B2512-EFC3-4494-92F8-F4C2A580DD56}" type="parTrans" cxnId="{FE5FBCA8-5D6F-44E5-8DFA-D24300AECCE8}">
      <dgm:prSet/>
      <dgm:spPr/>
      <dgm:t>
        <a:bodyPr/>
        <a:lstStyle/>
        <a:p>
          <a:endParaRPr lang="it-IT"/>
        </a:p>
      </dgm:t>
    </dgm:pt>
    <dgm:pt modelId="{57612FAC-3D38-4A5A-9D54-8452999285F4}" type="sibTrans" cxnId="{FE5FBCA8-5D6F-44E5-8DFA-D24300AECCE8}">
      <dgm:prSet/>
      <dgm:spPr/>
      <dgm:t>
        <a:bodyPr/>
        <a:lstStyle/>
        <a:p>
          <a:endParaRPr lang="it-IT"/>
        </a:p>
      </dgm:t>
    </dgm:pt>
    <dgm:pt modelId="{5805825E-3BC3-4961-910E-96065463977D}">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Interventi Rilevanti</a:t>
          </a:r>
        </a:p>
      </dgm:t>
    </dgm:pt>
    <dgm:pt modelId="{263FA899-3C2D-4809-A47A-DB65911293C7}" type="parTrans" cxnId="{D6C89AE1-00A8-492D-888B-1E3DDC006D86}">
      <dgm:prSet/>
      <dgm:spPr/>
      <dgm:t>
        <a:bodyPr/>
        <a:lstStyle/>
        <a:p>
          <a:endParaRPr lang="it-IT"/>
        </a:p>
      </dgm:t>
    </dgm:pt>
    <dgm:pt modelId="{B58F1702-0059-4F53-9A60-77242457BBFA}" type="sibTrans" cxnId="{D6C89AE1-00A8-492D-888B-1E3DDC006D86}">
      <dgm:prSet/>
      <dgm:spPr/>
      <dgm:t>
        <a:bodyPr/>
        <a:lstStyle/>
        <a:p>
          <a:endParaRPr lang="it-IT"/>
        </a:p>
      </dgm:t>
    </dgm:pt>
    <dgm:pt modelId="{7A5D9CDD-E10F-422D-808B-815C691EF2E8}">
      <dgm:prSet phldrT="[Testo]" custT="1"/>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sz="700" dirty="0"/>
            <a:t>Investimenti e Produzione</a:t>
          </a:r>
        </a:p>
        <a:p>
          <a:r>
            <a:rPr lang="it-IT" sz="700" dirty="0"/>
            <a:t>NO</a:t>
          </a:r>
        </a:p>
      </dgm:t>
    </dgm:pt>
    <dgm:pt modelId="{089AE963-8402-4F38-908B-1CA814F78766}" type="parTrans" cxnId="{BEDD267B-EA80-4783-A782-86B96AAC5B03}">
      <dgm:prSet/>
      <dgm:spPr/>
      <dgm:t>
        <a:bodyPr/>
        <a:lstStyle/>
        <a:p>
          <a:endParaRPr lang="it-IT"/>
        </a:p>
      </dgm:t>
    </dgm:pt>
    <dgm:pt modelId="{63A1392B-D9B4-4604-ACED-CDD4B7E19D6E}" type="sibTrans" cxnId="{BEDD267B-EA80-4783-A782-86B96AAC5B03}">
      <dgm:prSet/>
      <dgm:spPr/>
      <dgm:t>
        <a:bodyPr/>
        <a:lstStyle/>
        <a:p>
          <a:endParaRPr lang="it-IT"/>
        </a:p>
      </dgm:t>
    </dgm:pt>
    <dgm:pt modelId="{2069E263-CA68-447A-859F-7068DC9AF2B6}" type="pres">
      <dgm:prSet presAssocID="{C782CD9B-2B4B-48D2-BF13-2B0D6056B78A}" presName="Name0" presStyleCnt="0">
        <dgm:presLayoutVars>
          <dgm:dir/>
          <dgm:animLvl val="lvl"/>
          <dgm:resizeHandles val="exact"/>
        </dgm:presLayoutVars>
      </dgm:prSet>
      <dgm:spPr/>
    </dgm:pt>
    <dgm:pt modelId="{F7031506-3856-48AD-BFC1-89D9660F7FF7}" type="pres">
      <dgm:prSet presAssocID="{DFCF748E-4FA2-4C04-B1DF-85DA1021BE5D}" presName="parTxOnly" presStyleLbl="node1" presStyleIdx="0" presStyleCnt="10">
        <dgm:presLayoutVars>
          <dgm:chMax val="0"/>
          <dgm:chPref val="0"/>
          <dgm:bulletEnabled val="1"/>
        </dgm:presLayoutVars>
      </dgm:prSet>
      <dgm:spPr/>
    </dgm:pt>
    <dgm:pt modelId="{420EBE6C-A91F-49B7-AF4C-29A127D6266A}" type="pres">
      <dgm:prSet presAssocID="{A0ED7260-8442-4FBF-80B4-500E49A4F3AF}" presName="parTxOnlySpace" presStyleCnt="0"/>
      <dgm:spPr/>
    </dgm:pt>
    <dgm:pt modelId="{6C62160D-9EC9-4B84-8EFD-9C3E10FC055A}" type="pres">
      <dgm:prSet presAssocID="{B754C885-66E5-4615-BD33-B6EE917A035D}" presName="parTxOnly" presStyleLbl="node1" presStyleIdx="1" presStyleCnt="10">
        <dgm:presLayoutVars>
          <dgm:chMax val="0"/>
          <dgm:chPref val="0"/>
          <dgm:bulletEnabled val="1"/>
        </dgm:presLayoutVars>
      </dgm:prSet>
      <dgm:spPr/>
    </dgm:pt>
    <dgm:pt modelId="{6415A264-B3C7-41A6-9BA0-D0AD6AE1DACB}" type="pres">
      <dgm:prSet presAssocID="{79AAED35-18A8-4347-A2B8-6AAE8B34BA56}" presName="parTxOnlySpace" presStyleCnt="0"/>
      <dgm:spPr/>
    </dgm:pt>
    <dgm:pt modelId="{636F50A3-8EFE-4C08-B6BE-284B03274F0B}" type="pres">
      <dgm:prSet presAssocID="{72FFD339-6A5F-4ED7-B529-6155AF8C35BB}" presName="parTxOnly" presStyleLbl="node1" presStyleIdx="2" presStyleCnt="10">
        <dgm:presLayoutVars>
          <dgm:chMax val="0"/>
          <dgm:chPref val="0"/>
          <dgm:bulletEnabled val="1"/>
        </dgm:presLayoutVars>
      </dgm:prSet>
      <dgm:spPr/>
    </dgm:pt>
    <dgm:pt modelId="{B0C5D3FB-8180-4CC6-9F14-5042E96FD8E3}" type="pres">
      <dgm:prSet presAssocID="{A3B7292F-5113-4C29-982F-BC1D14C7BE90}" presName="parTxOnlySpace" presStyleCnt="0"/>
      <dgm:spPr/>
    </dgm:pt>
    <dgm:pt modelId="{6BB9B9CD-B911-4E33-8045-BE6A8D7C5B89}" type="pres">
      <dgm:prSet presAssocID="{9225496C-39D8-4F53-8BB5-1B069B40EB3E}" presName="parTxOnly" presStyleLbl="node1" presStyleIdx="3" presStyleCnt="10">
        <dgm:presLayoutVars>
          <dgm:chMax val="0"/>
          <dgm:chPref val="0"/>
          <dgm:bulletEnabled val="1"/>
        </dgm:presLayoutVars>
      </dgm:prSet>
      <dgm:spPr/>
    </dgm:pt>
    <dgm:pt modelId="{60B2C4AD-8A0D-4CB2-93A9-16C6C0E4BD5B}" type="pres">
      <dgm:prSet presAssocID="{1E3F53DD-2537-4C67-AA71-87081D444A81}" presName="parTxOnlySpace" presStyleCnt="0"/>
      <dgm:spPr/>
    </dgm:pt>
    <dgm:pt modelId="{A29D7AF6-34C9-459D-B160-0F8E7686BA2B}" type="pres">
      <dgm:prSet presAssocID="{2F442204-E894-4EB6-A3FA-953074E6D5F9}" presName="parTxOnly" presStyleLbl="node1" presStyleIdx="4" presStyleCnt="10">
        <dgm:presLayoutVars>
          <dgm:chMax val="0"/>
          <dgm:chPref val="0"/>
          <dgm:bulletEnabled val="1"/>
        </dgm:presLayoutVars>
      </dgm:prSet>
      <dgm:spPr/>
    </dgm:pt>
    <dgm:pt modelId="{7004503D-9639-442B-9C04-FB1247092C40}" type="pres">
      <dgm:prSet presAssocID="{07F51AA8-9070-4A56-AF24-8977CF9B6A80}" presName="parTxOnlySpace" presStyleCnt="0"/>
      <dgm:spPr/>
    </dgm:pt>
    <dgm:pt modelId="{A2199658-E72A-4294-AFD3-6892981EEB12}" type="pres">
      <dgm:prSet presAssocID="{7A5D9CDD-E10F-422D-808B-815C691EF2E8}" presName="parTxOnly" presStyleLbl="node1" presStyleIdx="5" presStyleCnt="10">
        <dgm:presLayoutVars>
          <dgm:chMax val="0"/>
          <dgm:chPref val="0"/>
          <dgm:bulletEnabled val="1"/>
        </dgm:presLayoutVars>
      </dgm:prSet>
      <dgm:spPr/>
    </dgm:pt>
    <dgm:pt modelId="{9B5C0F41-E4E2-4A3A-AA73-E3E4EB6ACD5E}" type="pres">
      <dgm:prSet presAssocID="{63A1392B-D9B4-4604-ACED-CDD4B7E19D6E}" presName="parTxOnlySpace" presStyleCnt="0"/>
      <dgm:spPr/>
    </dgm:pt>
    <dgm:pt modelId="{F9C55CAF-C1A3-4EFD-AD93-3CBF7E30E2FA}" type="pres">
      <dgm:prSet presAssocID="{56EC974B-4690-4A6A-B143-36A5A9DDDB75}" presName="parTxOnly" presStyleLbl="node1" presStyleIdx="6" presStyleCnt="10">
        <dgm:presLayoutVars>
          <dgm:chMax val="0"/>
          <dgm:chPref val="0"/>
          <dgm:bulletEnabled val="1"/>
        </dgm:presLayoutVars>
      </dgm:prSet>
      <dgm:spPr/>
    </dgm:pt>
    <dgm:pt modelId="{DDB26EDE-11AF-40B7-9C16-348181381393}" type="pres">
      <dgm:prSet presAssocID="{57612FAC-3D38-4A5A-9D54-8452999285F4}" presName="parTxOnlySpace" presStyleCnt="0"/>
      <dgm:spPr/>
    </dgm:pt>
    <dgm:pt modelId="{8CED6B9D-804A-4009-A04D-D699125D11F0}" type="pres">
      <dgm:prSet presAssocID="{A07A8528-D240-4AAE-BA81-005F6AD457F1}" presName="parTxOnly" presStyleLbl="node1" presStyleIdx="7" presStyleCnt="10">
        <dgm:presLayoutVars>
          <dgm:chMax val="0"/>
          <dgm:chPref val="0"/>
          <dgm:bulletEnabled val="1"/>
        </dgm:presLayoutVars>
      </dgm:prSet>
      <dgm:spPr/>
    </dgm:pt>
    <dgm:pt modelId="{C3D8151F-F75F-49EC-B6A3-4B15A8912918}" type="pres">
      <dgm:prSet presAssocID="{7D0C416E-0310-43FE-A0D6-735CD62199B6}" presName="parTxOnlySpace" presStyleCnt="0"/>
      <dgm:spPr/>
    </dgm:pt>
    <dgm:pt modelId="{0A5AB2D9-0A33-47A4-83C2-3990E2018CD9}" type="pres">
      <dgm:prSet presAssocID="{5805825E-3BC3-4961-910E-96065463977D}" presName="parTxOnly" presStyleLbl="node1" presStyleIdx="8" presStyleCnt="10">
        <dgm:presLayoutVars>
          <dgm:chMax val="0"/>
          <dgm:chPref val="0"/>
          <dgm:bulletEnabled val="1"/>
        </dgm:presLayoutVars>
      </dgm:prSet>
      <dgm:spPr/>
    </dgm:pt>
    <dgm:pt modelId="{5FE5E96A-0031-41D2-A1BE-2634D143793A}" type="pres">
      <dgm:prSet presAssocID="{B58F1702-0059-4F53-9A60-77242457BBFA}" presName="parTxOnlySpace" presStyleCnt="0"/>
      <dgm:spPr/>
    </dgm:pt>
    <dgm:pt modelId="{F2510710-7BA2-44B7-8AA7-1347717B483B}" type="pres">
      <dgm:prSet presAssocID="{2D51EAF0-C497-40E9-996D-2D0BC40F318C}" presName="parTxOnly" presStyleLbl="node1" presStyleIdx="9" presStyleCnt="10">
        <dgm:presLayoutVars>
          <dgm:chMax val="0"/>
          <dgm:chPref val="0"/>
          <dgm:bulletEnabled val="1"/>
        </dgm:presLayoutVars>
      </dgm:prSet>
      <dgm:spPr/>
    </dgm:pt>
  </dgm:ptLst>
  <dgm:cxnLst>
    <dgm:cxn modelId="{F8EA3703-CEE5-4162-AB46-CFFF8AC28B48}" srcId="{C782CD9B-2B4B-48D2-BF13-2B0D6056B78A}" destId="{B754C885-66E5-4615-BD33-B6EE917A035D}" srcOrd="1" destOrd="0" parTransId="{65812F9F-DD0E-4752-BF8B-D07282594751}" sibTransId="{79AAED35-18A8-4347-A2B8-6AAE8B34BA56}"/>
    <dgm:cxn modelId="{FE33B404-CCF3-47AC-9824-B7F5B3476E8F}" type="presOf" srcId="{2F442204-E894-4EB6-A3FA-953074E6D5F9}" destId="{A29D7AF6-34C9-459D-B160-0F8E7686BA2B}" srcOrd="0" destOrd="0" presId="urn:microsoft.com/office/officeart/2005/8/layout/chevron1"/>
    <dgm:cxn modelId="{C5D16C05-7FD8-44E7-BD55-EDB0A136DEF1}" type="presOf" srcId="{56EC974B-4690-4A6A-B143-36A5A9DDDB75}" destId="{F9C55CAF-C1A3-4EFD-AD93-3CBF7E30E2FA}" srcOrd="0" destOrd="0" presId="urn:microsoft.com/office/officeart/2005/8/layout/chevron1"/>
    <dgm:cxn modelId="{4628500C-15FD-4F52-B7F1-CBC2C8947673}" type="presOf" srcId="{2D51EAF0-C497-40E9-996D-2D0BC40F318C}" destId="{F2510710-7BA2-44B7-8AA7-1347717B483B}" srcOrd="0" destOrd="0" presId="urn:microsoft.com/office/officeart/2005/8/layout/chevron1"/>
    <dgm:cxn modelId="{2331270E-DF9E-4AE9-8DA7-6D6325260B63}" type="presOf" srcId="{72FFD339-6A5F-4ED7-B529-6155AF8C35BB}" destId="{636F50A3-8EFE-4C08-B6BE-284B03274F0B}" srcOrd="0" destOrd="0" presId="urn:microsoft.com/office/officeart/2005/8/layout/chevron1"/>
    <dgm:cxn modelId="{7BC9B318-E7A6-41F3-853C-1D1DFB2050EF}" srcId="{C782CD9B-2B4B-48D2-BF13-2B0D6056B78A}" destId="{2D51EAF0-C497-40E9-996D-2D0BC40F318C}" srcOrd="9" destOrd="0" parTransId="{43C509B8-DD3A-429A-ADC4-232D55259B3D}" sibTransId="{66A12237-9546-42D0-81C0-2C324670B743}"/>
    <dgm:cxn modelId="{F3C27C1D-D141-4AED-A566-F5991FC6DEDA}" type="presOf" srcId="{7A5D9CDD-E10F-422D-808B-815C691EF2E8}" destId="{A2199658-E72A-4294-AFD3-6892981EEB12}" srcOrd="0" destOrd="0" presId="urn:microsoft.com/office/officeart/2005/8/layout/chevron1"/>
    <dgm:cxn modelId="{01FDC83A-D77D-41A0-9ED1-32ECE8361EB4}" type="presOf" srcId="{5805825E-3BC3-4961-910E-96065463977D}" destId="{0A5AB2D9-0A33-47A4-83C2-3990E2018CD9}" srcOrd="0" destOrd="0" presId="urn:microsoft.com/office/officeart/2005/8/layout/chevron1"/>
    <dgm:cxn modelId="{94A2B45D-2D69-4650-AFC3-C5574217F910}" srcId="{C782CD9B-2B4B-48D2-BF13-2B0D6056B78A}" destId="{9225496C-39D8-4F53-8BB5-1B069B40EB3E}" srcOrd="3" destOrd="0" parTransId="{D3A21DFB-000A-4FCE-9E9D-8516EBA4DD45}" sibTransId="{1E3F53DD-2537-4C67-AA71-87081D444A81}"/>
    <dgm:cxn modelId="{68871F64-BD8C-4A79-887D-25EA2B6E69B8}" type="presOf" srcId="{A07A8528-D240-4AAE-BA81-005F6AD457F1}" destId="{8CED6B9D-804A-4009-A04D-D699125D11F0}" srcOrd="0" destOrd="0" presId="urn:microsoft.com/office/officeart/2005/8/layout/chevron1"/>
    <dgm:cxn modelId="{6FD2AE64-BDEB-482D-ACF3-1D5403180A1E}" srcId="{C782CD9B-2B4B-48D2-BF13-2B0D6056B78A}" destId="{2F442204-E894-4EB6-A3FA-953074E6D5F9}" srcOrd="4" destOrd="0" parTransId="{9E6A019B-6886-407A-A3BB-1A2A8D416818}" sibTransId="{07F51AA8-9070-4A56-AF24-8977CF9B6A80}"/>
    <dgm:cxn modelId="{3E5E4976-0306-4313-89A0-D9EFBE2491E5}" type="presOf" srcId="{DFCF748E-4FA2-4C04-B1DF-85DA1021BE5D}" destId="{F7031506-3856-48AD-BFC1-89D9660F7FF7}" srcOrd="0" destOrd="0" presId="urn:microsoft.com/office/officeart/2005/8/layout/chevron1"/>
    <dgm:cxn modelId="{BEDD267B-EA80-4783-A782-86B96AAC5B03}" srcId="{C782CD9B-2B4B-48D2-BF13-2B0D6056B78A}" destId="{7A5D9CDD-E10F-422D-808B-815C691EF2E8}" srcOrd="5" destOrd="0" parTransId="{089AE963-8402-4F38-908B-1CA814F78766}" sibTransId="{63A1392B-D9B4-4604-ACED-CDD4B7E19D6E}"/>
    <dgm:cxn modelId="{766D5998-653C-408C-9E44-7F5B5E0E7D7A}" type="presOf" srcId="{B754C885-66E5-4615-BD33-B6EE917A035D}" destId="{6C62160D-9EC9-4B84-8EFD-9C3E10FC055A}" srcOrd="0" destOrd="0" presId="urn:microsoft.com/office/officeart/2005/8/layout/chevron1"/>
    <dgm:cxn modelId="{92751D9D-02E3-45C2-978C-737085227C42}" srcId="{C782CD9B-2B4B-48D2-BF13-2B0D6056B78A}" destId="{DFCF748E-4FA2-4C04-B1DF-85DA1021BE5D}" srcOrd="0" destOrd="0" parTransId="{7DAF1956-B700-4203-9672-92E4451DCC31}" sibTransId="{A0ED7260-8442-4FBF-80B4-500E49A4F3AF}"/>
    <dgm:cxn modelId="{FE5FBCA8-5D6F-44E5-8DFA-D24300AECCE8}" srcId="{C782CD9B-2B4B-48D2-BF13-2B0D6056B78A}" destId="{56EC974B-4690-4A6A-B143-36A5A9DDDB75}" srcOrd="6" destOrd="0" parTransId="{F24B2512-EFC3-4494-92F8-F4C2A580DD56}" sibTransId="{57612FAC-3D38-4A5A-9D54-8452999285F4}"/>
    <dgm:cxn modelId="{5FC294AD-327D-4C9D-8FD9-F31CBC83490E}" type="presOf" srcId="{9225496C-39D8-4F53-8BB5-1B069B40EB3E}" destId="{6BB9B9CD-B911-4E33-8045-BE6A8D7C5B89}" srcOrd="0" destOrd="0" presId="urn:microsoft.com/office/officeart/2005/8/layout/chevron1"/>
    <dgm:cxn modelId="{D6C89AE1-00A8-492D-888B-1E3DDC006D86}" srcId="{C782CD9B-2B4B-48D2-BF13-2B0D6056B78A}" destId="{5805825E-3BC3-4961-910E-96065463977D}" srcOrd="8" destOrd="0" parTransId="{263FA899-3C2D-4809-A47A-DB65911293C7}" sibTransId="{B58F1702-0059-4F53-9A60-77242457BBFA}"/>
    <dgm:cxn modelId="{3616F0F3-33F3-4EC2-B94E-723102059064}" type="presOf" srcId="{C782CD9B-2B4B-48D2-BF13-2B0D6056B78A}" destId="{2069E263-CA68-447A-859F-7068DC9AF2B6}" srcOrd="0" destOrd="0" presId="urn:microsoft.com/office/officeart/2005/8/layout/chevron1"/>
    <dgm:cxn modelId="{C381E8F4-D0AE-4AD0-B8F1-4BDFF55901DE}" srcId="{C782CD9B-2B4B-48D2-BF13-2B0D6056B78A}" destId="{72FFD339-6A5F-4ED7-B529-6155AF8C35BB}" srcOrd="2" destOrd="0" parTransId="{ECFEA23F-DCCD-42C6-8706-10917CE3C2B0}" sibTransId="{A3B7292F-5113-4C29-982F-BC1D14C7BE90}"/>
    <dgm:cxn modelId="{C9F268FB-CB20-4E78-9CDC-F035D61B7E09}" srcId="{C782CD9B-2B4B-48D2-BF13-2B0D6056B78A}" destId="{A07A8528-D240-4AAE-BA81-005F6AD457F1}" srcOrd="7" destOrd="0" parTransId="{3C15A388-1B3D-47E8-B2CB-E67F7E1AFFF1}" sibTransId="{7D0C416E-0310-43FE-A0D6-735CD62199B6}"/>
    <dgm:cxn modelId="{F46D397A-380D-4870-9FCF-C6AA6571B0CB}" type="presParOf" srcId="{2069E263-CA68-447A-859F-7068DC9AF2B6}" destId="{F7031506-3856-48AD-BFC1-89D9660F7FF7}" srcOrd="0" destOrd="0" presId="urn:microsoft.com/office/officeart/2005/8/layout/chevron1"/>
    <dgm:cxn modelId="{7FEB6015-439F-40C5-A9B5-04324BEE5201}" type="presParOf" srcId="{2069E263-CA68-447A-859F-7068DC9AF2B6}" destId="{420EBE6C-A91F-49B7-AF4C-29A127D6266A}" srcOrd="1" destOrd="0" presId="urn:microsoft.com/office/officeart/2005/8/layout/chevron1"/>
    <dgm:cxn modelId="{9EA065D1-D9AE-416A-B165-5E62346F4725}" type="presParOf" srcId="{2069E263-CA68-447A-859F-7068DC9AF2B6}" destId="{6C62160D-9EC9-4B84-8EFD-9C3E10FC055A}" srcOrd="2" destOrd="0" presId="urn:microsoft.com/office/officeart/2005/8/layout/chevron1"/>
    <dgm:cxn modelId="{51CBC1DE-6CC0-481F-A1C2-BBA23D565FF0}" type="presParOf" srcId="{2069E263-CA68-447A-859F-7068DC9AF2B6}" destId="{6415A264-B3C7-41A6-9BA0-D0AD6AE1DACB}" srcOrd="3" destOrd="0" presId="urn:microsoft.com/office/officeart/2005/8/layout/chevron1"/>
    <dgm:cxn modelId="{F28D8D29-E1ED-4820-A20E-55A4B82BA9EF}" type="presParOf" srcId="{2069E263-CA68-447A-859F-7068DC9AF2B6}" destId="{636F50A3-8EFE-4C08-B6BE-284B03274F0B}" srcOrd="4" destOrd="0" presId="urn:microsoft.com/office/officeart/2005/8/layout/chevron1"/>
    <dgm:cxn modelId="{E13220A6-2030-420E-A307-0CBC857A2250}" type="presParOf" srcId="{2069E263-CA68-447A-859F-7068DC9AF2B6}" destId="{B0C5D3FB-8180-4CC6-9F14-5042E96FD8E3}" srcOrd="5" destOrd="0" presId="urn:microsoft.com/office/officeart/2005/8/layout/chevron1"/>
    <dgm:cxn modelId="{144659C8-E41F-4E03-BC2A-77D6B28B5D08}" type="presParOf" srcId="{2069E263-CA68-447A-859F-7068DC9AF2B6}" destId="{6BB9B9CD-B911-4E33-8045-BE6A8D7C5B89}" srcOrd="6" destOrd="0" presId="urn:microsoft.com/office/officeart/2005/8/layout/chevron1"/>
    <dgm:cxn modelId="{989B87CF-D24F-4691-A6B1-821A38C4AE7A}" type="presParOf" srcId="{2069E263-CA68-447A-859F-7068DC9AF2B6}" destId="{60B2C4AD-8A0D-4CB2-93A9-16C6C0E4BD5B}" srcOrd="7" destOrd="0" presId="urn:microsoft.com/office/officeart/2005/8/layout/chevron1"/>
    <dgm:cxn modelId="{B0394098-4CEB-4066-8D04-924B664073E8}" type="presParOf" srcId="{2069E263-CA68-447A-859F-7068DC9AF2B6}" destId="{A29D7AF6-34C9-459D-B160-0F8E7686BA2B}" srcOrd="8" destOrd="0" presId="urn:microsoft.com/office/officeart/2005/8/layout/chevron1"/>
    <dgm:cxn modelId="{00B59F93-56AF-447A-88F1-053BCE5D3B98}" type="presParOf" srcId="{2069E263-CA68-447A-859F-7068DC9AF2B6}" destId="{7004503D-9639-442B-9C04-FB1247092C40}" srcOrd="9" destOrd="0" presId="urn:microsoft.com/office/officeart/2005/8/layout/chevron1"/>
    <dgm:cxn modelId="{B5781CC6-CFB1-4D5B-908B-E6D9E4DA65DF}" type="presParOf" srcId="{2069E263-CA68-447A-859F-7068DC9AF2B6}" destId="{A2199658-E72A-4294-AFD3-6892981EEB12}" srcOrd="10" destOrd="0" presId="urn:microsoft.com/office/officeart/2005/8/layout/chevron1"/>
    <dgm:cxn modelId="{1E03C673-642C-4384-B631-CC3F83E3FE8D}" type="presParOf" srcId="{2069E263-CA68-447A-859F-7068DC9AF2B6}" destId="{9B5C0F41-E4E2-4A3A-AA73-E3E4EB6ACD5E}" srcOrd="11" destOrd="0" presId="urn:microsoft.com/office/officeart/2005/8/layout/chevron1"/>
    <dgm:cxn modelId="{F01542A3-18FD-4141-AFA6-CC910AF7F0B6}" type="presParOf" srcId="{2069E263-CA68-447A-859F-7068DC9AF2B6}" destId="{F9C55CAF-C1A3-4EFD-AD93-3CBF7E30E2FA}" srcOrd="12" destOrd="0" presId="urn:microsoft.com/office/officeart/2005/8/layout/chevron1"/>
    <dgm:cxn modelId="{397381C5-099C-4777-B5CE-D13BDE310602}" type="presParOf" srcId="{2069E263-CA68-447A-859F-7068DC9AF2B6}" destId="{DDB26EDE-11AF-40B7-9C16-348181381393}" srcOrd="13" destOrd="0" presId="urn:microsoft.com/office/officeart/2005/8/layout/chevron1"/>
    <dgm:cxn modelId="{1420ABF4-6F16-443C-AA89-160B680E3322}" type="presParOf" srcId="{2069E263-CA68-447A-859F-7068DC9AF2B6}" destId="{8CED6B9D-804A-4009-A04D-D699125D11F0}" srcOrd="14" destOrd="0" presId="urn:microsoft.com/office/officeart/2005/8/layout/chevron1"/>
    <dgm:cxn modelId="{9E209498-140E-4357-A724-855A7ED38ED1}" type="presParOf" srcId="{2069E263-CA68-447A-859F-7068DC9AF2B6}" destId="{C3D8151F-F75F-49EC-B6A3-4B15A8912918}" srcOrd="15" destOrd="0" presId="urn:microsoft.com/office/officeart/2005/8/layout/chevron1"/>
    <dgm:cxn modelId="{0E3463F5-0205-425A-A318-9B9CF4CB9D4F}" type="presParOf" srcId="{2069E263-CA68-447A-859F-7068DC9AF2B6}" destId="{0A5AB2D9-0A33-47A4-83C2-3990E2018CD9}" srcOrd="16" destOrd="0" presId="urn:microsoft.com/office/officeart/2005/8/layout/chevron1"/>
    <dgm:cxn modelId="{4C09F66C-D1E2-4FFB-8728-BF1B30D47298}" type="presParOf" srcId="{2069E263-CA68-447A-859F-7068DC9AF2B6}" destId="{5FE5E96A-0031-41D2-A1BE-2634D143793A}" srcOrd="17" destOrd="0" presId="urn:microsoft.com/office/officeart/2005/8/layout/chevron1"/>
    <dgm:cxn modelId="{D33B4C45-E537-4954-81DF-6ACD42EA47FF}" type="presParOf" srcId="{2069E263-CA68-447A-859F-7068DC9AF2B6}" destId="{F2510710-7BA2-44B7-8AA7-1347717B483B}" srcOrd="18"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C782CD9B-2B4B-48D2-BF13-2B0D6056B78A}"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it-IT"/>
        </a:p>
      </dgm:t>
    </dgm:pt>
    <dgm:pt modelId="{DFCF748E-4FA2-4C04-B1DF-85DA1021BE5D}">
      <dgm:prSet phldrT="[Testo]"/>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Rete viaria complessiva</a:t>
          </a:r>
        </a:p>
      </dgm:t>
    </dgm:pt>
    <dgm:pt modelId="{7DAF1956-B700-4203-9672-92E4451DCC31}" type="parTrans" cxnId="{92751D9D-02E3-45C2-978C-737085227C42}">
      <dgm:prSet/>
      <dgm:spPr/>
      <dgm:t>
        <a:bodyPr/>
        <a:lstStyle/>
        <a:p>
          <a:endParaRPr lang="it-IT"/>
        </a:p>
      </dgm:t>
    </dgm:pt>
    <dgm:pt modelId="{A0ED7260-8442-4FBF-80B4-500E49A4F3AF}" type="sibTrans" cxnId="{92751D9D-02E3-45C2-978C-737085227C42}">
      <dgm:prSet/>
      <dgm:spPr/>
      <dgm:t>
        <a:bodyPr/>
        <a:lstStyle/>
        <a:p>
          <a:endParaRPr lang="it-IT"/>
        </a:p>
      </dgm:t>
    </dgm:pt>
    <dgm:pt modelId="{B754C885-66E5-4615-BD33-B6EE917A035D}">
      <dgm:prSet phldrT="[Testo]"/>
      <dgm:spPr>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dgm:spPr>
      <dgm:t>
        <a:bodyPr/>
        <a:lstStyle/>
        <a:p>
          <a:r>
            <a:rPr lang="it-IT" dirty="0"/>
            <a:t>Risorse</a:t>
          </a:r>
        </a:p>
      </dgm:t>
    </dgm:pt>
    <dgm:pt modelId="{65812F9F-DD0E-4752-BF8B-D07282594751}" type="parTrans" cxnId="{F8EA3703-CEE5-4162-AB46-CFFF8AC28B48}">
      <dgm:prSet/>
      <dgm:spPr/>
      <dgm:t>
        <a:bodyPr/>
        <a:lstStyle/>
        <a:p>
          <a:endParaRPr lang="it-IT"/>
        </a:p>
      </dgm:t>
    </dgm:pt>
    <dgm:pt modelId="{79AAED35-18A8-4347-A2B8-6AAE8B34BA56}" type="sibTrans" cxnId="{F8EA3703-CEE5-4162-AB46-CFFF8AC28B48}">
      <dgm:prSet/>
      <dgm:spPr/>
      <dgm:t>
        <a:bodyPr/>
        <a:lstStyle/>
        <a:p>
          <a:endParaRPr lang="it-IT"/>
        </a:p>
      </dgm:t>
    </dgm:pt>
    <dgm:pt modelId="{9225496C-39D8-4F53-8BB5-1B069B40EB3E}">
      <dgm:prSet phldrT="[Testo]"/>
      <dgm:spPr>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dgm:spPr>
      <dgm:t>
        <a:bodyPr/>
        <a:lstStyle/>
        <a:p>
          <a:r>
            <a:rPr lang="it-IT" dirty="0"/>
            <a:t>Affidamenti</a:t>
          </a:r>
        </a:p>
      </dgm:t>
    </dgm:pt>
    <dgm:pt modelId="{D3A21DFB-000A-4FCE-9E9D-8516EBA4DD45}" type="parTrans" cxnId="{94A2B45D-2D69-4650-AFC3-C5574217F910}">
      <dgm:prSet/>
      <dgm:spPr/>
      <dgm:t>
        <a:bodyPr/>
        <a:lstStyle/>
        <a:p>
          <a:endParaRPr lang="it-IT"/>
        </a:p>
      </dgm:t>
    </dgm:pt>
    <dgm:pt modelId="{1E3F53DD-2537-4C67-AA71-87081D444A81}" type="sibTrans" cxnId="{94A2B45D-2D69-4650-AFC3-C5574217F910}">
      <dgm:prSet/>
      <dgm:spPr/>
      <dgm:t>
        <a:bodyPr/>
        <a:lstStyle/>
        <a:p>
          <a:endParaRPr lang="it-IT"/>
        </a:p>
      </dgm:t>
    </dgm:pt>
    <dgm:pt modelId="{2F442204-E894-4EB6-A3FA-953074E6D5F9}">
      <dgm:prSet phldrT="[Testo]" custT="1"/>
      <dgm:spPr>
        <a:solidFill>
          <a:schemeClr val="tx2"/>
        </a:solidFill>
      </dgm:spPr>
      <dgm:t>
        <a:bodyPr/>
        <a:lstStyle/>
        <a:p>
          <a:r>
            <a:rPr lang="it-IT" sz="700" dirty="0"/>
            <a:t>Investimenti e Produzione</a:t>
          </a:r>
        </a:p>
        <a:p>
          <a:r>
            <a:rPr lang="it-IT" sz="700" dirty="0"/>
            <a:t>MP</a:t>
          </a:r>
        </a:p>
      </dgm:t>
    </dgm:pt>
    <dgm:pt modelId="{9E6A019B-6886-407A-A3BB-1A2A8D416818}" type="parTrans" cxnId="{6FD2AE64-BDEB-482D-ACF3-1D5403180A1E}">
      <dgm:prSet/>
      <dgm:spPr/>
      <dgm:t>
        <a:bodyPr/>
        <a:lstStyle/>
        <a:p>
          <a:endParaRPr lang="it-IT"/>
        </a:p>
      </dgm:t>
    </dgm:pt>
    <dgm:pt modelId="{07F51AA8-9070-4A56-AF24-8977CF9B6A80}" type="sibTrans" cxnId="{6FD2AE64-BDEB-482D-ACF3-1D5403180A1E}">
      <dgm:prSet/>
      <dgm:spPr/>
      <dgm:t>
        <a:bodyPr/>
        <a:lstStyle/>
        <a:p>
          <a:endParaRPr lang="it-IT"/>
        </a:p>
      </dgm:t>
    </dgm:pt>
    <dgm:pt modelId="{2D51EAF0-C497-40E9-996D-2D0BC40F318C}">
      <dgm:prSet phldrT="[Testo]"/>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Pagamenti</a:t>
          </a:r>
        </a:p>
      </dgm:t>
    </dgm:pt>
    <dgm:pt modelId="{43C509B8-DD3A-429A-ADC4-232D55259B3D}" type="parTrans" cxnId="{7BC9B318-E7A6-41F3-853C-1D1DFB2050EF}">
      <dgm:prSet/>
      <dgm:spPr/>
      <dgm:t>
        <a:bodyPr/>
        <a:lstStyle/>
        <a:p>
          <a:endParaRPr lang="it-IT"/>
        </a:p>
      </dgm:t>
    </dgm:pt>
    <dgm:pt modelId="{66A12237-9546-42D0-81C0-2C324670B743}" type="sibTrans" cxnId="{7BC9B318-E7A6-41F3-853C-1D1DFB2050EF}">
      <dgm:prSet/>
      <dgm:spPr/>
      <dgm:t>
        <a:bodyPr/>
        <a:lstStyle/>
        <a:p>
          <a:endParaRPr lang="it-IT"/>
        </a:p>
      </dgm:t>
    </dgm:pt>
    <dgm:pt modelId="{72FFD339-6A5F-4ED7-B529-6155AF8C35BB}">
      <dgm:prSet/>
      <dgm:spPr>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dgm:spPr>
      <dgm:t>
        <a:bodyPr/>
        <a:lstStyle/>
        <a:p>
          <a:r>
            <a:rPr lang="it-IT" dirty="0" err="1"/>
            <a:t>soc</a:t>
          </a:r>
          <a:endParaRPr lang="it-IT" dirty="0"/>
        </a:p>
      </dgm:t>
    </dgm:pt>
    <dgm:pt modelId="{ECFEA23F-DCCD-42C6-8706-10917CE3C2B0}" type="parTrans" cxnId="{C381E8F4-D0AE-4AD0-B8F1-4BDFF55901DE}">
      <dgm:prSet/>
      <dgm:spPr/>
      <dgm:t>
        <a:bodyPr/>
        <a:lstStyle/>
        <a:p>
          <a:endParaRPr lang="it-IT"/>
        </a:p>
      </dgm:t>
    </dgm:pt>
    <dgm:pt modelId="{A3B7292F-5113-4C29-982F-BC1D14C7BE90}" type="sibTrans" cxnId="{C381E8F4-D0AE-4AD0-B8F1-4BDFF55901DE}">
      <dgm:prSet/>
      <dgm:spPr/>
      <dgm:t>
        <a:bodyPr/>
        <a:lstStyle/>
        <a:p>
          <a:endParaRPr lang="it-IT"/>
        </a:p>
      </dgm:t>
    </dgm:pt>
    <dgm:pt modelId="{A07A8528-D240-4AAE-BA81-005F6AD457F1}">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Ispezione Opere D’arte</a:t>
          </a:r>
        </a:p>
      </dgm:t>
    </dgm:pt>
    <dgm:pt modelId="{3C15A388-1B3D-47E8-B2CB-E67F7E1AFFF1}" type="parTrans" cxnId="{C9F268FB-CB20-4E78-9CDC-F035D61B7E09}">
      <dgm:prSet/>
      <dgm:spPr/>
      <dgm:t>
        <a:bodyPr/>
        <a:lstStyle/>
        <a:p>
          <a:endParaRPr lang="it-IT"/>
        </a:p>
      </dgm:t>
    </dgm:pt>
    <dgm:pt modelId="{7D0C416E-0310-43FE-A0D6-735CD62199B6}" type="sibTrans" cxnId="{C9F268FB-CB20-4E78-9CDC-F035D61B7E09}">
      <dgm:prSet/>
      <dgm:spPr/>
      <dgm:t>
        <a:bodyPr/>
        <a:lstStyle/>
        <a:p>
          <a:endParaRPr lang="it-IT"/>
        </a:p>
      </dgm:t>
    </dgm:pt>
    <dgm:pt modelId="{56EC974B-4690-4A6A-B143-36A5A9DDDB75}">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Supporto Tecnico</a:t>
          </a:r>
        </a:p>
      </dgm:t>
    </dgm:pt>
    <dgm:pt modelId="{F24B2512-EFC3-4494-92F8-F4C2A580DD56}" type="parTrans" cxnId="{FE5FBCA8-5D6F-44E5-8DFA-D24300AECCE8}">
      <dgm:prSet/>
      <dgm:spPr/>
      <dgm:t>
        <a:bodyPr/>
        <a:lstStyle/>
        <a:p>
          <a:endParaRPr lang="it-IT"/>
        </a:p>
      </dgm:t>
    </dgm:pt>
    <dgm:pt modelId="{57612FAC-3D38-4A5A-9D54-8452999285F4}" type="sibTrans" cxnId="{FE5FBCA8-5D6F-44E5-8DFA-D24300AECCE8}">
      <dgm:prSet/>
      <dgm:spPr/>
      <dgm:t>
        <a:bodyPr/>
        <a:lstStyle/>
        <a:p>
          <a:endParaRPr lang="it-IT"/>
        </a:p>
      </dgm:t>
    </dgm:pt>
    <dgm:pt modelId="{5805825E-3BC3-4961-910E-96065463977D}">
      <dgm:prSet/>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dirty="0"/>
            <a:t>Interventi Rilevanti</a:t>
          </a:r>
        </a:p>
      </dgm:t>
    </dgm:pt>
    <dgm:pt modelId="{263FA899-3C2D-4809-A47A-DB65911293C7}" type="parTrans" cxnId="{D6C89AE1-00A8-492D-888B-1E3DDC006D86}">
      <dgm:prSet/>
      <dgm:spPr/>
      <dgm:t>
        <a:bodyPr/>
        <a:lstStyle/>
        <a:p>
          <a:endParaRPr lang="it-IT"/>
        </a:p>
      </dgm:t>
    </dgm:pt>
    <dgm:pt modelId="{B58F1702-0059-4F53-9A60-77242457BBFA}" type="sibTrans" cxnId="{D6C89AE1-00A8-492D-888B-1E3DDC006D86}">
      <dgm:prSet/>
      <dgm:spPr/>
      <dgm:t>
        <a:bodyPr/>
        <a:lstStyle/>
        <a:p>
          <a:endParaRPr lang="it-IT"/>
        </a:p>
      </dgm:t>
    </dgm:pt>
    <dgm:pt modelId="{7A5D9CDD-E10F-422D-808B-815C691EF2E8}">
      <dgm:prSet phldrT="[Testo]" custT="1"/>
      <dgm:spPr>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dgm:spPr>
      <dgm:t>
        <a:bodyPr/>
        <a:lstStyle/>
        <a:p>
          <a:r>
            <a:rPr lang="it-IT" sz="700" dirty="0"/>
            <a:t>Investimenti e Produzione</a:t>
          </a:r>
        </a:p>
        <a:p>
          <a:r>
            <a:rPr lang="it-IT" sz="700" dirty="0"/>
            <a:t>NO</a:t>
          </a:r>
        </a:p>
      </dgm:t>
    </dgm:pt>
    <dgm:pt modelId="{089AE963-8402-4F38-908B-1CA814F78766}" type="parTrans" cxnId="{BEDD267B-EA80-4783-A782-86B96AAC5B03}">
      <dgm:prSet/>
      <dgm:spPr/>
      <dgm:t>
        <a:bodyPr/>
        <a:lstStyle/>
        <a:p>
          <a:endParaRPr lang="it-IT"/>
        </a:p>
      </dgm:t>
    </dgm:pt>
    <dgm:pt modelId="{63A1392B-D9B4-4604-ACED-CDD4B7E19D6E}" type="sibTrans" cxnId="{BEDD267B-EA80-4783-A782-86B96AAC5B03}">
      <dgm:prSet/>
      <dgm:spPr/>
      <dgm:t>
        <a:bodyPr/>
        <a:lstStyle/>
        <a:p>
          <a:endParaRPr lang="it-IT"/>
        </a:p>
      </dgm:t>
    </dgm:pt>
    <dgm:pt modelId="{2069E263-CA68-447A-859F-7068DC9AF2B6}" type="pres">
      <dgm:prSet presAssocID="{C782CD9B-2B4B-48D2-BF13-2B0D6056B78A}" presName="Name0" presStyleCnt="0">
        <dgm:presLayoutVars>
          <dgm:dir/>
          <dgm:animLvl val="lvl"/>
          <dgm:resizeHandles val="exact"/>
        </dgm:presLayoutVars>
      </dgm:prSet>
      <dgm:spPr/>
    </dgm:pt>
    <dgm:pt modelId="{F7031506-3856-48AD-BFC1-89D9660F7FF7}" type="pres">
      <dgm:prSet presAssocID="{DFCF748E-4FA2-4C04-B1DF-85DA1021BE5D}" presName="parTxOnly" presStyleLbl="node1" presStyleIdx="0" presStyleCnt="10">
        <dgm:presLayoutVars>
          <dgm:chMax val="0"/>
          <dgm:chPref val="0"/>
          <dgm:bulletEnabled val="1"/>
        </dgm:presLayoutVars>
      </dgm:prSet>
      <dgm:spPr/>
    </dgm:pt>
    <dgm:pt modelId="{420EBE6C-A91F-49B7-AF4C-29A127D6266A}" type="pres">
      <dgm:prSet presAssocID="{A0ED7260-8442-4FBF-80B4-500E49A4F3AF}" presName="parTxOnlySpace" presStyleCnt="0"/>
      <dgm:spPr/>
    </dgm:pt>
    <dgm:pt modelId="{6C62160D-9EC9-4B84-8EFD-9C3E10FC055A}" type="pres">
      <dgm:prSet presAssocID="{B754C885-66E5-4615-BD33-B6EE917A035D}" presName="parTxOnly" presStyleLbl="node1" presStyleIdx="1" presStyleCnt="10">
        <dgm:presLayoutVars>
          <dgm:chMax val="0"/>
          <dgm:chPref val="0"/>
          <dgm:bulletEnabled val="1"/>
        </dgm:presLayoutVars>
      </dgm:prSet>
      <dgm:spPr/>
    </dgm:pt>
    <dgm:pt modelId="{6415A264-B3C7-41A6-9BA0-D0AD6AE1DACB}" type="pres">
      <dgm:prSet presAssocID="{79AAED35-18A8-4347-A2B8-6AAE8B34BA56}" presName="parTxOnlySpace" presStyleCnt="0"/>
      <dgm:spPr/>
    </dgm:pt>
    <dgm:pt modelId="{636F50A3-8EFE-4C08-B6BE-284B03274F0B}" type="pres">
      <dgm:prSet presAssocID="{72FFD339-6A5F-4ED7-B529-6155AF8C35BB}" presName="parTxOnly" presStyleLbl="node1" presStyleIdx="2" presStyleCnt="10">
        <dgm:presLayoutVars>
          <dgm:chMax val="0"/>
          <dgm:chPref val="0"/>
          <dgm:bulletEnabled val="1"/>
        </dgm:presLayoutVars>
      </dgm:prSet>
      <dgm:spPr/>
    </dgm:pt>
    <dgm:pt modelId="{B0C5D3FB-8180-4CC6-9F14-5042E96FD8E3}" type="pres">
      <dgm:prSet presAssocID="{A3B7292F-5113-4C29-982F-BC1D14C7BE90}" presName="parTxOnlySpace" presStyleCnt="0"/>
      <dgm:spPr/>
    </dgm:pt>
    <dgm:pt modelId="{6BB9B9CD-B911-4E33-8045-BE6A8D7C5B89}" type="pres">
      <dgm:prSet presAssocID="{9225496C-39D8-4F53-8BB5-1B069B40EB3E}" presName="parTxOnly" presStyleLbl="node1" presStyleIdx="3" presStyleCnt="10">
        <dgm:presLayoutVars>
          <dgm:chMax val="0"/>
          <dgm:chPref val="0"/>
          <dgm:bulletEnabled val="1"/>
        </dgm:presLayoutVars>
      </dgm:prSet>
      <dgm:spPr/>
    </dgm:pt>
    <dgm:pt modelId="{60B2C4AD-8A0D-4CB2-93A9-16C6C0E4BD5B}" type="pres">
      <dgm:prSet presAssocID="{1E3F53DD-2537-4C67-AA71-87081D444A81}" presName="parTxOnlySpace" presStyleCnt="0"/>
      <dgm:spPr/>
    </dgm:pt>
    <dgm:pt modelId="{A29D7AF6-34C9-459D-B160-0F8E7686BA2B}" type="pres">
      <dgm:prSet presAssocID="{2F442204-E894-4EB6-A3FA-953074E6D5F9}" presName="parTxOnly" presStyleLbl="node1" presStyleIdx="4" presStyleCnt="10">
        <dgm:presLayoutVars>
          <dgm:chMax val="0"/>
          <dgm:chPref val="0"/>
          <dgm:bulletEnabled val="1"/>
        </dgm:presLayoutVars>
      </dgm:prSet>
      <dgm:spPr/>
    </dgm:pt>
    <dgm:pt modelId="{7004503D-9639-442B-9C04-FB1247092C40}" type="pres">
      <dgm:prSet presAssocID="{07F51AA8-9070-4A56-AF24-8977CF9B6A80}" presName="parTxOnlySpace" presStyleCnt="0"/>
      <dgm:spPr/>
    </dgm:pt>
    <dgm:pt modelId="{A2199658-E72A-4294-AFD3-6892981EEB12}" type="pres">
      <dgm:prSet presAssocID="{7A5D9CDD-E10F-422D-808B-815C691EF2E8}" presName="parTxOnly" presStyleLbl="node1" presStyleIdx="5" presStyleCnt="10">
        <dgm:presLayoutVars>
          <dgm:chMax val="0"/>
          <dgm:chPref val="0"/>
          <dgm:bulletEnabled val="1"/>
        </dgm:presLayoutVars>
      </dgm:prSet>
      <dgm:spPr/>
    </dgm:pt>
    <dgm:pt modelId="{9B5C0F41-E4E2-4A3A-AA73-E3E4EB6ACD5E}" type="pres">
      <dgm:prSet presAssocID="{63A1392B-D9B4-4604-ACED-CDD4B7E19D6E}" presName="parTxOnlySpace" presStyleCnt="0"/>
      <dgm:spPr/>
    </dgm:pt>
    <dgm:pt modelId="{F9C55CAF-C1A3-4EFD-AD93-3CBF7E30E2FA}" type="pres">
      <dgm:prSet presAssocID="{56EC974B-4690-4A6A-B143-36A5A9DDDB75}" presName="parTxOnly" presStyleLbl="node1" presStyleIdx="6" presStyleCnt="10">
        <dgm:presLayoutVars>
          <dgm:chMax val="0"/>
          <dgm:chPref val="0"/>
          <dgm:bulletEnabled val="1"/>
        </dgm:presLayoutVars>
      </dgm:prSet>
      <dgm:spPr/>
    </dgm:pt>
    <dgm:pt modelId="{DDB26EDE-11AF-40B7-9C16-348181381393}" type="pres">
      <dgm:prSet presAssocID="{57612FAC-3D38-4A5A-9D54-8452999285F4}" presName="parTxOnlySpace" presStyleCnt="0"/>
      <dgm:spPr/>
    </dgm:pt>
    <dgm:pt modelId="{8CED6B9D-804A-4009-A04D-D699125D11F0}" type="pres">
      <dgm:prSet presAssocID="{A07A8528-D240-4AAE-BA81-005F6AD457F1}" presName="parTxOnly" presStyleLbl="node1" presStyleIdx="7" presStyleCnt="10">
        <dgm:presLayoutVars>
          <dgm:chMax val="0"/>
          <dgm:chPref val="0"/>
          <dgm:bulletEnabled val="1"/>
        </dgm:presLayoutVars>
      </dgm:prSet>
      <dgm:spPr/>
    </dgm:pt>
    <dgm:pt modelId="{C3D8151F-F75F-49EC-B6A3-4B15A8912918}" type="pres">
      <dgm:prSet presAssocID="{7D0C416E-0310-43FE-A0D6-735CD62199B6}" presName="parTxOnlySpace" presStyleCnt="0"/>
      <dgm:spPr/>
    </dgm:pt>
    <dgm:pt modelId="{0A5AB2D9-0A33-47A4-83C2-3990E2018CD9}" type="pres">
      <dgm:prSet presAssocID="{5805825E-3BC3-4961-910E-96065463977D}" presName="parTxOnly" presStyleLbl="node1" presStyleIdx="8" presStyleCnt="10">
        <dgm:presLayoutVars>
          <dgm:chMax val="0"/>
          <dgm:chPref val="0"/>
          <dgm:bulletEnabled val="1"/>
        </dgm:presLayoutVars>
      </dgm:prSet>
      <dgm:spPr/>
    </dgm:pt>
    <dgm:pt modelId="{5FE5E96A-0031-41D2-A1BE-2634D143793A}" type="pres">
      <dgm:prSet presAssocID="{B58F1702-0059-4F53-9A60-77242457BBFA}" presName="parTxOnlySpace" presStyleCnt="0"/>
      <dgm:spPr/>
    </dgm:pt>
    <dgm:pt modelId="{F2510710-7BA2-44B7-8AA7-1347717B483B}" type="pres">
      <dgm:prSet presAssocID="{2D51EAF0-C497-40E9-996D-2D0BC40F318C}" presName="parTxOnly" presStyleLbl="node1" presStyleIdx="9" presStyleCnt="10">
        <dgm:presLayoutVars>
          <dgm:chMax val="0"/>
          <dgm:chPref val="0"/>
          <dgm:bulletEnabled val="1"/>
        </dgm:presLayoutVars>
      </dgm:prSet>
      <dgm:spPr/>
    </dgm:pt>
  </dgm:ptLst>
  <dgm:cxnLst>
    <dgm:cxn modelId="{F8EA3703-CEE5-4162-AB46-CFFF8AC28B48}" srcId="{C782CD9B-2B4B-48D2-BF13-2B0D6056B78A}" destId="{B754C885-66E5-4615-BD33-B6EE917A035D}" srcOrd="1" destOrd="0" parTransId="{65812F9F-DD0E-4752-BF8B-D07282594751}" sibTransId="{79AAED35-18A8-4347-A2B8-6AAE8B34BA56}"/>
    <dgm:cxn modelId="{B999C907-1A6E-4C10-9727-6FCEFBE3616F}" type="presOf" srcId="{2D51EAF0-C497-40E9-996D-2D0BC40F318C}" destId="{F2510710-7BA2-44B7-8AA7-1347717B483B}" srcOrd="0" destOrd="0" presId="urn:microsoft.com/office/officeart/2005/8/layout/chevron1"/>
    <dgm:cxn modelId="{54FAE407-EF68-4DB8-9A77-42AB6712E577}" type="presOf" srcId="{2F442204-E894-4EB6-A3FA-953074E6D5F9}" destId="{A29D7AF6-34C9-459D-B160-0F8E7686BA2B}" srcOrd="0" destOrd="0" presId="urn:microsoft.com/office/officeart/2005/8/layout/chevron1"/>
    <dgm:cxn modelId="{7BC9B318-E7A6-41F3-853C-1D1DFB2050EF}" srcId="{C782CD9B-2B4B-48D2-BF13-2B0D6056B78A}" destId="{2D51EAF0-C497-40E9-996D-2D0BC40F318C}" srcOrd="9" destOrd="0" parTransId="{43C509B8-DD3A-429A-ADC4-232D55259B3D}" sibTransId="{66A12237-9546-42D0-81C0-2C324670B743}"/>
    <dgm:cxn modelId="{94A2B45D-2D69-4650-AFC3-C5574217F910}" srcId="{C782CD9B-2B4B-48D2-BF13-2B0D6056B78A}" destId="{9225496C-39D8-4F53-8BB5-1B069B40EB3E}" srcOrd="3" destOrd="0" parTransId="{D3A21DFB-000A-4FCE-9E9D-8516EBA4DD45}" sibTransId="{1E3F53DD-2537-4C67-AA71-87081D444A81}"/>
    <dgm:cxn modelId="{6FD2AE64-BDEB-482D-ACF3-1D5403180A1E}" srcId="{C782CD9B-2B4B-48D2-BF13-2B0D6056B78A}" destId="{2F442204-E894-4EB6-A3FA-953074E6D5F9}" srcOrd="4" destOrd="0" parTransId="{9E6A019B-6886-407A-A3BB-1A2A8D416818}" sibTransId="{07F51AA8-9070-4A56-AF24-8977CF9B6A80}"/>
    <dgm:cxn modelId="{00360669-475F-4192-82B8-17F19F4A3283}" type="presOf" srcId="{7A5D9CDD-E10F-422D-808B-815C691EF2E8}" destId="{A2199658-E72A-4294-AFD3-6892981EEB12}" srcOrd="0" destOrd="0" presId="urn:microsoft.com/office/officeart/2005/8/layout/chevron1"/>
    <dgm:cxn modelId="{B99A8B6C-E869-44C8-9D3A-6CC4AF958F59}" type="presOf" srcId="{9225496C-39D8-4F53-8BB5-1B069B40EB3E}" destId="{6BB9B9CD-B911-4E33-8045-BE6A8D7C5B89}" srcOrd="0" destOrd="0" presId="urn:microsoft.com/office/officeart/2005/8/layout/chevron1"/>
    <dgm:cxn modelId="{7425FA6D-EB4E-44E1-B2C8-86C024DD4F60}" type="presOf" srcId="{A07A8528-D240-4AAE-BA81-005F6AD457F1}" destId="{8CED6B9D-804A-4009-A04D-D699125D11F0}" srcOrd="0" destOrd="0" presId="urn:microsoft.com/office/officeart/2005/8/layout/chevron1"/>
    <dgm:cxn modelId="{9F7FF75A-EE1E-4BAC-85B2-D9758B2E33B0}" type="presOf" srcId="{72FFD339-6A5F-4ED7-B529-6155AF8C35BB}" destId="{636F50A3-8EFE-4C08-B6BE-284B03274F0B}" srcOrd="0" destOrd="0" presId="urn:microsoft.com/office/officeart/2005/8/layout/chevron1"/>
    <dgm:cxn modelId="{BEDD267B-EA80-4783-A782-86B96AAC5B03}" srcId="{C782CD9B-2B4B-48D2-BF13-2B0D6056B78A}" destId="{7A5D9CDD-E10F-422D-808B-815C691EF2E8}" srcOrd="5" destOrd="0" parTransId="{089AE963-8402-4F38-908B-1CA814F78766}" sibTransId="{63A1392B-D9B4-4604-ACED-CDD4B7E19D6E}"/>
    <dgm:cxn modelId="{2E8DDE89-DE8B-463B-93EA-83740E8D5502}" type="presOf" srcId="{5805825E-3BC3-4961-910E-96065463977D}" destId="{0A5AB2D9-0A33-47A4-83C2-3990E2018CD9}" srcOrd="0" destOrd="0" presId="urn:microsoft.com/office/officeart/2005/8/layout/chevron1"/>
    <dgm:cxn modelId="{2C54308E-525F-4C27-A56D-77FDF989D5ED}" type="presOf" srcId="{DFCF748E-4FA2-4C04-B1DF-85DA1021BE5D}" destId="{F7031506-3856-48AD-BFC1-89D9660F7FF7}" srcOrd="0" destOrd="0" presId="urn:microsoft.com/office/officeart/2005/8/layout/chevron1"/>
    <dgm:cxn modelId="{92751D9D-02E3-45C2-978C-737085227C42}" srcId="{C782CD9B-2B4B-48D2-BF13-2B0D6056B78A}" destId="{DFCF748E-4FA2-4C04-B1DF-85DA1021BE5D}" srcOrd="0" destOrd="0" parTransId="{7DAF1956-B700-4203-9672-92E4451DCC31}" sibTransId="{A0ED7260-8442-4FBF-80B4-500E49A4F3AF}"/>
    <dgm:cxn modelId="{FE5FBCA8-5D6F-44E5-8DFA-D24300AECCE8}" srcId="{C782CD9B-2B4B-48D2-BF13-2B0D6056B78A}" destId="{56EC974B-4690-4A6A-B143-36A5A9DDDB75}" srcOrd="6" destOrd="0" parTransId="{F24B2512-EFC3-4494-92F8-F4C2A580DD56}" sibTransId="{57612FAC-3D38-4A5A-9D54-8452999285F4}"/>
    <dgm:cxn modelId="{6B72F1B8-EEB8-46A2-A7CB-044E76102011}" type="presOf" srcId="{C782CD9B-2B4B-48D2-BF13-2B0D6056B78A}" destId="{2069E263-CA68-447A-859F-7068DC9AF2B6}" srcOrd="0" destOrd="0" presId="urn:microsoft.com/office/officeart/2005/8/layout/chevron1"/>
    <dgm:cxn modelId="{FCF434DF-5292-4F48-833C-B85FB8AC3DE1}" type="presOf" srcId="{56EC974B-4690-4A6A-B143-36A5A9DDDB75}" destId="{F9C55CAF-C1A3-4EFD-AD93-3CBF7E30E2FA}" srcOrd="0" destOrd="0" presId="urn:microsoft.com/office/officeart/2005/8/layout/chevron1"/>
    <dgm:cxn modelId="{D6C89AE1-00A8-492D-888B-1E3DDC006D86}" srcId="{C782CD9B-2B4B-48D2-BF13-2B0D6056B78A}" destId="{5805825E-3BC3-4961-910E-96065463977D}" srcOrd="8" destOrd="0" parTransId="{263FA899-3C2D-4809-A47A-DB65911293C7}" sibTransId="{B58F1702-0059-4F53-9A60-77242457BBFA}"/>
    <dgm:cxn modelId="{8E1E8AE3-32D2-45AA-A6E5-563F841673F3}" type="presOf" srcId="{B754C885-66E5-4615-BD33-B6EE917A035D}" destId="{6C62160D-9EC9-4B84-8EFD-9C3E10FC055A}" srcOrd="0" destOrd="0" presId="urn:microsoft.com/office/officeart/2005/8/layout/chevron1"/>
    <dgm:cxn modelId="{C381E8F4-D0AE-4AD0-B8F1-4BDFF55901DE}" srcId="{C782CD9B-2B4B-48D2-BF13-2B0D6056B78A}" destId="{72FFD339-6A5F-4ED7-B529-6155AF8C35BB}" srcOrd="2" destOrd="0" parTransId="{ECFEA23F-DCCD-42C6-8706-10917CE3C2B0}" sibTransId="{A3B7292F-5113-4C29-982F-BC1D14C7BE90}"/>
    <dgm:cxn modelId="{C9F268FB-CB20-4E78-9CDC-F035D61B7E09}" srcId="{C782CD9B-2B4B-48D2-BF13-2B0D6056B78A}" destId="{A07A8528-D240-4AAE-BA81-005F6AD457F1}" srcOrd="7" destOrd="0" parTransId="{3C15A388-1B3D-47E8-B2CB-E67F7E1AFFF1}" sibTransId="{7D0C416E-0310-43FE-A0D6-735CD62199B6}"/>
    <dgm:cxn modelId="{EFA47E6C-8882-403B-9413-1C25E111BC2B}" type="presParOf" srcId="{2069E263-CA68-447A-859F-7068DC9AF2B6}" destId="{F7031506-3856-48AD-BFC1-89D9660F7FF7}" srcOrd="0" destOrd="0" presId="urn:microsoft.com/office/officeart/2005/8/layout/chevron1"/>
    <dgm:cxn modelId="{6D8C452A-D23F-46BC-A087-1C481F5F46A8}" type="presParOf" srcId="{2069E263-CA68-447A-859F-7068DC9AF2B6}" destId="{420EBE6C-A91F-49B7-AF4C-29A127D6266A}" srcOrd="1" destOrd="0" presId="urn:microsoft.com/office/officeart/2005/8/layout/chevron1"/>
    <dgm:cxn modelId="{559EFA84-F288-4D04-98F1-08566467A2D1}" type="presParOf" srcId="{2069E263-CA68-447A-859F-7068DC9AF2B6}" destId="{6C62160D-9EC9-4B84-8EFD-9C3E10FC055A}" srcOrd="2" destOrd="0" presId="urn:microsoft.com/office/officeart/2005/8/layout/chevron1"/>
    <dgm:cxn modelId="{CC831B9F-4DF9-4ADD-9681-2938CDAC728D}" type="presParOf" srcId="{2069E263-CA68-447A-859F-7068DC9AF2B6}" destId="{6415A264-B3C7-41A6-9BA0-D0AD6AE1DACB}" srcOrd="3" destOrd="0" presId="urn:microsoft.com/office/officeart/2005/8/layout/chevron1"/>
    <dgm:cxn modelId="{E7178FBE-28E8-47EF-BC81-D0F2D8EF6A48}" type="presParOf" srcId="{2069E263-CA68-447A-859F-7068DC9AF2B6}" destId="{636F50A3-8EFE-4C08-B6BE-284B03274F0B}" srcOrd="4" destOrd="0" presId="urn:microsoft.com/office/officeart/2005/8/layout/chevron1"/>
    <dgm:cxn modelId="{F4AF2C28-5046-45F9-871C-7FDD0FBC2898}" type="presParOf" srcId="{2069E263-CA68-447A-859F-7068DC9AF2B6}" destId="{B0C5D3FB-8180-4CC6-9F14-5042E96FD8E3}" srcOrd="5" destOrd="0" presId="urn:microsoft.com/office/officeart/2005/8/layout/chevron1"/>
    <dgm:cxn modelId="{012A2A94-729D-4E4A-ABAD-BE863CD5BF23}" type="presParOf" srcId="{2069E263-CA68-447A-859F-7068DC9AF2B6}" destId="{6BB9B9CD-B911-4E33-8045-BE6A8D7C5B89}" srcOrd="6" destOrd="0" presId="urn:microsoft.com/office/officeart/2005/8/layout/chevron1"/>
    <dgm:cxn modelId="{42F9D924-46B6-4DB4-9855-2E3FDABBFB42}" type="presParOf" srcId="{2069E263-CA68-447A-859F-7068DC9AF2B6}" destId="{60B2C4AD-8A0D-4CB2-93A9-16C6C0E4BD5B}" srcOrd="7" destOrd="0" presId="urn:microsoft.com/office/officeart/2005/8/layout/chevron1"/>
    <dgm:cxn modelId="{E77ADA59-5E32-46C0-8F28-FE0DA530B46D}" type="presParOf" srcId="{2069E263-CA68-447A-859F-7068DC9AF2B6}" destId="{A29D7AF6-34C9-459D-B160-0F8E7686BA2B}" srcOrd="8" destOrd="0" presId="urn:microsoft.com/office/officeart/2005/8/layout/chevron1"/>
    <dgm:cxn modelId="{4AB8F542-1822-4AE0-B298-E6B0C6205F00}" type="presParOf" srcId="{2069E263-CA68-447A-859F-7068DC9AF2B6}" destId="{7004503D-9639-442B-9C04-FB1247092C40}" srcOrd="9" destOrd="0" presId="urn:microsoft.com/office/officeart/2005/8/layout/chevron1"/>
    <dgm:cxn modelId="{D0C9A3D8-E4AF-457F-AE9B-C545D1C98CD1}" type="presParOf" srcId="{2069E263-CA68-447A-859F-7068DC9AF2B6}" destId="{A2199658-E72A-4294-AFD3-6892981EEB12}" srcOrd="10" destOrd="0" presId="urn:microsoft.com/office/officeart/2005/8/layout/chevron1"/>
    <dgm:cxn modelId="{1EC272D7-A4B7-410B-87C2-1392158D2154}" type="presParOf" srcId="{2069E263-CA68-447A-859F-7068DC9AF2B6}" destId="{9B5C0F41-E4E2-4A3A-AA73-E3E4EB6ACD5E}" srcOrd="11" destOrd="0" presId="urn:microsoft.com/office/officeart/2005/8/layout/chevron1"/>
    <dgm:cxn modelId="{7D6735A5-080B-4B61-92A8-323E6343E835}" type="presParOf" srcId="{2069E263-CA68-447A-859F-7068DC9AF2B6}" destId="{F9C55CAF-C1A3-4EFD-AD93-3CBF7E30E2FA}" srcOrd="12" destOrd="0" presId="urn:microsoft.com/office/officeart/2005/8/layout/chevron1"/>
    <dgm:cxn modelId="{E5D42D2C-4D4F-43B2-A6A2-9D106F8487F3}" type="presParOf" srcId="{2069E263-CA68-447A-859F-7068DC9AF2B6}" destId="{DDB26EDE-11AF-40B7-9C16-348181381393}" srcOrd="13" destOrd="0" presId="urn:microsoft.com/office/officeart/2005/8/layout/chevron1"/>
    <dgm:cxn modelId="{FC9BDB81-649E-4404-A142-33CAB56D2309}" type="presParOf" srcId="{2069E263-CA68-447A-859F-7068DC9AF2B6}" destId="{8CED6B9D-804A-4009-A04D-D699125D11F0}" srcOrd="14" destOrd="0" presId="urn:microsoft.com/office/officeart/2005/8/layout/chevron1"/>
    <dgm:cxn modelId="{94DD6DE3-DB80-48F1-A17B-97DD1852FC08}" type="presParOf" srcId="{2069E263-CA68-447A-859F-7068DC9AF2B6}" destId="{C3D8151F-F75F-49EC-B6A3-4B15A8912918}" srcOrd="15" destOrd="0" presId="urn:microsoft.com/office/officeart/2005/8/layout/chevron1"/>
    <dgm:cxn modelId="{720D0534-6CF1-4828-A5F8-8BCB05538ACE}" type="presParOf" srcId="{2069E263-CA68-447A-859F-7068DC9AF2B6}" destId="{0A5AB2D9-0A33-47A4-83C2-3990E2018CD9}" srcOrd="16" destOrd="0" presId="urn:microsoft.com/office/officeart/2005/8/layout/chevron1"/>
    <dgm:cxn modelId="{7DB6716E-FD56-407F-A148-510B768A6348}" type="presParOf" srcId="{2069E263-CA68-447A-859F-7068DC9AF2B6}" destId="{5FE5E96A-0031-41D2-A1BE-2634D143793A}" srcOrd="17" destOrd="0" presId="urn:microsoft.com/office/officeart/2005/8/layout/chevron1"/>
    <dgm:cxn modelId="{13D172C8-A547-4DB4-8E0D-74B5326F11B4}" type="presParOf" srcId="{2069E263-CA68-447A-859F-7068DC9AF2B6}" destId="{F2510710-7BA2-44B7-8AA7-1347717B483B}" srcOrd="18"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031506-3856-48AD-BFC1-89D9660F7FF7}">
      <dsp:nvSpPr>
        <dsp:cNvPr id="0" name=""/>
        <dsp:cNvSpPr/>
      </dsp:nvSpPr>
      <dsp:spPr>
        <a:xfrm>
          <a:off x="1011" y="223765"/>
          <a:ext cx="910354" cy="364141"/>
        </a:xfrm>
        <a:prstGeom prst="chevron">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Rete viaria complessiva</a:t>
          </a:r>
        </a:p>
      </dsp:txBody>
      <dsp:txXfrm>
        <a:off x="183082" y="223765"/>
        <a:ext cx="546213" cy="364141"/>
      </dsp:txXfrm>
    </dsp:sp>
    <dsp:sp modelId="{6C62160D-9EC9-4B84-8EFD-9C3E10FC055A}">
      <dsp:nvSpPr>
        <dsp:cNvPr id="0" name=""/>
        <dsp:cNvSpPr/>
      </dsp:nvSpPr>
      <dsp:spPr>
        <a:xfrm>
          <a:off x="820330" y="223765"/>
          <a:ext cx="910354" cy="364141"/>
        </a:xfrm>
        <a:prstGeom prst="chevron">
          <a:avLst/>
        </a:prstGeom>
        <a:gradFill flip="none"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Risorse</a:t>
          </a:r>
        </a:p>
      </dsp:txBody>
      <dsp:txXfrm>
        <a:off x="1002401" y="223765"/>
        <a:ext cx="546213" cy="364141"/>
      </dsp:txXfrm>
    </dsp:sp>
    <dsp:sp modelId="{636F50A3-8EFE-4C08-B6BE-284B03274F0B}">
      <dsp:nvSpPr>
        <dsp:cNvPr id="0" name=""/>
        <dsp:cNvSpPr/>
      </dsp:nvSpPr>
      <dsp:spPr>
        <a:xfrm>
          <a:off x="1639649" y="223765"/>
          <a:ext cx="910354" cy="364141"/>
        </a:xfrm>
        <a:prstGeom prst="chevron">
          <a:avLst/>
        </a:prstGeom>
        <a:gradFill flip="none"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err="1"/>
            <a:t>soc</a:t>
          </a:r>
          <a:endParaRPr lang="it-IT" sz="800" kern="1200" dirty="0"/>
        </a:p>
      </dsp:txBody>
      <dsp:txXfrm>
        <a:off x="1821720" y="223765"/>
        <a:ext cx="546213" cy="364141"/>
      </dsp:txXfrm>
    </dsp:sp>
    <dsp:sp modelId="{6BB9B9CD-B911-4E33-8045-BE6A8D7C5B89}">
      <dsp:nvSpPr>
        <dsp:cNvPr id="0" name=""/>
        <dsp:cNvSpPr/>
      </dsp:nvSpPr>
      <dsp:spPr>
        <a:xfrm>
          <a:off x="2458967" y="223765"/>
          <a:ext cx="910354" cy="364141"/>
        </a:xfrm>
        <a:prstGeom prst="chevron">
          <a:avLst/>
        </a:prstGeom>
        <a:gradFill flip="none"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Affidamenti</a:t>
          </a:r>
        </a:p>
      </dsp:txBody>
      <dsp:txXfrm>
        <a:off x="2641038" y="223765"/>
        <a:ext cx="546213" cy="364141"/>
      </dsp:txXfrm>
    </dsp:sp>
    <dsp:sp modelId="{A29D7AF6-34C9-459D-B160-0F8E7686BA2B}">
      <dsp:nvSpPr>
        <dsp:cNvPr id="0" name=""/>
        <dsp:cNvSpPr/>
      </dsp:nvSpPr>
      <dsp:spPr>
        <a:xfrm>
          <a:off x="3278286"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MP</a:t>
          </a:r>
        </a:p>
      </dsp:txBody>
      <dsp:txXfrm>
        <a:off x="3460357" y="223765"/>
        <a:ext cx="546213" cy="364141"/>
      </dsp:txXfrm>
    </dsp:sp>
    <dsp:sp modelId="{A2199658-E72A-4294-AFD3-6892981EEB12}">
      <dsp:nvSpPr>
        <dsp:cNvPr id="0" name=""/>
        <dsp:cNvSpPr/>
      </dsp:nvSpPr>
      <dsp:spPr>
        <a:xfrm>
          <a:off x="4097605"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NO</a:t>
          </a:r>
        </a:p>
      </dsp:txBody>
      <dsp:txXfrm>
        <a:off x="4279676" y="223765"/>
        <a:ext cx="546213" cy="364141"/>
      </dsp:txXfrm>
    </dsp:sp>
    <dsp:sp modelId="{F9C55CAF-C1A3-4EFD-AD93-3CBF7E30E2FA}">
      <dsp:nvSpPr>
        <dsp:cNvPr id="0" name=""/>
        <dsp:cNvSpPr/>
      </dsp:nvSpPr>
      <dsp:spPr>
        <a:xfrm>
          <a:off x="4916924"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Supporto Tecnico</a:t>
          </a:r>
        </a:p>
      </dsp:txBody>
      <dsp:txXfrm>
        <a:off x="5098995" y="223765"/>
        <a:ext cx="546213" cy="364141"/>
      </dsp:txXfrm>
    </dsp:sp>
    <dsp:sp modelId="{8CED6B9D-804A-4009-A04D-D699125D11F0}">
      <dsp:nvSpPr>
        <dsp:cNvPr id="0" name=""/>
        <dsp:cNvSpPr/>
      </dsp:nvSpPr>
      <dsp:spPr>
        <a:xfrm>
          <a:off x="5736242"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Ispezione Opere D’arte</a:t>
          </a:r>
        </a:p>
      </dsp:txBody>
      <dsp:txXfrm>
        <a:off x="5918313" y="223765"/>
        <a:ext cx="546213" cy="364141"/>
      </dsp:txXfrm>
    </dsp:sp>
    <dsp:sp modelId="{0A5AB2D9-0A33-47A4-83C2-3990E2018CD9}">
      <dsp:nvSpPr>
        <dsp:cNvPr id="0" name=""/>
        <dsp:cNvSpPr/>
      </dsp:nvSpPr>
      <dsp:spPr>
        <a:xfrm>
          <a:off x="6555561"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Interventi Rilevanti</a:t>
          </a:r>
        </a:p>
      </dsp:txBody>
      <dsp:txXfrm>
        <a:off x="6737632" y="223765"/>
        <a:ext cx="546213" cy="364141"/>
      </dsp:txXfrm>
    </dsp:sp>
    <dsp:sp modelId="{F2510710-7BA2-44B7-8AA7-1347717B483B}">
      <dsp:nvSpPr>
        <dsp:cNvPr id="0" name=""/>
        <dsp:cNvSpPr/>
      </dsp:nvSpPr>
      <dsp:spPr>
        <a:xfrm>
          <a:off x="7374880"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Pagamenti</a:t>
          </a:r>
        </a:p>
      </dsp:txBody>
      <dsp:txXfrm>
        <a:off x="7556951" y="223765"/>
        <a:ext cx="546213" cy="364141"/>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031506-3856-48AD-BFC1-89D9660F7FF7}">
      <dsp:nvSpPr>
        <dsp:cNvPr id="0" name=""/>
        <dsp:cNvSpPr/>
      </dsp:nvSpPr>
      <dsp:spPr>
        <a:xfrm>
          <a:off x="1011" y="223765"/>
          <a:ext cx="910354" cy="364141"/>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Rete viaria complessiva</a:t>
          </a:r>
        </a:p>
      </dsp:txBody>
      <dsp:txXfrm>
        <a:off x="183082" y="223765"/>
        <a:ext cx="546213" cy="364141"/>
      </dsp:txXfrm>
    </dsp:sp>
    <dsp:sp modelId="{6C62160D-9EC9-4B84-8EFD-9C3E10FC055A}">
      <dsp:nvSpPr>
        <dsp:cNvPr id="0" name=""/>
        <dsp:cNvSpPr/>
      </dsp:nvSpPr>
      <dsp:spPr>
        <a:xfrm>
          <a:off x="820330" y="223765"/>
          <a:ext cx="910354" cy="364141"/>
        </a:xfrm>
        <a:prstGeom prst="chevron">
          <a:avLst/>
        </a:prstGeom>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Risorse</a:t>
          </a:r>
        </a:p>
      </dsp:txBody>
      <dsp:txXfrm>
        <a:off x="1002401" y="223765"/>
        <a:ext cx="546213" cy="364141"/>
      </dsp:txXfrm>
    </dsp:sp>
    <dsp:sp modelId="{636F50A3-8EFE-4C08-B6BE-284B03274F0B}">
      <dsp:nvSpPr>
        <dsp:cNvPr id="0" name=""/>
        <dsp:cNvSpPr/>
      </dsp:nvSpPr>
      <dsp:spPr>
        <a:xfrm>
          <a:off x="1639649" y="223765"/>
          <a:ext cx="910354" cy="364141"/>
        </a:xfrm>
        <a:prstGeom prst="chevron">
          <a:avLst/>
        </a:prstGeom>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err="1"/>
            <a:t>soc</a:t>
          </a:r>
          <a:endParaRPr lang="it-IT" sz="800" kern="1200" dirty="0"/>
        </a:p>
      </dsp:txBody>
      <dsp:txXfrm>
        <a:off x="1821720" y="223765"/>
        <a:ext cx="546213" cy="364141"/>
      </dsp:txXfrm>
    </dsp:sp>
    <dsp:sp modelId="{6BB9B9CD-B911-4E33-8045-BE6A8D7C5B89}">
      <dsp:nvSpPr>
        <dsp:cNvPr id="0" name=""/>
        <dsp:cNvSpPr/>
      </dsp:nvSpPr>
      <dsp:spPr>
        <a:xfrm>
          <a:off x="2458967" y="223765"/>
          <a:ext cx="910354" cy="364141"/>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Affidamenti</a:t>
          </a:r>
        </a:p>
      </dsp:txBody>
      <dsp:txXfrm>
        <a:off x="2641038" y="223765"/>
        <a:ext cx="546213" cy="364141"/>
      </dsp:txXfrm>
    </dsp:sp>
    <dsp:sp modelId="{A29D7AF6-34C9-459D-B160-0F8E7686BA2B}">
      <dsp:nvSpPr>
        <dsp:cNvPr id="0" name=""/>
        <dsp:cNvSpPr/>
      </dsp:nvSpPr>
      <dsp:spPr>
        <a:xfrm>
          <a:off x="3278286" y="223765"/>
          <a:ext cx="910354" cy="364141"/>
        </a:xfrm>
        <a:prstGeom prst="chevron">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MP</a:t>
          </a:r>
        </a:p>
      </dsp:txBody>
      <dsp:txXfrm>
        <a:off x="3460357" y="223765"/>
        <a:ext cx="546213" cy="364141"/>
      </dsp:txXfrm>
    </dsp:sp>
    <dsp:sp modelId="{A2199658-E72A-4294-AFD3-6892981EEB12}">
      <dsp:nvSpPr>
        <dsp:cNvPr id="0" name=""/>
        <dsp:cNvSpPr/>
      </dsp:nvSpPr>
      <dsp:spPr>
        <a:xfrm>
          <a:off x="4097605"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NO</a:t>
          </a:r>
        </a:p>
      </dsp:txBody>
      <dsp:txXfrm>
        <a:off x="4279676" y="223765"/>
        <a:ext cx="546213" cy="364141"/>
      </dsp:txXfrm>
    </dsp:sp>
    <dsp:sp modelId="{F9C55CAF-C1A3-4EFD-AD93-3CBF7E30E2FA}">
      <dsp:nvSpPr>
        <dsp:cNvPr id="0" name=""/>
        <dsp:cNvSpPr/>
      </dsp:nvSpPr>
      <dsp:spPr>
        <a:xfrm>
          <a:off x="4916924"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Supporto Tecnico</a:t>
          </a:r>
        </a:p>
      </dsp:txBody>
      <dsp:txXfrm>
        <a:off x="5098995" y="223765"/>
        <a:ext cx="546213" cy="364141"/>
      </dsp:txXfrm>
    </dsp:sp>
    <dsp:sp modelId="{8CED6B9D-804A-4009-A04D-D699125D11F0}">
      <dsp:nvSpPr>
        <dsp:cNvPr id="0" name=""/>
        <dsp:cNvSpPr/>
      </dsp:nvSpPr>
      <dsp:spPr>
        <a:xfrm>
          <a:off x="5736242"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Ispezione Opere D’arte</a:t>
          </a:r>
        </a:p>
      </dsp:txBody>
      <dsp:txXfrm>
        <a:off x="5918313" y="223765"/>
        <a:ext cx="546213" cy="364141"/>
      </dsp:txXfrm>
    </dsp:sp>
    <dsp:sp modelId="{0A5AB2D9-0A33-47A4-83C2-3990E2018CD9}">
      <dsp:nvSpPr>
        <dsp:cNvPr id="0" name=""/>
        <dsp:cNvSpPr/>
      </dsp:nvSpPr>
      <dsp:spPr>
        <a:xfrm>
          <a:off x="6555561"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Interventi Rilevanti</a:t>
          </a:r>
        </a:p>
      </dsp:txBody>
      <dsp:txXfrm>
        <a:off x="6737632" y="223765"/>
        <a:ext cx="546213" cy="364141"/>
      </dsp:txXfrm>
    </dsp:sp>
    <dsp:sp modelId="{F2510710-7BA2-44B7-8AA7-1347717B483B}">
      <dsp:nvSpPr>
        <dsp:cNvPr id="0" name=""/>
        <dsp:cNvSpPr/>
      </dsp:nvSpPr>
      <dsp:spPr>
        <a:xfrm>
          <a:off x="7374880"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Pagamenti</a:t>
          </a:r>
        </a:p>
      </dsp:txBody>
      <dsp:txXfrm>
        <a:off x="7556951" y="223765"/>
        <a:ext cx="546213" cy="364141"/>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031506-3856-48AD-BFC1-89D9660F7FF7}">
      <dsp:nvSpPr>
        <dsp:cNvPr id="0" name=""/>
        <dsp:cNvSpPr/>
      </dsp:nvSpPr>
      <dsp:spPr>
        <a:xfrm>
          <a:off x="1011" y="223765"/>
          <a:ext cx="910354" cy="364141"/>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Rete viaria complessiva</a:t>
          </a:r>
        </a:p>
      </dsp:txBody>
      <dsp:txXfrm>
        <a:off x="183082" y="223765"/>
        <a:ext cx="546213" cy="364141"/>
      </dsp:txXfrm>
    </dsp:sp>
    <dsp:sp modelId="{6C62160D-9EC9-4B84-8EFD-9C3E10FC055A}">
      <dsp:nvSpPr>
        <dsp:cNvPr id="0" name=""/>
        <dsp:cNvSpPr/>
      </dsp:nvSpPr>
      <dsp:spPr>
        <a:xfrm>
          <a:off x="820330" y="223765"/>
          <a:ext cx="910354" cy="364141"/>
        </a:xfrm>
        <a:prstGeom prst="chevron">
          <a:avLst/>
        </a:prstGeom>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Risorse</a:t>
          </a:r>
        </a:p>
      </dsp:txBody>
      <dsp:txXfrm>
        <a:off x="1002401" y="223765"/>
        <a:ext cx="546213" cy="364141"/>
      </dsp:txXfrm>
    </dsp:sp>
    <dsp:sp modelId="{636F50A3-8EFE-4C08-B6BE-284B03274F0B}">
      <dsp:nvSpPr>
        <dsp:cNvPr id="0" name=""/>
        <dsp:cNvSpPr/>
      </dsp:nvSpPr>
      <dsp:spPr>
        <a:xfrm>
          <a:off x="1639649" y="223765"/>
          <a:ext cx="910354" cy="364141"/>
        </a:xfrm>
        <a:prstGeom prst="chevron">
          <a:avLst/>
        </a:prstGeom>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err="1"/>
            <a:t>soc</a:t>
          </a:r>
          <a:endParaRPr lang="it-IT" sz="800" kern="1200" dirty="0"/>
        </a:p>
      </dsp:txBody>
      <dsp:txXfrm>
        <a:off x="1821720" y="223765"/>
        <a:ext cx="546213" cy="364141"/>
      </dsp:txXfrm>
    </dsp:sp>
    <dsp:sp modelId="{6BB9B9CD-B911-4E33-8045-BE6A8D7C5B89}">
      <dsp:nvSpPr>
        <dsp:cNvPr id="0" name=""/>
        <dsp:cNvSpPr/>
      </dsp:nvSpPr>
      <dsp:spPr>
        <a:xfrm>
          <a:off x="2458967" y="223765"/>
          <a:ext cx="910354" cy="364141"/>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Affidamenti</a:t>
          </a:r>
        </a:p>
      </dsp:txBody>
      <dsp:txXfrm>
        <a:off x="2641038" y="223765"/>
        <a:ext cx="546213" cy="364141"/>
      </dsp:txXfrm>
    </dsp:sp>
    <dsp:sp modelId="{A29D7AF6-34C9-459D-B160-0F8E7686BA2B}">
      <dsp:nvSpPr>
        <dsp:cNvPr id="0" name=""/>
        <dsp:cNvSpPr/>
      </dsp:nvSpPr>
      <dsp:spPr>
        <a:xfrm>
          <a:off x="3278286" y="223765"/>
          <a:ext cx="910354" cy="364141"/>
        </a:xfrm>
        <a:prstGeom prst="chevron">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MP</a:t>
          </a:r>
        </a:p>
      </dsp:txBody>
      <dsp:txXfrm>
        <a:off x="3460357" y="223765"/>
        <a:ext cx="546213" cy="364141"/>
      </dsp:txXfrm>
    </dsp:sp>
    <dsp:sp modelId="{A2199658-E72A-4294-AFD3-6892981EEB12}">
      <dsp:nvSpPr>
        <dsp:cNvPr id="0" name=""/>
        <dsp:cNvSpPr/>
      </dsp:nvSpPr>
      <dsp:spPr>
        <a:xfrm>
          <a:off x="4097605"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NO</a:t>
          </a:r>
        </a:p>
      </dsp:txBody>
      <dsp:txXfrm>
        <a:off x="4279676" y="223765"/>
        <a:ext cx="546213" cy="364141"/>
      </dsp:txXfrm>
    </dsp:sp>
    <dsp:sp modelId="{F9C55CAF-C1A3-4EFD-AD93-3CBF7E30E2FA}">
      <dsp:nvSpPr>
        <dsp:cNvPr id="0" name=""/>
        <dsp:cNvSpPr/>
      </dsp:nvSpPr>
      <dsp:spPr>
        <a:xfrm>
          <a:off x="4916924"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Supporto Tecnico</a:t>
          </a:r>
        </a:p>
      </dsp:txBody>
      <dsp:txXfrm>
        <a:off x="5098995" y="223765"/>
        <a:ext cx="546213" cy="364141"/>
      </dsp:txXfrm>
    </dsp:sp>
    <dsp:sp modelId="{8CED6B9D-804A-4009-A04D-D699125D11F0}">
      <dsp:nvSpPr>
        <dsp:cNvPr id="0" name=""/>
        <dsp:cNvSpPr/>
      </dsp:nvSpPr>
      <dsp:spPr>
        <a:xfrm>
          <a:off x="5736242"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Ispezione Opere D’arte</a:t>
          </a:r>
        </a:p>
      </dsp:txBody>
      <dsp:txXfrm>
        <a:off x="5918313" y="223765"/>
        <a:ext cx="546213" cy="364141"/>
      </dsp:txXfrm>
    </dsp:sp>
    <dsp:sp modelId="{0A5AB2D9-0A33-47A4-83C2-3990E2018CD9}">
      <dsp:nvSpPr>
        <dsp:cNvPr id="0" name=""/>
        <dsp:cNvSpPr/>
      </dsp:nvSpPr>
      <dsp:spPr>
        <a:xfrm>
          <a:off x="6555561"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Interventi Rilevanti</a:t>
          </a:r>
        </a:p>
      </dsp:txBody>
      <dsp:txXfrm>
        <a:off x="6737632" y="223765"/>
        <a:ext cx="546213" cy="364141"/>
      </dsp:txXfrm>
    </dsp:sp>
    <dsp:sp modelId="{F2510710-7BA2-44B7-8AA7-1347717B483B}">
      <dsp:nvSpPr>
        <dsp:cNvPr id="0" name=""/>
        <dsp:cNvSpPr/>
      </dsp:nvSpPr>
      <dsp:spPr>
        <a:xfrm>
          <a:off x="7374880"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Pagamenti</a:t>
          </a:r>
        </a:p>
      </dsp:txBody>
      <dsp:txXfrm>
        <a:off x="7556951" y="223765"/>
        <a:ext cx="546213" cy="364141"/>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031506-3856-48AD-BFC1-89D9660F7FF7}">
      <dsp:nvSpPr>
        <dsp:cNvPr id="0" name=""/>
        <dsp:cNvSpPr/>
      </dsp:nvSpPr>
      <dsp:spPr>
        <a:xfrm>
          <a:off x="1011" y="223765"/>
          <a:ext cx="910354" cy="364141"/>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Rete viaria complessiva</a:t>
          </a:r>
        </a:p>
      </dsp:txBody>
      <dsp:txXfrm>
        <a:off x="183082" y="223765"/>
        <a:ext cx="546213" cy="364141"/>
      </dsp:txXfrm>
    </dsp:sp>
    <dsp:sp modelId="{6C62160D-9EC9-4B84-8EFD-9C3E10FC055A}">
      <dsp:nvSpPr>
        <dsp:cNvPr id="0" name=""/>
        <dsp:cNvSpPr/>
      </dsp:nvSpPr>
      <dsp:spPr>
        <a:xfrm>
          <a:off x="820330" y="223765"/>
          <a:ext cx="910354" cy="364141"/>
        </a:xfrm>
        <a:prstGeom prst="chevron">
          <a:avLst/>
        </a:prstGeom>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Risorse</a:t>
          </a:r>
        </a:p>
      </dsp:txBody>
      <dsp:txXfrm>
        <a:off x="1002401" y="223765"/>
        <a:ext cx="546213" cy="364141"/>
      </dsp:txXfrm>
    </dsp:sp>
    <dsp:sp modelId="{636F50A3-8EFE-4C08-B6BE-284B03274F0B}">
      <dsp:nvSpPr>
        <dsp:cNvPr id="0" name=""/>
        <dsp:cNvSpPr/>
      </dsp:nvSpPr>
      <dsp:spPr>
        <a:xfrm>
          <a:off x="1639649" y="223765"/>
          <a:ext cx="910354" cy="364141"/>
        </a:xfrm>
        <a:prstGeom prst="chevron">
          <a:avLst/>
        </a:prstGeom>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err="1"/>
            <a:t>soc</a:t>
          </a:r>
          <a:endParaRPr lang="it-IT" sz="800" kern="1200" dirty="0"/>
        </a:p>
      </dsp:txBody>
      <dsp:txXfrm>
        <a:off x="1821720" y="223765"/>
        <a:ext cx="546213" cy="364141"/>
      </dsp:txXfrm>
    </dsp:sp>
    <dsp:sp modelId="{6BB9B9CD-B911-4E33-8045-BE6A8D7C5B89}">
      <dsp:nvSpPr>
        <dsp:cNvPr id="0" name=""/>
        <dsp:cNvSpPr/>
      </dsp:nvSpPr>
      <dsp:spPr>
        <a:xfrm>
          <a:off x="2458967" y="223765"/>
          <a:ext cx="910354" cy="364141"/>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Affidamenti</a:t>
          </a:r>
        </a:p>
      </dsp:txBody>
      <dsp:txXfrm>
        <a:off x="2641038" y="223765"/>
        <a:ext cx="546213" cy="364141"/>
      </dsp:txXfrm>
    </dsp:sp>
    <dsp:sp modelId="{A29D7AF6-34C9-459D-B160-0F8E7686BA2B}">
      <dsp:nvSpPr>
        <dsp:cNvPr id="0" name=""/>
        <dsp:cNvSpPr/>
      </dsp:nvSpPr>
      <dsp:spPr>
        <a:xfrm>
          <a:off x="3278286" y="223765"/>
          <a:ext cx="910354" cy="364141"/>
        </a:xfrm>
        <a:prstGeom prst="chevron">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MP</a:t>
          </a:r>
        </a:p>
      </dsp:txBody>
      <dsp:txXfrm>
        <a:off x="3460357" y="223765"/>
        <a:ext cx="546213" cy="364141"/>
      </dsp:txXfrm>
    </dsp:sp>
    <dsp:sp modelId="{A2199658-E72A-4294-AFD3-6892981EEB12}">
      <dsp:nvSpPr>
        <dsp:cNvPr id="0" name=""/>
        <dsp:cNvSpPr/>
      </dsp:nvSpPr>
      <dsp:spPr>
        <a:xfrm>
          <a:off x="4097605"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NO</a:t>
          </a:r>
        </a:p>
      </dsp:txBody>
      <dsp:txXfrm>
        <a:off x="4279676" y="223765"/>
        <a:ext cx="546213" cy="364141"/>
      </dsp:txXfrm>
    </dsp:sp>
    <dsp:sp modelId="{F9C55CAF-C1A3-4EFD-AD93-3CBF7E30E2FA}">
      <dsp:nvSpPr>
        <dsp:cNvPr id="0" name=""/>
        <dsp:cNvSpPr/>
      </dsp:nvSpPr>
      <dsp:spPr>
        <a:xfrm>
          <a:off x="4916924"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Supporto Tecnico</a:t>
          </a:r>
        </a:p>
      </dsp:txBody>
      <dsp:txXfrm>
        <a:off x="5098995" y="223765"/>
        <a:ext cx="546213" cy="364141"/>
      </dsp:txXfrm>
    </dsp:sp>
    <dsp:sp modelId="{8CED6B9D-804A-4009-A04D-D699125D11F0}">
      <dsp:nvSpPr>
        <dsp:cNvPr id="0" name=""/>
        <dsp:cNvSpPr/>
      </dsp:nvSpPr>
      <dsp:spPr>
        <a:xfrm>
          <a:off x="5736242"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Ispezione Opere D’arte</a:t>
          </a:r>
        </a:p>
      </dsp:txBody>
      <dsp:txXfrm>
        <a:off x="5918313" y="223765"/>
        <a:ext cx="546213" cy="364141"/>
      </dsp:txXfrm>
    </dsp:sp>
    <dsp:sp modelId="{0A5AB2D9-0A33-47A4-83C2-3990E2018CD9}">
      <dsp:nvSpPr>
        <dsp:cNvPr id="0" name=""/>
        <dsp:cNvSpPr/>
      </dsp:nvSpPr>
      <dsp:spPr>
        <a:xfrm>
          <a:off x="6555561"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Interventi Rilevanti</a:t>
          </a:r>
        </a:p>
      </dsp:txBody>
      <dsp:txXfrm>
        <a:off x="6737632" y="223765"/>
        <a:ext cx="546213" cy="364141"/>
      </dsp:txXfrm>
    </dsp:sp>
    <dsp:sp modelId="{F2510710-7BA2-44B7-8AA7-1347717B483B}">
      <dsp:nvSpPr>
        <dsp:cNvPr id="0" name=""/>
        <dsp:cNvSpPr/>
      </dsp:nvSpPr>
      <dsp:spPr>
        <a:xfrm>
          <a:off x="7374880"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Pagamenti</a:t>
          </a:r>
        </a:p>
      </dsp:txBody>
      <dsp:txXfrm>
        <a:off x="7556951" y="223765"/>
        <a:ext cx="546213" cy="364141"/>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031506-3856-48AD-BFC1-89D9660F7FF7}">
      <dsp:nvSpPr>
        <dsp:cNvPr id="0" name=""/>
        <dsp:cNvSpPr/>
      </dsp:nvSpPr>
      <dsp:spPr>
        <a:xfrm>
          <a:off x="1011" y="223765"/>
          <a:ext cx="910354" cy="364141"/>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Rete viaria complessiva</a:t>
          </a:r>
        </a:p>
      </dsp:txBody>
      <dsp:txXfrm>
        <a:off x="183082" y="223765"/>
        <a:ext cx="546213" cy="364141"/>
      </dsp:txXfrm>
    </dsp:sp>
    <dsp:sp modelId="{6C62160D-9EC9-4B84-8EFD-9C3E10FC055A}">
      <dsp:nvSpPr>
        <dsp:cNvPr id="0" name=""/>
        <dsp:cNvSpPr/>
      </dsp:nvSpPr>
      <dsp:spPr>
        <a:xfrm>
          <a:off x="820330" y="223765"/>
          <a:ext cx="910354" cy="364141"/>
        </a:xfrm>
        <a:prstGeom prst="chevron">
          <a:avLst/>
        </a:prstGeom>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Risorse</a:t>
          </a:r>
        </a:p>
      </dsp:txBody>
      <dsp:txXfrm>
        <a:off x="1002401" y="223765"/>
        <a:ext cx="546213" cy="364141"/>
      </dsp:txXfrm>
    </dsp:sp>
    <dsp:sp modelId="{636F50A3-8EFE-4C08-B6BE-284B03274F0B}">
      <dsp:nvSpPr>
        <dsp:cNvPr id="0" name=""/>
        <dsp:cNvSpPr/>
      </dsp:nvSpPr>
      <dsp:spPr>
        <a:xfrm>
          <a:off x="1639649" y="223765"/>
          <a:ext cx="910354" cy="364141"/>
        </a:xfrm>
        <a:prstGeom prst="chevron">
          <a:avLst/>
        </a:prstGeom>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err="1"/>
            <a:t>soc</a:t>
          </a:r>
          <a:endParaRPr lang="it-IT" sz="800" kern="1200" dirty="0"/>
        </a:p>
      </dsp:txBody>
      <dsp:txXfrm>
        <a:off x="1821720" y="223765"/>
        <a:ext cx="546213" cy="364141"/>
      </dsp:txXfrm>
    </dsp:sp>
    <dsp:sp modelId="{6BB9B9CD-B911-4E33-8045-BE6A8D7C5B89}">
      <dsp:nvSpPr>
        <dsp:cNvPr id="0" name=""/>
        <dsp:cNvSpPr/>
      </dsp:nvSpPr>
      <dsp:spPr>
        <a:xfrm>
          <a:off x="2458967" y="223765"/>
          <a:ext cx="910354" cy="364141"/>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Affidamenti</a:t>
          </a:r>
        </a:p>
      </dsp:txBody>
      <dsp:txXfrm>
        <a:off x="2641038" y="223765"/>
        <a:ext cx="546213" cy="364141"/>
      </dsp:txXfrm>
    </dsp:sp>
    <dsp:sp modelId="{A29D7AF6-34C9-459D-B160-0F8E7686BA2B}">
      <dsp:nvSpPr>
        <dsp:cNvPr id="0" name=""/>
        <dsp:cNvSpPr/>
      </dsp:nvSpPr>
      <dsp:spPr>
        <a:xfrm>
          <a:off x="3278286" y="223765"/>
          <a:ext cx="910354" cy="364141"/>
        </a:xfrm>
        <a:prstGeom prst="chevron">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MP</a:t>
          </a:r>
        </a:p>
      </dsp:txBody>
      <dsp:txXfrm>
        <a:off x="3460357" y="223765"/>
        <a:ext cx="546213" cy="364141"/>
      </dsp:txXfrm>
    </dsp:sp>
    <dsp:sp modelId="{A2199658-E72A-4294-AFD3-6892981EEB12}">
      <dsp:nvSpPr>
        <dsp:cNvPr id="0" name=""/>
        <dsp:cNvSpPr/>
      </dsp:nvSpPr>
      <dsp:spPr>
        <a:xfrm>
          <a:off x="4097605"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NO</a:t>
          </a:r>
        </a:p>
      </dsp:txBody>
      <dsp:txXfrm>
        <a:off x="4279676" y="223765"/>
        <a:ext cx="546213" cy="364141"/>
      </dsp:txXfrm>
    </dsp:sp>
    <dsp:sp modelId="{F9C55CAF-C1A3-4EFD-AD93-3CBF7E30E2FA}">
      <dsp:nvSpPr>
        <dsp:cNvPr id="0" name=""/>
        <dsp:cNvSpPr/>
      </dsp:nvSpPr>
      <dsp:spPr>
        <a:xfrm>
          <a:off x="4916924"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Supporto Tecnico</a:t>
          </a:r>
        </a:p>
      </dsp:txBody>
      <dsp:txXfrm>
        <a:off x="5098995" y="223765"/>
        <a:ext cx="546213" cy="364141"/>
      </dsp:txXfrm>
    </dsp:sp>
    <dsp:sp modelId="{8CED6B9D-804A-4009-A04D-D699125D11F0}">
      <dsp:nvSpPr>
        <dsp:cNvPr id="0" name=""/>
        <dsp:cNvSpPr/>
      </dsp:nvSpPr>
      <dsp:spPr>
        <a:xfrm>
          <a:off x="5736242"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Ispezione Opere D’arte</a:t>
          </a:r>
        </a:p>
      </dsp:txBody>
      <dsp:txXfrm>
        <a:off x="5918313" y="223765"/>
        <a:ext cx="546213" cy="364141"/>
      </dsp:txXfrm>
    </dsp:sp>
    <dsp:sp modelId="{0A5AB2D9-0A33-47A4-83C2-3990E2018CD9}">
      <dsp:nvSpPr>
        <dsp:cNvPr id="0" name=""/>
        <dsp:cNvSpPr/>
      </dsp:nvSpPr>
      <dsp:spPr>
        <a:xfrm>
          <a:off x="6555561"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Interventi Rilevanti</a:t>
          </a:r>
        </a:p>
      </dsp:txBody>
      <dsp:txXfrm>
        <a:off x="6737632" y="223765"/>
        <a:ext cx="546213" cy="364141"/>
      </dsp:txXfrm>
    </dsp:sp>
    <dsp:sp modelId="{F2510710-7BA2-44B7-8AA7-1347717B483B}">
      <dsp:nvSpPr>
        <dsp:cNvPr id="0" name=""/>
        <dsp:cNvSpPr/>
      </dsp:nvSpPr>
      <dsp:spPr>
        <a:xfrm>
          <a:off x="7374880"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Pagamenti</a:t>
          </a:r>
        </a:p>
      </dsp:txBody>
      <dsp:txXfrm>
        <a:off x="7556951" y="223765"/>
        <a:ext cx="546213" cy="364141"/>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031506-3856-48AD-BFC1-89D9660F7FF7}">
      <dsp:nvSpPr>
        <dsp:cNvPr id="0" name=""/>
        <dsp:cNvSpPr/>
      </dsp:nvSpPr>
      <dsp:spPr>
        <a:xfrm>
          <a:off x="1011" y="223765"/>
          <a:ext cx="910354" cy="364141"/>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Rete viaria complessiva</a:t>
          </a:r>
        </a:p>
      </dsp:txBody>
      <dsp:txXfrm>
        <a:off x="183082" y="223765"/>
        <a:ext cx="546213" cy="364141"/>
      </dsp:txXfrm>
    </dsp:sp>
    <dsp:sp modelId="{6C62160D-9EC9-4B84-8EFD-9C3E10FC055A}">
      <dsp:nvSpPr>
        <dsp:cNvPr id="0" name=""/>
        <dsp:cNvSpPr/>
      </dsp:nvSpPr>
      <dsp:spPr>
        <a:xfrm>
          <a:off x="820330" y="223765"/>
          <a:ext cx="910354" cy="364141"/>
        </a:xfrm>
        <a:prstGeom prst="chevron">
          <a:avLst/>
        </a:prstGeom>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Risorse</a:t>
          </a:r>
        </a:p>
      </dsp:txBody>
      <dsp:txXfrm>
        <a:off x="1002401" y="223765"/>
        <a:ext cx="546213" cy="364141"/>
      </dsp:txXfrm>
    </dsp:sp>
    <dsp:sp modelId="{636F50A3-8EFE-4C08-B6BE-284B03274F0B}">
      <dsp:nvSpPr>
        <dsp:cNvPr id="0" name=""/>
        <dsp:cNvSpPr/>
      </dsp:nvSpPr>
      <dsp:spPr>
        <a:xfrm>
          <a:off x="1639649" y="223765"/>
          <a:ext cx="910354" cy="364141"/>
        </a:xfrm>
        <a:prstGeom prst="chevron">
          <a:avLst/>
        </a:prstGeom>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err="1"/>
            <a:t>soc</a:t>
          </a:r>
          <a:endParaRPr lang="it-IT" sz="800" kern="1200" dirty="0"/>
        </a:p>
      </dsp:txBody>
      <dsp:txXfrm>
        <a:off x="1821720" y="223765"/>
        <a:ext cx="546213" cy="364141"/>
      </dsp:txXfrm>
    </dsp:sp>
    <dsp:sp modelId="{6BB9B9CD-B911-4E33-8045-BE6A8D7C5B89}">
      <dsp:nvSpPr>
        <dsp:cNvPr id="0" name=""/>
        <dsp:cNvSpPr/>
      </dsp:nvSpPr>
      <dsp:spPr>
        <a:xfrm>
          <a:off x="2458967" y="223765"/>
          <a:ext cx="910354" cy="364141"/>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Affidamenti</a:t>
          </a:r>
        </a:p>
      </dsp:txBody>
      <dsp:txXfrm>
        <a:off x="2641038" y="223765"/>
        <a:ext cx="546213" cy="364141"/>
      </dsp:txXfrm>
    </dsp:sp>
    <dsp:sp modelId="{A29D7AF6-34C9-459D-B160-0F8E7686BA2B}">
      <dsp:nvSpPr>
        <dsp:cNvPr id="0" name=""/>
        <dsp:cNvSpPr/>
      </dsp:nvSpPr>
      <dsp:spPr>
        <a:xfrm>
          <a:off x="3278286"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MP</a:t>
          </a:r>
        </a:p>
      </dsp:txBody>
      <dsp:txXfrm>
        <a:off x="3460357" y="223765"/>
        <a:ext cx="546213" cy="364141"/>
      </dsp:txXfrm>
    </dsp:sp>
    <dsp:sp modelId="{A2199658-E72A-4294-AFD3-6892981EEB12}">
      <dsp:nvSpPr>
        <dsp:cNvPr id="0" name=""/>
        <dsp:cNvSpPr/>
      </dsp:nvSpPr>
      <dsp:spPr>
        <a:xfrm>
          <a:off x="4097605" y="223765"/>
          <a:ext cx="910354" cy="364141"/>
        </a:xfrm>
        <a:prstGeom prst="chevron">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NO</a:t>
          </a:r>
        </a:p>
      </dsp:txBody>
      <dsp:txXfrm>
        <a:off x="4279676" y="223765"/>
        <a:ext cx="546213" cy="364141"/>
      </dsp:txXfrm>
    </dsp:sp>
    <dsp:sp modelId="{F9C55CAF-C1A3-4EFD-AD93-3CBF7E30E2FA}">
      <dsp:nvSpPr>
        <dsp:cNvPr id="0" name=""/>
        <dsp:cNvSpPr/>
      </dsp:nvSpPr>
      <dsp:spPr>
        <a:xfrm>
          <a:off x="4916924"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Supporto Tecnico</a:t>
          </a:r>
        </a:p>
      </dsp:txBody>
      <dsp:txXfrm>
        <a:off x="5098995" y="223765"/>
        <a:ext cx="546213" cy="364141"/>
      </dsp:txXfrm>
    </dsp:sp>
    <dsp:sp modelId="{8CED6B9D-804A-4009-A04D-D699125D11F0}">
      <dsp:nvSpPr>
        <dsp:cNvPr id="0" name=""/>
        <dsp:cNvSpPr/>
      </dsp:nvSpPr>
      <dsp:spPr>
        <a:xfrm>
          <a:off x="5736242"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Ispezione Opere D’arte</a:t>
          </a:r>
        </a:p>
      </dsp:txBody>
      <dsp:txXfrm>
        <a:off x="5918313" y="223765"/>
        <a:ext cx="546213" cy="364141"/>
      </dsp:txXfrm>
    </dsp:sp>
    <dsp:sp modelId="{0A5AB2D9-0A33-47A4-83C2-3990E2018CD9}">
      <dsp:nvSpPr>
        <dsp:cNvPr id="0" name=""/>
        <dsp:cNvSpPr/>
      </dsp:nvSpPr>
      <dsp:spPr>
        <a:xfrm>
          <a:off x="6555561"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Interventi Rilevanti</a:t>
          </a:r>
        </a:p>
      </dsp:txBody>
      <dsp:txXfrm>
        <a:off x="6737632" y="223765"/>
        <a:ext cx="546213" cy="364141"/>
      </dsp:txXfrm>
    </dsp:sp>
    <dsp:sp modelId="{F2510710-7BA2-44B7-8AA7-1347717B483B}">
      <dsp:nvSpPr>
        <dsp:cNvPr id="0" name=""/>
        <dsp:cNvSpPr/>
      </dsp:nvSpPr>
      <dsp:spPr>
        <a:xfrm>
          <a:off x="7374880"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Pagamenti</a:t>
          </a:r>
        </a:p>
      </dsp:txBody>
      <dsp:txXfrm>
        <a:off x="7556951" y="223765"/>
        <a:ext cx="546213" cy="364141"/>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031506-3856-48AD-BFC1-89D9660F7FF7}">
      <dsp:nvSpPr>
        <dsp:cNvPr id="0" name=""/>
        <dsp:cNvSpPr/>
      </dsp:nvSpPr>
      <dsp:spPr>
        <a:xfrm>
          <a:off x="1011" y="223765"/>
          <a:ext cx="910354" cy="364141"/>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Rete viaria complessiva</a:t>
          </a:r>
        </a:p>
      </dsp:txBody>
      <dsp:txXfrm>
        <a:off x="183082" y="223765"/>
        <a:ext cx="546213" cy="364141"/>
      </dsp:txXfrm>
    </dsp:sp>
    <dsp:sp modelId="{6C62160D-9EC9-4B84-8EFD-9C3E10FC055A}">
      <dsp:nvSpPr>
        <dsp:cNvPr id="0" name=""/>
        <dsp:cNvSpPr/>
      </dsp:nvSpPr>
      <dsp:spPr>
        <a:xfrm>
          <a:off x="820330" y="223765"/>
          <a:ext cx="910354" cy="364141"/>
        </a:xfrm>
        <a:prstGeom prst="chevron">
          <a:avLst/>
        </a:prstGeom>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Risorse</a:t>
          </a:r>
        </a:p>
      </dsp:txBody>
      <dsp:txXfrm>
        <a:off x="1002401" y="223765"/>
        <a:ext cx="546213" cy="364141"/>
      </dsp:txXfrm>
    </dsp:sp>
    <dsp:sp modelId="{636F50A3-8EFE-4C08-B6BE-284B03274F0B}">
      <dsp:nvSpPr>
        <dsp:cNvPr id="0" name=""/>
        <dsp:cNvSpPr/>
      </dsp:nvSpPr>
      <dsp:spPr>
        <a:xfrm>
          <a:off x="1639649" y="223765"/>
          <a:ext cx="910354" cy="364141"/>
        </a:xfrm>
        <a:prstGeom prst="chevron">
          <a:avLst/>
        </a:prstGeom>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err="1"/>
            <a:t>soc</a:t>
          </a:r>
          <a:endParaRPr lang="it-IT" sz="800" kern="1200" dirty="0"/>
        </a:p>
      </dsp:txBody>
      <dsp:txXfrm>
        <a:off x="1821720" y="223765"/>
        <a:ext cx="546213" cy="364141"/>
      </dsp:txXfrm>
    </dsp:sp>
    <dsp:sp modelId="{6BB9B9CD-B911-4E33-8045-BE6A8D7C5B89}">
      <dsp:nvSpPr>
        <dsp:cNvPr id="0" name=""/>
        <dsp:cNvSpPr/>
      </dsp:nvSpPr>
      <dsp:spPr>
        <a:xfrm>
          <a:off x="2458967" y="223765"/>
          <a:ext cx="910354" cy="364141"/>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Affidamenti</a:t>
          </a:r>
        </a:p>
      </dsp:txBody>
      <dsp:txXfrm>
        <a:off x="2641038" y="223765"/>
        <a:ext cx="546213" cy="364141"/>
      </dsp:txXfrm>
    </dsp:sp>
    <dsp:sp modelId="{A29D7AF6-34C9-459D-B160-0F8E7686BA2B}">
      <dsp:nvSpPr>
        <dsp:cNvPr id="0" name=""/>
        <dsp:cNvSpPr/>
      </dsp:nvSpPr>
      <dsp:spPr>
        <a:xfrm>
          <a:off x="3278286"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MP</a:t>
          </a:r>
        </a:p>
      </dsp:txBody>
      <dsp:txXfrm>
        <a:off x="3460357" y="223765"/>
        <a:ext cx="546213" cy="364141"/>
      </dsp:txXfrm>
    </dsp:sp>
    <dsp:sp modelId="{A2199658-E72A-4294-AFD3-6892981EEB12}">
      <dsp:nvSpPr>
        <dsp:cNvPr id="0" name=""/>
        <dsp:cNvSpPr/>
      </dsp:nvSpPr>
      <dsp:spPr>
        <a:xfrm>
          <a:off x="4097605" y="223765"/>
          <a:ext cx="910354" cy="364141"/>
        </a:xfrm>
        <a:prstGeom prst="chevron">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NO</a:t>
          </a:r>
        </a:p>
      </dsp:txBody>
      <dsp:txXfrm>
        <a:off x="4279676" y="223765"/>
        <a:ext cx="546213" cy="364141"/>
      </dsp:txXfrm>
    </dsp:sp>
    <dsp:sp modelId="{F9C55CAF-C1A3-4EFD-AD93-3CBF7E30E2FA}">
      <dsp:nvSpPr>
        <dsp:cNvPr id="0" name=""/>
        <dsp:cNvSpPr/>
      </dsp:nvSpPr>
      <dsp:spPr>
        <a:xfrm>
          <a:off x="4916924"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Supporto Tecnico</a:t>
          </a:r>
        </a:p>
      </dsp:txBody>
      <dsp:txXfrm>
        <a:off x="5098995" y="223765"/>
        <a:ext cx="546213" cy="364141"/>
      </dsp:txXfrm>
    </dsp:sp>
    <dsp:sp modelId="{8CED6B9D-804A-4009-A04D-D699125D11F0}">
      <dsp:nvSpPr>
        <dsp:cNvPr id="0" name=""/>
        <dsp:cNvSpPr/>
      </dsp:nvSpPr>
      <dsp:spPr>
        <a:xfrm>
          <a:off x="5736242"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Ispezione Opere D’arte</a:t>
          </a:r>
        </a:p>
      </dsp:txBody>
      <dsp:txXfrm>
        <a:off x="5918313" y="223765"/>
        <a:ext cx="546213" cy="364141"/>
      </dsp:txXfrm>
    </dsp:sp>
    <dsp:sp modelId="{0A5AB2D9-0A33-47A4-83C2-3990E2018CD9}">
      <dsp:nvSpPr>
        <dsp:cNvPr id="0" name=""/>
        <dsp:cNvSpPr/>
      </dsp:nvSpPr>
      <dsp:spPr>
        <a:xfrm>
          <a:off x="6555561"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Interventi Rilevanti</a:t>
          </a:r>
        </a:p>
      </dsp:txBody>
      <dsp:txXfrm>
        <a:off x="6737632" y="223765"/>
        <a:ext cx="546213" cy="364141"/>
      </dsp:txXfrm>
    </dsp:sp>
    <dsp:sp modelId="{F2510710-7BA2-44B7-8AA7-1347717B483B}">
      <dsp:nvSpPr>
        <dsp:cNvPr id="0" name=""/>
        <dsp:cNvSpPr/>
      </dsp:nvSpPr>
      <dsp:spPr>
        <a:xfrm>
          <a:off x="7374880"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Pagamenti</a:t>
          </a:r>
        </a:p>
      </dsp:txBody>
      <dsp:txXfrm>
        <a:off x="7556951" y="223765"/>
        <a:ext cx="546213" cy="364141"/>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031506-3856-48AD-BFC1-89D9660F7FF7}">
      <dsp:nvSpPr>
        <dsp:cNvPr id="0" name=""/>
        <dsp:cNvSpPr/>
      </dsp:nvSpPr>
      <dsp:spPr>
        <a:xfrm>
          <a:off x="1011" y="223765"/>
          <a:ext cx="910354" cy="364141"/>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Rete viaria complessiva</a:t>
          </a:r>
        </a:p>
      </dsp:txBody>
      <dsp:txXfrm>
        <a:off x="183082" y="223765"/>
        <a:ext cx="546213" cy="364141"/>
      </dsp:txXfrm>
    </dsp:sp>
    <dsp:sp modelId="{6C62160D-9EC9-4B84-8EFD-9C3E10FC055A}">
      <dsp:nvSpPr>
        <dsp:cNvPr id="0" name=""/>
        <dsp:cNvSpPr/>
      </dsp:nvSpPr>
      <dsp:spPr>
        <a:xfrm>
          <a:off x="820330" y="223765"/>
          <a:ext cx="910354" cy="364141"/>
        </a:xfrm>
        <a:prstGeom prst="chevron">
          <a:avLst/>
        </a:prstGeom>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Risorse</a:t>
          </a:r>
        </a:p>
      </dsp:txBody>
      <dsp:txXfrm>
        <a:off x="1002401" y="223765"/>
        <a:ext cx="546213" cy="364141"/>
      </dsp:txXfrm>
    </dsp:sp>
    <dsp:sp modelId="{636F50A3-8EFE-4C08-B6BE-284B03274F0B}">
      <dsp:nvSpPr>
        <dsp:cNvPr id="0" name=""/>
        <dsp:cNvSpPr/>
      </dsp:nvSpPr>
      <dsp:spPr>
        <a:xfrm>
          <a:off x="1639649" y="223765"/>
          <a:ext cx="910354" cy="364141"/>
        </a:xfrm>
        <a:prstGeom prst="chevron">
          <a:avLst/>
        </a:prstGeom>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err="1"/>
            <a:t>soc</a:t>
          </a:r>
          <a:endParaRPr lang="it-IT" sz="800" kern="1200" dirty="0"/>
        </a:p>
      </dsp:txBody>
      <dsp:txXfrm>
        <a:off x="1821720" y="223765"/>
        <a:ext cx="546213" cy="364141"/>
      </dsp:txXfrm>
    </dsp:sp>
    <dsp:sp modelId="{6BB9B9CD-B911-4E33-8045-BE6A8D7C5B89}">
      <dsp:nvSpPr>
        <dsp:cNvPr id="0" name=""/>
        <dsp:cNvSpPr/>
      </dsp:nvSpPr>
      <dsp:spPr>
        <a:xfrm>
          <a:off x="2458967" y="223765"/>
          <a:ext cx="910354" cy="364141"/>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Affidamenti</a:t>
          </a:r>
        </a:p>
      </dsp:txBody>
      <dsp:txXfrm>
        <a:off x="2641038" y="223765"/>
        <a:ext cx="546213" cy="364141"/>
      </dsp:txXfrm>
    </dsp:sp>
    <dsp:sp modelId="{A29D7AF6-34C9-459D-B160-0F8E7686BA2B}">
      <dsp:nvSpPr>
        <dsp:cNvPr id="0" name=""/>
        <dsp:cNvSpPr/>
      </dsp:nvSpPr>
      <dsp:spPr>
        <a:xfrm>
          <a:off x="3278286"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MP</a:t>
          </a:r>
        </a:p>
      </dsp:txBody>
      <dsp:txXfrm>
        <a:off x="3460357" y="223765"/>
        <a:ext cx="546213" cy="364141"/>
      </dsp:txXfrm>
    </dsp:sp>
    <dsp:sp modelId="{A2199658-E72A-4294-AFD3-6892981EEB12}">
      <dsp:nvSpPr>
        <dsp:cNvPr id="0" name=""/>
        <dsp:cNvSpPr/>
      </dsp:nvSpPr>
      <dsp:spPr>
        <a:xfrm>
          <a:off x="4097605" y="223765"/>
          <a:ext cx="910354" cy="364141"/>
        </a:xfrm>
        <a:prstGeom prst="chevron">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NO</a:t>
          </a:r>
        </a:p>
      </dsp:txBody>
      <dsp:txXfrm>
        <a:off x="4279676" y="223765"/>
        <a:ext cx="546213" cy="364141"/>
      </dsp:txXfrm>
    </dsp:sp>
    <dsp:sp modelId="{F9C55CAF-C1A3-4EFD-AD93-3CBF7E30E2FA}">
      <dsp:nvSpPr>
        <dsp:cNvPr id="0" name=""/>
        <dsp:cNvSpPr/>
      </dsp:nvSpPr>
      <dsp:spPr>
        <a:xfrm>
          <a:off x="4916924"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Supporto Tecnico</a:t>
          </a:r>
        </a:p>
      </dsp:txBody>
      <dsp:txXfrm>
        <a:off x="5098995" y="223765"/>
        <a:ext cx="546213" cy="364141"/>
      </dsp:txXfrm>
    </dsp:sp>
    <dsp:sp modelId="{8CED6B9D-804A-4009-A04D-D699125D11F0}">
      <dsp:nvSpPr>
        <dsp:cNvPr id="0" name=""/>
        <dsp:cNvSpPr/>
      </dsp:nvSpPr>
      <dsp:spPr>
        <a:xfrm>
          <a:off x="5736242"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Ispezione Opere D’arte</a:t>
          </a:r>
        </a:p>
      </dsp:txBody>
      <dsp:txXfrm>
        <a:off x="5918313" y="223765"/>
        <a:ext cx="546213" cy="364141"/>
      </dsp:txXfrm>
    </dsp:sp>
    <dsp:sp modelId="{0A5AB2D9-0A33-47A4-83C2-3990E2018CD9}">
      <dsp:nvSpPr>
        <dsp:cNvPr id="0" name=""/>
        <dsp:cNvSpPr/>
      </dsp:nvSpPr>
      <dsp:spPr>
        <a:xfrm>
          <a:off x="6555561"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Interventi Rilevanti</a:t>
          </a:r>
        </a:p>
      </dsp:txBody>
      <dsp:txXfrm>
        <a:off x="6737632" y="223765"/>
        <a:ext cx="546213" cy="364141"/>
      </dsp:txXfrm>
    </dsp:sp>
    <dsp:sp modelId="{F2510710-7BA2-44B7-8AA7-1347717B483B}">
      <dsp:nvSpPr>
        <dsp:cNvPr id="0" name=""/>
        <dsp:cNvSpPr/>
      </dsp:nvSpPr>
      <dsp:spPr>
        <a:xfrm>
          <a:off x="7374880"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Pagamenti</a:t>
          </a:r>
        </a:p>
      </dsp:txBody>
      <dsp:txXfrm>
        <a:off x="7556951" y="223765"/>
        <a:ext cx="546213" cy="364141"/>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031506-3856-48AD-BFC1-89D9660F7FF7}">
      <dsp:nvSpPr>
        <dsp:cNvPr id="0" name=""/>
        <dsp:cNvSpPr/>
      </dsp:nvSpPr>
      <dsp:spPr>
        <a:xfrm>
          <a:off x="1011" y="223765"/>
          <a:ext cx="910354" cy="364141"/>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Rete viaria complessiva</a:t>
          </a:r>
        </a:p>
      </dsp:txBody>
      <dsp:txXfrm>
        <a:off x="183082" y="223765"/>
        <a:ext cx="546213" cy="364141"/>
      </dsp:txXfrm>
    </dsp:sp>
    <dsp:sp modelId="{6C62160D-9EC9-4B84-8EFD-9C3E10FC055A}">
      <dsp:nvSpPr>
        <dsp:cNvPr id="0" name=""/>
        <dsp:cNvSpPr/>
      </dsp:nvSpPr>
      <dsp:spPr>
        <a:xfrm>
          <a:off x="820330" y="223765"/>
          <a:ext cx="910354" cy="364141"/>
        </a:xfrm>
        <a:prstGeom prst="chevron">
          <a:avLst/>
        </a:prstGeom>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Risorse</a:t>
          </a:r>
        </a:p>
      </dsp:txBody>
      <dsp:txXfrm>
        <a:off x="1002401" y="223765"/>
        <a:ext cx="546213" cy="364141"/>
      </dsp:txXfrm>
    </dsp:sp>
    <dsp:sp modelId="{636F50A3-8EFE-4C08-B6BE-284B03274F0B}">
      <dsp:nvSpPr>
        <dsp:cNvPr id="0" name=""/>
        <dsp:cNvSpPr/>
      </dsp:nvSpPr>
      <dsp:spPr>
        <a:xfrm>
          <a:off x="1639649" y="223765"/>
          <a:ext cx="910354" cy="364141"/>
        </a:xfrm>
        <a:prstGeom prst="chevron">
          <a:avLst/>
        </a:prstGeom>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err="1"/>
            <a:t>soc</a:t>
          </a:r>
          <a:endParaRPr lang="it-IT" sz="800" kern="1200" dirty="0"/>
        </a:p>
      </dsp:txBody>
      <dsp:txXfrm>
        <a:off x="1821720" y="223765"/>
        <a:ext cx="546213" cy="364141"/>
      </dsp:txXfrm>
    </dsp:sp>
    <dsp:sp modelId="{6BB9B9CD-B911-4E33-8045-BE6A8D7C5B89}">
      <dsp:nvSpPr>
        <dsp:cNvPr id="0" name=""/>
        <dsp:cNvSpPr/>
      </dsp:nvSpPr>
      <dsp:spPr>
        <a:xfrm>
          <a:off x="2458967" y="223765"/>
          <a:ext cx="910354" cy="364141"/>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Affidamenti</a:t>
          </a:r>
        </a:p>
      </dsp:txBody>
      <dsp:txXfrm>
        <a:off x="2641038" y="223765"/>
        <a:ext cx="546213" cy="364141"/>
      </dsp:txXfrm>
    </dsp:sp>
    <dsp:sp modelId="{A29D7AF6-34C9-459D-B160-0F8E7686BA2B}">
      <dsp:nvSpPr>
        <dsp:cNvPr id="0" name=""/>
        <dsp:cNvSpPr/>
      </dsp:nvSpPr>
      <dsp:spPr>
        <a:xfrm>
          <a:off x="3278286"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MP</a:t>
          </a:r>
        </a:p>
      </dsp:txBody>
      <dsp:txXfrm>
        <a:off x="3460357" y="223765"/>
        <a:ext cx="546213" cy="364141"/>
      </dsp:txXfrm>
    </dsp:sp>
    <dsp:sp modelId="{A2199658-E72A-4294-AFD3-6892981EEB12}">
      <dsp:nvSpPr>
        <dsp:cNvPr id="0" name=""/>
        <dsp:cNvSpPr/>
      </dsp:nvSpPr>
      <dsp:spPr>
        <a:xfrm>
          <a:off x="4097605" y="223765"/>
          <a:ext cx="910354" cy="364141"/>
        </a:xfrm>
        <a:prstGeom prst="chevron">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NO</a:t>
          </a:r>
        </a:p>
      </dsp:txBody>
      <dsp:txXfrm>
        <a:off x="4279676" y="223765"/>
        <a:ext cx="546213" cy="364141"/>
      </dsp:txXfrm>
    </dsp:sp>
    <dsp:sp modelId="{F9C55CAF-C1A3-4EFD-AD93-3CBF7E30E2FA}">
      <dsp:nvSpPr>
        <dsp:cNvPr id="0" name=""/>
        <dsp:cNvSpPr/>
      </dsp:nvSpPr>
      <dsp:spPr>
        <a:xfrm>
          <a:off x="4916924"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Supporto Tecnico</a:t>
          </a:r>
        </a:p>
      </dsp:txBody>
      <dsp:txXfrm>
        <a:off x="5098995" y="223765"/>
        <a:ext cx="546213" cy="364141"/>
      </dsp:txXfrm>
    </dsp:sp>
    <dsp:sp modelId="{8CED6B9D-804A-4009-A04D-D699125D11F0}">
      <dsp:nvSpPr>
        <dsp:cNvPr id="0" name=""/>
        <dsp:cNvSpPr/>
      </dsp:nvSpPr>
      <dsp:spPr>
        <a:xfrm>
          <a:off x="5736242"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Ispezione Opere D’arte</a:t>
          </a:r>
        </a:p>
      </dsp:txBody>
      <dsp:txXfrm>
        <a:off x="5918313" y="223765"/>
        <a:ext cx="546213" cy="364141"/>
      </dsp:txXfrm>
    </dsp:sp>
    <dsp:sp modelId="{0A5AB2D9-0A33-47A4-83C2-3990E2018CD9}">
      <dsp:nvSpPr>
        <dsp:cNvPr id="0" name=""/>
        <dsp:cNvSpPr/>
      </dsp:nvSpPr>
      <dsp:spPr>
        <a:xfrm>
          <a:off x="6555561"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Interventi Rilevanti</a:t>
          </a:r>
        </a:p>
      </dsp:txBody>
      <dsp:txXfrm>
        <a:off x="6737632" y="223765"/>
        <a:ext cx="546213" cy="364141"/>
      </dsp:txXfrm>
    </dsp:sp>
    <dsp:sp modelId="{F2510710-7BA2-44B7-8AA7-1347717B483B}">
      <dsp:nvSpPr>
        <dsp:cNvPr id="0" name=""/>
        <dsp:cNvSpPr/>
      </dsp:nvSpPr>
      <dsp:spPr>
        <a:xfrm>
          <a:off x="7374880"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Pagamenti</a:t>
          </a:r>
        </a:p>
      </dsp:txBody>
      <dsp:txXfrm>
        <a:off x="7556951" y="223765"/>
        <a:ext cx="546213" cy="364141"/>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031506-3856-48AD-BFC1-89D9660F7FF7}">
      <dsp:nvSpPr>
        <dsp:cNvPr id="0" name=""/>
        <dsp:cNvSpPr/>
      </dsp:nvSpPr>
      <dsp:spPr>
        <a:xfrm>
          <a:off x="1011" y="223765"/>
          <a:ext cx="910354" cy="364141"/>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Rete viaria complessiva</a:t>
          </a:r>
        </a:p>
      </dsp:txBody>
      <dsp:txXfrm>
        <a:off x="183082" y="223765"/>
        <a:ext cx="546213" cy="364141"/>
      </dsp:txXfrm>
    </dsp:sp>
    <dsp:sp modelId="{6C62160D-9EC9-4B84-8EFD-9C3E10FC055A}">
      <dsp:nvSpPr>
        <dsp:cNvPr id="0" name=""/>
        <dsp:cNvSpPr/>
      </dsp:nvSpPr>
      <dsp:spPr>
        <a:xfrm>
          <a:off x="820330" y="223765"/>
          <a:ext cx="910354" cy="364141"/>
        </a:xfrm>
        <a:prstGeom prst="chevron">
          <a:avLst/>
        </a:prstGeom>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Risorse</a:t>
          </a:r>
        </a:p>
      </dsp:txBody>
      <dsp:txXfrm>
        <a:off x="1002401" y="223765"/>
        <a:ext cx="546213" cy="364141"/>
      </dsp:txXfrm>
    </dsp:sp>
    <dsp:sp modelId="{636F50A3-8EFE-4C08-B6BE-284B03274F0B}">
      <dsp:nvSpPr>
        <dsp:cNvPr id="0" name=""/>
        <dsp:cNvSpPr/>
      </dsp:nvSpPr>
      <dsp:spPr>
        <a:xfrm>
          <a:off x="1639649" y="223765"/>
          <a:ext cx="910354" cy="364141"/>
        </a:xfrm>
        <a:prstGeom prst="chevron">
          <a:avLst/>
        </a:prstGeom>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err="1"/>
            <a:t>soc</a:t>
          </a:r>
          <a:endParaRPr lang="it-IT" sz="800" kern="1200" dirty="0"/>
        </a:p>
      </dsp:txBody>
      <dsp:txXfrm>
        <a:off x="1821720" y="223765"/>
        <a:ext cx="546213" cy="364141"/>
      </dsp:txXfrm>
    </dsp:sp>
    <dsp:sp modelId="{6BB9B9CD-B911-4E33-8045-BE6A8D7C5B89}">
      <dsp:nvSpPr>
        <dsp:cNvPr id="0" name=""/>
        <dsp:cNvSpPr/>
      </dsp:nvSpPr>
      <dsp:spPr>
        <a:xfrm>
          <a:off x="2458967" y="223765"/>
          <a:ext cx="910354" cy="364141"/>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Affidamenti</a:t>
          </a:r>
        </a:p>
      </dsp:txBody>
      <dsp:txXfrm>
        <a:off x="2641038" y="223765"/>
        <a:ext cx="546213" cy="364141"/>
      </dsp:txXfrm>
    </dsp:sp>
    <dsp:sp modelId="{A29D7AF6-34C9-459D-B160-0F8E7686BA2B}">
      <dsp:nvSpPr>
        <dsp:cNvPr id="0" name=""/>
        <dsp:cNvSpPr/>
      </dsp:nvSpPr>
      <dsp:spPr>
        <a:xfrm>
          <a:off x="3278286"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MP</a:t>
          </a:r>
        </a:p>
      </dsp:txBody>
      <dsp:txXfrm>
        <a:off x="3460357" y="223765"/>
        <a:ext cx="546213" cy="364141"/>
      </dsp:txXfrm>
    </dsp:sp>
    <dsp:sp modelId="{A2199658-E72A-4294-AFD3-6892981EEB12}">
      <dsp:nvSpPr>
        <dsp:cNvPr id="0" name=""/>
        <dsp:cNvSpPr/>
      </dsp:nvSpPr>
      <dsp:spPr>
        <a:xfrm>
          <a:off x="4097605" y="223765"/>
          <a:ext cx="910354" cy="364141"/>
        </a:xfrm>
        <a:prstGeom prst="chevron">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NO</a:t>
          </a:r>
        </a:p>
      </dsp:txBody>
      <dsp:txXfrm>
        <a:off x="4279676" y="223765"/>
        <a:ext cx="546213" cy="364141"/>
      </dsp:txXfrm>
    </dsp:sp>
    <dsp:sp modelId="{F9C55CAF-C1A3-4EFD-AD93-3CBF7E30E2FA}">
      <dsp:nvSpPr>
        <dsp:cNvPr id="0" name=""/>
        <dsp:cNvSpPr/>
      </dsp:nvSpPr>
      <dsp:spPr>
        <a:xfrm>
          <a:off x="4916924"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Supporto Tecnico</a:t>
          </a:r>
        </a:p>
      </dsp:txBody>
      <dsp:txXfrm>
        <a:off x="5098995" y="223765"/>
        <a:ext cx="546213" cy="364141"/>
      </dsp:txXfrm>
    </dsp:sp>
    <dsp:sp modelId="{8CED6B9D-804A-4009-A04D-D699125D11F0}">
      <dsp:nvSpPr>
        <dsp:cNvPr id="0" name=""/>
        <dsp:cNvSpPr/>
      </dsp:nvSpPr>
      <dsp:spPr>
        <a:xfrm>
          <a:off x="5736242"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Ispezione Opere D’arte</a:t>
          </a:r>
        </a:p>
      </dsp:txBody>
      <dsp:txXfrm>
        <a:off x="5918313" y="223765"/>
        <a:ext cx="546213" cy="364141"/>
      </dsp:txXfrm>
    </dsp:sp>
    <dsp:sp modelId="{0A5AB2D9-0A33-47A4-83C2-3990E2018CD9}">
      <dsp:nvSpPr>
        <dsp:cNvPr id="0" name=""/>
        <dsp:cNvSpPr/>
      </dsp:nvSpPr>
      <dsp:spPr>
        <a:xfrm>
          <a:off x="6555561"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Interventi Rilevanti</a:t>
          </a:r>
        </a:p>
      </dsp:txBody>
      <dsp:txXfrm>
        <a:off x="6737632" y="223765"/>
        <a:ext cx="546213" cy="364141"/>
      </dsp:txXfrm>
    </dsp:sp>
    <dsp:sp modelId="{F2510710-7BA2-44B7-8AA7-1347717B483B}">
      <dsp:nvSpPr>
        <dsp:cNvPr id="0" name=""/>
        <dsp:cNvSpPr/>
      </dsp:nvSpPr>
      <dsp:spPr>
        <a:xfrm>
          <a:off x="7374880"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Pagamenti</a:t>
          </a:r>
        </a:p>
      </dsp:txBody>
      <dsp:txXfrm>
        <a:off x="7556951" y="223765"/>
        <a:ext cx="546213" cy="364141"/>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031506-3856-48AD-BFC1-89D9660F7FF7}">
      <dsp:nvSpPr>
        <dsp:cNvPr id="0" name=""/>
        <dsp:cNvSpPr/>
      </dsp:nvSpPr>
      <dsp:spPr>
        <a:xfrm>
          <a:off x="1011" y="223765"/>
          <a:ext cx="910354" cy="364141"/>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Rete viaria complessiva</a:t>
          </a:r>
        </a:p>
      </dsp:txBody>
      <dsp:txXfrm>
        <a:off x="183082" y="223765"/>
        <a:ext cx="546213" cy="364141"/>
      </dsp:txXfrm>
    </dsp:sp>
    <dsp:sp modelId="{6C62160D-9EC9-4B84-8EFD-9C3E10FC055A}">
      <dsp:nvSpPr>
        <dsp:cNvPr id="0" name=""/>
        <dsp:cNvSpPr/>
      </dsp:nvSpPr>
      <dsp:spPr>
        <a:xfrm>
          <a:off x="820330" y="223765"/>
          <a:ext cx="910354" cy="364141"/>
        </a:xfrm>
        <a:prstGeom prst="chevron">
          <a:avLst/>
        </a:prstGeom>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Risorse</a:t>
          </a:r>
        </a:p>
      </dsp:txBody>
      <dsp:txXfrm>
        <a:off x="1002401" y="223765"/>
        <a:ext cx="546213" cy="364141"/>
      </dsp:txXfrm>
    </dsp:sp>
    <dsp:sp modelId="{636F50A3-8EFE-4C08-B6BE-284B03274F0B}">
      <dsp:nvSpPr>
        <dsp:cNvPr id="0" name=""/>
        <dsp:cNvSpPr/>
      </dsp:nvSpPr>
      <dsp:spPr>
        <a:xfrm>
          <a:off x="1639649" y="223765"/>
          <a:ext cx="910354" cy="364141"/>
        </a:xfrm>
        <a:prstGeom prst="chevron">
          <a:avLst/>
        </a:prstGeom>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err="1"/>
            <a:t>soc</a:t>
          </a:r>
          <a:endParaRPr lang="it-IT" sz="800" kern="1200" dirty="0"/>
        </a:p>
      </dsp:txBody>
      <dsp:txXfrm>
        <a:off x="1821720" y="223765"/>
        <a:ext cx="546213" cy="364141"/>
      </dsp:txXfrm>
    </dsp:sp>
    <dsp:sp modelId="{6BB9B9CD-B911-4E33-8045-BE6A8D7C5B89}">
      <dsp:nvSpPr>
        <dsp:cNvPr id="0" name=""/>
        <dsp:cNvSpPr/>
      </dsp:nvSpPr>
      <dsp:spPr>
        <a:xfrm>
          <a:off x="2458967" y="223765"/>
          <a:ext cx="910354" cy="364141"/>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Affidamenti</a:t>
          </a:r>
        </a:p>
      </dsp:txBody>
      <dsp:txXfrm>
        <a:off x="2641038" y="223765"/>
        <a:ext cx="546213" cy="364141"/>
      </dsp:txXfrm>
    </dsp:sp>
    <dsp:sp modelId="{A29D7AF6-34C9-459D-B160-0F8E7686BA2B}">
      <dsp:nvSpPr>
        <dsp:cNvPr id="0" name=""/>
        <dsp:cNvSpPr/>
      </dsp:nvSpPr>
      <dsp:spPr>
        <a:xfrm>
          <a:off x="3278286"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MP</a:t>
          </a:r>
        </a:p>
      </dsp:txBody>
      <dsp:txXfrm>
        <a:off x="3460357" y="223765"/>
        <a:ext cx="546213" cy="364141"/>
      </dsp:txXfrm>
    </dsp:sp>
    <dsp:sp modelId="{A2199658-E72A-4294-AFD3-6892981EEB12}">
      <dsp:nvSpPr>
        <dsp:cNvPr id="0" name=""/>
        <dsp:cNvSpPr/>
      </dsp:nvSpPr>
      <dsp:spPr>
        <a:xfrm>
          <a:off x="4097605" y="223765"/>
          <a:ext cx="910354" cy="364141"/>
        </a:xfrm>
        <a:prstGeom prst="chevron">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NO</a:t>
          </a:r>
        </a:p>
      </dsp:txBody>
      <dsp:txXfrm>
        <a:off x="4279676" y="223765"/>
        <a:ext cx="546213" cy="364141"/>
      </dsp:txXfrm>
    </dsp:sp>
    <dsp:sp modelId="{F9C55CAF-C1A3-4EFD-AD93-3CBF7E30E2FA}">
      <dsp:nvSpPr>
        <dsp:cNvPr id="0" name=""/>
        <dsp:cNvSpPr/>
      </dsp:nvSpPr>
      <dsp:spPr>
        <a:xfrm>
          <a:off x="4916924"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Supporto Tecnico</a:t>
          </a:r>
        </a:p>
      </dsp:txBody>
      <dsp:txXfrm>
        <a:off x="5098995" y="223765"/>
        <a:ext cx="546213" cy="364141"/>
      </dsp:txXfrm>
    </dsp:sp>
    <dsp:sp modelId="{8CED6B9D-804A-4009-A04D-D699125D11F0}">
      <dsp:nvSpPr>
        <dsp:cNvPr id="0" name=""/>
        <dsp:cNvSpPr/>
      </dsp:nvSpPr>
      <dsp:spPr>
        <a:xfrm>
          <a:off x="5736242"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Ispezione Opere D’arte</a:t>
          </a:r>
        </a:p>
      </dsp:txBody>
      <dsp:txXfrm>
        <a:off x="5918313" y="223765"/>
        <a:ext cx="546213" cy="364141"/>
      </dsp:txXfrm>
    </dsp:sp>
    <dsp:sp modelId="{0A5AB2D9-0A33-47A4-83C2-3990E2018CD9}">
      <dsp:nvSpPr>
        <dsp:cNvPr id="0" name=""/>
        <dsp:cNvSpPr/>
      </dsp:nvSpPr>
      <dsp:spPr>
        <a:xfrm>
          <a:off x="6555561"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Interventi Rilevanti</a:t>
          </a:r>
        </a:p>
      </dsp:txBody>
      <dsp:txXfrm>
        <a:off x="6737632" y="223765"/>
        <a:ext cx="546213" cy="364141"/>
      </dsp:txXfrm>
    </dsp:sp>
    <dsp:sp modelId="{F2510710-7BA2-44B7-8AA7-1347717B483B}">
      <dsp:nvSpPr>
        <dsp:cNvPr id="0" name=""/>
        <dsp:cNvSpPr/>
      </dsp:nvSpPr>
      <dsp:spPr>
        <a:xfrm>
          <a:off x="7374880"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Pagamenti</a:t>
          </a:r>
        </a:p>
      </dsp:txBody>
      <dsp:txXfrm>
        <a:off x="7556951" y="223765"/>
        <a:ext cx="546213" cy="36414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031506-3856-48AD-BFC1-89D9660F7FF7}">
      <dsp:nvSpPr>
        <dsp:cNvPr id="0" name=""/>
        <dsp:cNvSpPr/>
      </dsp:nvSpPr>
      <dsp:spPr>
        <a:xfrm>
          <a:off x="1011" y="223765"/>
          <a:ext cx="910354" cy="364141"/>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Rete viaria complessiva</a:t>
          </a:r>
        </a:p>
      </dsp:txBody>
      <dsp:txXfrm>
        <a:off x="183082" y="223765"/>
        <a:ext cx="546213" cy="364141"/>
      </dsp:txXfrm>
    </dsp:sp>
    <dsp:sp modelId="{6C62160D-9EC9-4B84-8EFD-9C3E10FC055A}">
      <dsp:nvSpPr>
        <dsp:cNvPr id="0" name=""/>
        <dsp:cNvSpPr/>
      </dsp:nvSpPr>
      <dsp:spPr>
        <a:xfrm>
          <a:off x="820330" y="223765"/>
          <a:ext cx="910354" cy="364141"/>
        </a:xfrm>
        <a:prstGeom prst="chevron">
          <a:avLst/>
        </a:prstGeom>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Risorse</a:t>
          </a:r>
        </a:p>
      </dsp:txBody>
      <dsp:txXfrm>
        <a:off x="1002401" y="223765"/>
        <a:ext cx="546213" cy="364141"/>
      </dsp:txXfrm>
    </dsp:sp>
    <dsp:sp modelId="{636F50A3-8EFE-4C08-B6BE-284B03274F0B}">
      <dsp:nvSpPr>
        <dsp:cNvPr id="0" name=""/>
        <dsp:cNvSpPr/>
      </dsp:nvSpPr>
      <dsp:spPr>
        <a:xfrm>
          <a:off x="1639649" y="223765"/>
          <a:ext cx="910354" cy="364141"/>
        </a:xfrm>
        <a:prstGeom prst="chevron">
          <a:avLst/>
        </a:prstGeom>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err="1"/>
            <a:t>soc</a:t>
          </a:r>
          <a:endParaRPr lang="it-IT" sz="800" kern="1200" dirty="0"/>
        </a:p>
      </dsp:txBody>
      <dsp:txXfrm>
        <a:off x="1821720" y="223765"/>
        <a:ext cx="546213" cy="364141"/>
      </dsp:txXfrm>
    </dsp:sp>
    <dsp:sp modelId="{6BB9B9CD-B911-4E33-8045-BE6A8D7C5B89}">
      <dsp:nvSpPr>
        <dsp:cNvPr id="0" name=""/>
        <dsp:cNvSpPr/>
      </dsp:nvSpPr>
      <dsp:spPr>
        <a:xfrm>
          <a:off x="2458967" y="223765"/>
          <a:ext cx="910354" cy="364141"/>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Affidamenti</a:t>
          </a:r>
        </a:p>
      </dsp:txBody>
      <dsp:txXfrm>
        <a:off x="2641038" y="223765"/>
        <a:ext cx="546213" cy="364141"/>
      </dsp:txXfrm>
    </dsp:sp>
    <dsp:sp modelId="{A29D7AF6-34C9-459D-B160-0F8E7686BA2B}">
      <dsp:nvSpPr>
        <dsp:cNvPr id="0" name=""/>
        <dsp:cNvSpPr/>
      </dsp:nvSpPr>
      <dsp:spPr>
        <a:xfrm>
          <a:off x="3278286"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MP</a:t>
          </a:r>
        </a:p>
      </dsp:txBody>
      <dsp:txXfrm>
        <a:off x="3460357" y="223765"/>
        <a:ext cx="546213" cy="364141"/>
      </dsp:txXfrm>
    </dsp:sp>
    <dsp:sp modelId="{A2199658-E72A-4294-AFD3-6892981EEB12}">
      <dsp:nvSpPr>
        <dsp:cNvPr id="0" name=""/>
        <dsp:cNvSpPr/>
      </dsp:nvSpPr>
      <dsp:spPr>
        <a:xfrm>
          <a:off x="4097605" y="223765"/>
          <a:ext cx="910354" cy="364141"/>
        </a:xfrm>
        <a:prstGeom prst="chevron">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NO</a:t>
          </a:r>
        </a:p>
      </dsp:txBody>
      <dsp:txXfrm>
        <a:off x="4279676" y="223765"/>
        <a:ext cx="546213" cy="364141"/>
      </dsp:txXfrm>
    </dsp:sp>
    <dsp:sp modelId="{F9C55CAF-C1A3-4EFD-AD93-3CBF7E30E2FA}">
      <dsp:nvSpPr>
        <dsp:cNvPr id="0" name=""/>
        <dsp:cNvSpPr/>
      </dsp:nvSpPr>
      <dsp:spPr>
        <a:xfrm>
          <a:off x="4916924"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Supporto Tecnico</a:t>
          </a:r>
        </a:p>
      </dsp:txBody>
      <dsp:txXfrm>
        <a:off x="5098995" y="223765"/>
        <a:ext cx="546213" cy="364141"/>
      </dsp:txXfrm>
    </dsp:sp>
    <dsp:sp modelId="{8CED6B9D-804A-4009-A04D-D699125D11F0}">
      <dsp:nvSpPr>
        <dsp:cNvPr id="0" name=""/>
        <dsp:cNvSpPr/>
      </dsp:nvSpPr>
      <dsp:spPr>
        <a:xfrm>
          <a:off x="5736242"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Ispezione Opere D’arte</a:t>
          </a:r>
        </a:p>
      </dsp:txBody>
      <dsp:txXfrm>
        <a:off x="5918313" y="223765"/>
        <a:ext cx="546213" cy="364141"/>
      </dsp:txXfrm>
    </dsp:sp>
    <dsp:sp modelId="{0A5AB2D9-0A33-47A4-83C2-3990E2018CD9}">
      <dsp:nvSpPr>
        <dsp:cNvPr id="0" name=""/>
        <dsp:cNvSpPr/>
      </dsp:nvSpPr>
      <dsp:spPr>
        <a:xfrm>
          <a:off x="6555561"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Interventi Rilevanti</a:t>
          </a:r>
        </a:p>
      </dsp:txBody>
      <dsp:txXfrm>
        <a:off x="6737632" y="223765"/>
        <a:ext cx="546213" cy="364141"/>
      </dsp:txXfrm>
    </dsp:sp>
    <dsp:sp modelId="{F2510710-7BA2-44B7-8AA7-1347717B483B}">
      <dsp:nvSpPr>
        <dsp:cNvPr id="0" name=""/>
        <dsp:cNvSpPr/>
      </dsp:nvSpPr>
      <dsp:spPr>
        <a:xfrm>
          <a:off x="7374880"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Pagamenti</a:t>
          </a:r>
        </a:p>
      </dsp:txBody>
      <dsp:txXfrm>
        <a:off x="7556951" y="223765"/>
        <a:ext cx="546213" cy="364141"/>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031506-3856-48AD-BFC1-89D9660F7FF7}">
      <dsp:nvSpPr>
        <dsp:cNvPr id="0" name=""/>
        <dsp:cNvSpPr/>
      </dsp:nvSpPr>
      <dsp:spPr>
        <a:xfrm>
          <a:off x="1011" y="223765"/>
          <a:ext cx="910354" cy="364141"/>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Rete viaria complessiva</a:t>
          </a:r>
        </a:p>
      </dsp:txBody>
      <dsp:txXfrm>
        <a:off x="183082" y="223765"/>
        <a:ext cx="546213" cy="364141"/>
      </dsp:txXfrm>
    </dsp:sp>
    <dsp:sp modelId="{6C62160D-9EC9-4B84-8EFD-9C3E10FC055A}">
      <dsp:nvSpPr>
        <dsp:cNvPr id="0" name=""/>
        <dsp:cNvSpPr/>
      </dsp:nvSpPr>
      <dsp:spPr>
        <a:xfrm>
          <a:off x="820330" y="223765"/>
          <a:ext cx="910354" cy="364141"/>
        </a:xfrm>
        <a:prstGeom prst="chevron">
          <a:avLst/>
        </a:prstGeom>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Risorse</a:t>
          </a:r>
        </a:p>
      </dsp:txBody>
      <dsp:txXfrm>
        <a:off x="1002401" y="223765"/>
        <a:ext cx="546213" cy="364141"/>
      </dsp:txXfrm>
    </dsp:sp>
    <dsp:sp modelId="{636F50A3-8EFE-4C08-B6BE-284B03274F0B}">
      <dsp:nvSpPr>
        <dsp:cNvPr id="0" name=""/>
        <dsp:cNvSpPr/>
      </dsp:nvSpPr>
      <dsp:spPr>
        <a:xfrm>
          <a:off x="1639649" y="223765"/>
          <a:ext cx="910354" cy="364141"/>
        </a:xfrm>
        <a:prstGeom prst="chevron">
          <a:avLst/>
        </a:prstGeom>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err="1"/>
            <a:t>soc</a:t>
          </a:r>
          <a:endParaRPr lang="it-IT" sz="800" kern="1200" dirty="0"/>
        </a:p>
      </dsp:txBody>
      <dsp:txXfrm>
        <a:off x="1821720" y="223765"/>
        <a:ext cx="546213" cy="364141"/>
      </dsp:txXfrm>
    </dsp:sp>
    <dsp:sp modelId="{6BB9B9CD-B911-4E33-8045-BE6A8D7C5B89}">
      <dsp:nvSpPr>
        <dsp:cNvPr id="0" name=""/>
        <dsp:cNvSpPr/>
      </dsp:nvSpPr>
      <dsp:spPr>
        <a:xfrm>
          <a:off x="2458967" y="223765"/>
          <a:ext cx="910354" cy="364141"/>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Affidamenti</a:t>
          </a:r>
        </a:p>
      </dsp:txBody>
      <dsp:txXfrm>
        <a:off x="2641038" y="223765"/>
        <a:ext cx="546213" cy="364141"/>
      </dsp:txXfrm>
    </dsp:sp>
    <dsp:sp modelId="{A29D7AF6-34C9-459D-B160-0F8E7686BA2B}">
      <dsp:nvSpPr>
        <dsp:cNvPr id="0" name=""/>
        <dsp:cNvSpPr/>
      </dsp:nvSpPr>
      <dsp:spPr>
        <a:xfrm>
          <a:off x="3278286"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MP</a:t>
          </a:r>
        </a:p>
      </dsp:txBody>
      <dsp:txXfrm>
        <a:off x="3460357" y="223765"/>
        <a:ext cx="546213" cy="364141"/>
      </dsp:txXfrm>
    </dsp:sp>
    <dsp:sp modelId="{A2199658-E72A-4294-AFD3-6892981EEB12}">
      <dsp:nvSpPr>
        <dsp:cNvPr id="0" name=""/>
        <dsp:cNvSpPr/>
      </dsp:nvSpPr>
      <dsp:spPr>
        <a:xfrm>
          <a:off x="4097605" y="223765"/>
          <a:ext cx="910354" cy="364141"/>
        </a:xfrm>
        <a:prstGeom prst="chevron">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NO</a:t>
          </a:r>
        </a:p>
      </dsp:txBody>
      <dsp:txXfrm>
        <a:off x="4279676" y="223765"/>
        <a:ext cx="546213" cy="364141"/>
      </dsp:txXfrm>
    </dsp:sp>
    <dsp:sp modelId="{F9C55CAF-C1A3-4EFD-AD93-3CBF7E30E2FA}">
      <dsp:nvSpPr>
        <dsp:cNvPr id="0" name=""/>
        <dsp:cNvSpPr/>
      </dsp:nvSpPr>
      <dsp:spPr>
        <a:xfrm>
          <a:off x="4916924"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Supporto Tecnico</a:t>
          </a:r>
        </a:p>
      </dsp:txBody>
      <dsp:txXfrm>
        <a:off x="5098995" y="223765"/>
        <a:ext cx="546213" cy="364141"/>
      </dsp:txXfrm>
    </dsp:sp>
    <dsp:sp modelId="{8CED6B9D-804A-4009-A04D-D699125D11F0}">
      <dsp:nvSpPr>
        <dsp:cNvPr id="0" name=""/>
        <dsp:cNvSpPr/>
      </dsp:nvSpPr>
      <dsp:spPr>
        <a:xfrm>
          <a:off x="5736242"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Ispezione Opere D’arte</a:t>
          </a:r>
        </a:p>
      </dsp:txBody>
      <dsp:txXfrm>
        <a:off x="5918313" y="223765"/>
        <a:ext cx="546213" cy="364141"/>
      </dsp:txXfrm>
    </dsp:sp>
    <dsp:sp modelId="{0A5AB2D9-0A33-47A4-83C2-3990E2018CD9}">
      <dsp:nvSpPr>
        <dsp:cNvPr id="0" name=""/>
        <dsp:cNvSpPr/>
      </dsp:nvSpPr>
      <dsp:spPr>
        <a:xfrm>
          <a:off x="6555561"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Interventi Rilevanti</a:t>
          </a:r>
        </a:p>
      </dsp:txBody>
      <dsp:txXfrm>
        <a:off x="6737632" y="223765"/>
        <a:ext cx="546213" cy="364141"/>
      </dsp:txXfrm>
    </dsp:sp>
    <dsp:sp modelId="{F2510710-7BA2-44B7-8AA7-1347717B483B}">
      <dsp:nvSpPr>
        <dsp:cNvPr id="0" name=""/>
        <dsp:cNvSpPr/>
      </dsp:nvSpPr>
      <dsp:spPr>
        <a:xfrm>
          <a:off x="7374880"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Pagamenti</a:t>
          </a:r>
        </a:p>
      </dsp:txBody>
      <dsp:txXfrm>
        <a:off x="7556951" y="223765"/>
        <a:ext cx="546213" cy="364141"/>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031506-3856-48AD-BFC1-89D9660F7FF7}">
      <dsp:nvSpPr>
        <dsp:cNvPr id="0" name=""/>
        <dsp:cNvSpPr/>
      </dsp:nvSpPr>
      <dsp:spPr>
        <a:xfrm>
          <a:off x="1011" y="223765"/>
          <a:ext cx="910354" cy="364141"/>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Rete viaria complessiva</a:t>
          </a:r>
        </a:p>
      </dsp:txBody>
      <dsp:txXfrm>
        <a:off x="183082" y="223765"/>
        <a:ext cx="546213" cy="364141"/>
      </dsp:txXfrm>
    </dsp:sp>
    <dsp:sp modelId="{6C62160D-9EC9-4B84-8EFD-9C3E10FC055A}">
      <dsp:nvSpPr>
        <dsp:cNvPr id="0" name=""/>
        <dsp:cNvSpPr/>
      </dsp:nvSpPr>
      <dsp:spPr>
        <a:xfrm>
          <a:off x="820330" y="223765"/>
          <a:ext cx="910354" cy="364141"/>
        </a:xfrm>
        <a:prstGeom prst="chevron">
          <a:avLst/>
        </a:prstGeom>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Risorse</a:t>
          </a:r>
        </a:p>
      </dsp:txBody>
      <dsp:txXfrm>
        <a:off x="1002401" y="223765"/>
        <a:ext cx="546213" cy="364141"/>
      </dsp:txXfrm>
    </dsp:sp>
    <dsp:sp modelId="{636F50A3-8EFE-4C08-B6BE-284B03274F0B}">
      <dsp:nvSpPr>
        <dsp:cNvPr id="0" name=""/>
        <dsp:cNvSpPr/>
      </dsp:nvSpPr>
      <dsp:spPr>
        <a:xfrm>
          <a:off x="1639649" y="223765"/>
          <a:ext cx="910354" cy="364141"/>
        </a:xfrm>
        <a:prstGeom prst="chevron">
          <a:avLst/>
        </a:prstGeom>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err="1"/>
            <a:t>soc</a:t>
          </a:r>
          <a:endParaRPr lang="it-IT" sz="800" kern="1200" dirty="0"/>
        </a:p>
      </dsp:txBody>
      <dsp:txXfrm>
        <a:off x="1821720" y="223765"/>
        <a:ext cx="546213" cy="364141"/>
      </dsp:txXfrm>
    </dsp:sp>
    <dsp:sp modelId="{6BB9B9CD-B911-4E33-8045-BE6A8D7C5B89}">
      <dsp:nvSpPr>
        <dsp:cNvPr id="0" name=""/>
        <dsp:cNvSpPr/>
      </dsp:nvSpPr>
      <dsp:spPr>
        <a:xfrm>
          <a:off x="2458967" y="223765"/>
          <a:ext cx="910354" cy="364141"/>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Affidamenti</a:t>
          </a:r>
        </a:p>
      </dsp:txBody>
      <dsp:txXfrm>
        <a:off x="2641038" y="223765"/>
        <a:ext cx="546213" cy="364141"/>
      </dsp:txXfrm>
    </dsp:sp>
    <dsp:sp modelId="{A29D7AF6-34C9-459D-B160-0F8E7686BA2B}">
      <dsp:nvSpPr>
        <dsp:cNvPr id="0" name=""/>
        <dsp:cNvSpPr/>
      </dsp:nvSpPr>
      <dsp:spPr>
        <a:xfrm>
          <a:off x="3278286"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MP</a:t>
          </a:r>
        </a:p>
      </dsp:txBody>
      <dsp:txXfrm>
        <a:off x="3460357" y="223765"/>
        <a:ext cx="546213" cy="364141"/>
      </dsp:txXfrm>
    </dsp:sp>
    <dsp:sp modelId="{A2199658-E72A-4294-AFD3-6892981EEB12}">
      <dsp:nvSpPr>
        <dsp:cNvPr id="0" name=""/>
        <dsp:cNvSpPr/>
      </dsp:nvSpPr>
      <dsp:spPr>
        <a:xfrm>
          <a:off x="4097605" y="223765"/>
          <a:ext cx="910354" cy="364141"/>
        </a:xfrm>
        <a:prstGeom prst="chevron">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NO</a:t>
          </a:r>
        </a:p>
      </dsp:txBody>
      <dsp:txXfrm>
        <a:off x="4279676" y="223765"/>
        <a:ext cx="546213" cy="364141"/>
      </dsp:txXfrm>
    </dsp:sp>
    <dsp:sp modelId="{F9C55CAF-C1A3-4EFD-AD93-3CBF7E30E2FA}">
      <dsp:nvSpPr>
        <dsp:cNvPr id="0" name=""/>
        <dsp:cNvSpPr/>
      </dsp:nvSpPr>
      <dsp:spPr>
        <a:xfrm>
          <a:off x="4916924"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Supporto Tecnico</a:t>
          </a:r>
        </a:p>
      </dsp:txBody>
      <dsp:txXfrm>
        <a:off x="5098995" y="223765"/>
        <a:ext cx="546213" cy="364141"/>
      </dsp:txXfrm>
    </dsp:sp>
    <dsp:sp modelId="{8CED6B9D-804A-4009-A04D-D699125D11F0}">
      <dsp:nvSpPr>
        <dsp:cNvPr id="0" name=""/>
        <dsp:cNvSpPr/>
      </dsp:nvSpPr>
      <dsp:spPr>
        <a:xfrm>
          <a:off x="5736242"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Ispezione Opere D’arte</a:t>
          </a:r>
        </a:p>
      </dsp:txBody>
      <dsp:txXfrm>
        <a:off x="5918313" y="223765"/>
        <a:ext cx="546213" cy="364141"/>
      </dsp:txXfrm>
    </dsp:sp>
    <dsp:sp modelId="{0A5AB2D9-0A33-47A4-83C2-3990E2018CD9}">
      <dsp:nvSpPr>
        <dsp:cNvPr id="0" name=""/>
        <dsp:cNvSpPr/>
      </dsp:nvSpPr>
      <dsp:spPr>
        <a:xfrm>
          <a:off x="6555561"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Interventi Rilevanti</a:t>
          </a:r>
        </a:p>
      </dsp:txBody>
      <dsp:txXfrm>
        <a:off x="6737632" y="223765"/>
        <a:ext cx="546213" cy="364141"/>
      </dsp:txXfrm>
    </dsp:sp>
    <dsp:sp modelId="{F2510710-7BA2-44B7-8AA7-1347717B483B}">
      <dsp:nvSpPr>
        <dsp:cNvPr id="0" name=""/>
        <dsp:cNvSpPr/>
      </dsp:nvSpPr>
      <dsp:spPr>
        <a:xfrm>
          <a:off x="7374880"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Pagamenti</a:t>
          </a:r>
        </a:p>
      </dsp:txBody>
      <dsp:txXfrm>
        <a:off x="7556951" y="223765"/>
        <a:ext cx="546213" cy="364141"/>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031506-3856-48AD-BFC1-89D9660F7FF7}">
      <dsp:nvSpPr>
        <dsp:cNvPr id="0" name=""/>
        <dsp:cNvSpPr/>
      </dsp:nvSpPr>
      <dsp:spPr>
        <a:xfrm>
          <a:off x="1011" y="223765"/>
          <a:ext cx="910354" cy="364141"/>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Rete viaria complessiva</a:t>
          </a:r>
        </a:p>
      </dsp:txBody>
      <dsp:txXfrm>
        <a:off x="183082" y="223765"/>
        <a:ext cx="546213" cy="364141"/>
      </dsp:txXfrm>
    </dsp:sp>
    <dsp:sp modelId="{6C62160D-9EC9-4B84-8EFD-9C3E10FC055A}">
      <dsp:nvSpPr>
        <dsp:cNvPr id="0" name=""/>
        <dsp:cNvSpPr/>
      </dsp:nvSpPr>
      <dsp:spPr>
        <a:xfrm>
          <a:off x="820330" y="223765"/>
          <a:ext cx="910354" cy="364141"/>
        </a:xfrm>
        <a:prstGeom prst="chevron">
          <a:avLst/>
        </a:prstGeom>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Risorse</a:t>
          </a:r>
        </a:p>
      </dsp:txBody>
      <dsp:txXfrm>
        <a:off x="1002401" y="223765"/>
        <a:ext cx="546213" cy="364141"/>
      </dsp:txXfrm>
    </dsp:sp>
    <dsp:sp modelId="{636F50A3-8EFE-4C08-B6BE-284B03274F0B}">
      <dsp:nvSpPr>
        <dsp:cNvPr id="0" name=""/>
        <dsp:cNvSpPr/>
      </dsp:nvSpPr>
      <dsp:spPr>
        <a:xfrm>
          <a:off x="1639649" y="223765"/>
          <a:ext cx="910354" cy="364141"/>
        </a:xfrm>
        <a:prstGeom prst="chevron">
          <a:avLst/>
        </a:prstGeom>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err="1"/>
            <a:t>soc</a:t>
          </a:r>
          <a:endParaRPr lang="it-IT" sz="800" kern="1200" dirty="0"/>
        </a:p>
      </dsp:txBody>
      <dsp:txXfrm>
        <a:off x="1821720" y="223765"/>
        <a:ext cx="546213" cy="364141"/>
      </dsp:txXfrm>
    </dsp:sp>
    <dsp:sp modelId="{6BB9B9CD-B911-4E33-8045-BE6A8D7C5B89}">
      <dsp:nvSpPr>
        <dsp:cNvPr id="0" name=""/>
        <dsp:cNvSpPr/>
      </dsp:nvSpPr>
      <dsp:spPr>
        <a:xfrm>
          <a:off x="2458967" y="223765"/>
          <a:ext cx="910354" cy="364141"/>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Affidamenti</a:t>
          </a:r>
        </a:p>
      </dsp:txBody>
      <dsp:txXfrm>
        <a:off x="2641038" y="223765"/>
        <a:ext cx="546213" cy="364141"/>
      </dsp:txXfrm>
    </dsp:sp>
    <dsp:sp modelId="{A29D7AF6-34C9-459D-B160-0F8E7686BA2B}">
      <dsp:nvSpPr>
        <dsp:cNvPr id="0" name=""/>
        <dsp:cNvSpPr/>
      </dsp:nvSpPr>
      <dsp:spPr>
        <a:xfrm>
          <a:off x="3278286"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MP</a:t>
          </a:r>
        </a:p>
      </dsp:txBody>
      <dsp:txXfrm>
        <a:off x="3460357" y="223765"/>
        <a:ext cx="546213" cy="364141"/>
      </dsp:txXfrm>
    </dsp:sp>
    <dsp:sp modelId="{A2199658-E72A-4294-AFD3-6892981EEB12}">
      <dsp:nvSpPr>
        <dsp:cNvPr id="0" name=""/>
        <dsp:cNvSpPr/>
      </dsp:nvSpPr>
      <dsp:spPr>
        <a:xfrm>
          <a:off x="4097605" y="223765"/>
          <a:ext cx="910354" cy="364141"/>
        </a:xfrm>
        <a:prstGeom prst="chevron">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NO</a:t>
          </a:r>
        </a:p>
      </dsp:txBody>
      <dsp:txXfrm>
        <a:off x="4279676" y="223765"/>
        <a:ext cx="546213" cy="364141"/>
      </dsp:txXfrm>
    </dsp:sp>
    <dsp:sp modelId="{F9C55CAF-C1A3-4EFD-AD93-3CBF7E30E2FA}">
      <dsp:nvSpPr>
        <dsp:cNvPr id="0" name=""/>
        <dsp:cNvSpPr/>
      </dsp:nvSpPr>
      <dsp:spPr>
        <a:xfrm>
          <a:off x="4916924"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Supporto Tecnico</a:t>
          </a:r>
        </a:p>
      </dsp:txBody>
      <dsp:txXfrm>
        <a:off x="5098995" y="223765"/>
        <a:ext cx="546213" cy="364141"/>
      </dsp:txXfrm>
    </dsp:sp>
    <dsp:sp modelId="{8CED6B9D-804A-4009-A04D-D699125D11F0}">
      <dsp:nvSpPr>
        <dsp:cNvPr id="0" name=""/>
        <dsp:cNvSpPr/>
      </dsp:nvSpPr>
      <dsp:spPr>
        <a:xfrm>
          <a:off x="5736242"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Ispezione Opere D’arte</a:t>
          </a:r>
        </a:p>
      </dsp:txBody>
      <dsp:txXfrm>
        <a:off x="5918313" y="223765"/>
        <a:ext cx="546213" cy="364141"/>
      </dsp:txXfrm>
    </dsp:sp>
    <dsp:sp modelId="{0A5AB2D9-0A33-47A4-83C2-3990E2018CD9}">
      <dsp:nvSpPr>
        <dsp:cNvPr id="0" name=""/>
        <dsp:cNvSpPr/>
      </dsp:nvSpPr>
      <dsp:spPr>
        <a:xfrm>
          <a:off x="6555561"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Interventi Rilevanti</a:t>
          </a:r>
        </a:p>
      </dsp:txBody>
      <dsp:txXfrm>
        <a:off x="6737632" y="223765"/>
        <a:ext cx="546213" cy="364141"/>
      </dsp:txXfrm>
    </dsp:sp>
    <dsp:sp modelId="{F2510710-7BA2-44B7-8AA7-1347717B483B}">
      <dsp:nvSpPr>
        <dsp:cNvPr id="0" name=""/>
        <dsp:cNvSpPr/>
      </dsp:nvSpPr>
      <dsp:spPr>
        <a:xfrm>
          <a:off x="7374880"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Pagamenti</a:t>
          </a:r>
        </a:p>
      </dsp:txBody>
      <dsp:txXfrm>
        <a:off x="7556951" y="223765"/>
        <a:ext cx="546213" cy="364141"/>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031506-3856-48AD-BFC1-89D9660F7FF7}">
      <dsp:nvSpPr>
        <dsp:cNvPr id="0" name=""/>
        <dsp:cNvSpPr/>
      </dsp:nvSpPr>
      <dsp:spPr>
        <a:xfrm>
          <a:off x="1011" y="223765"/>
          <a:ext cx="910354" cy="364141"/>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Rete viaria complessiva</a:t>
          </a:r>
        </a:p>
      </dsp:txBody>
      <dsp:txXfrm>
        <a:off x="183082" y="223765"/>
        <a:ext cx="546213" cy="364141"/>
      </dsp:txXfrm>
    </dsp:sp>
    <dsp:sp modelId="{6C62160D-9EC9-4B84-8EFD-9C3E10FC055A}">
      <dsp:nvSpPr>
        <dsp:cNvPr id="0" name=""/>
        <dsp:cNvSpPr/>
      </dsp:nvSpPr>
      <dsp:spPr>
        <a:xfrm>
          <a:off x="820330" y="223765"/>
          <a:ext cx="910354" cy="364141"/>
        </a:xfrm>
        <a:prstGeom prst="chevron">
          <a:avLst/>
        </a:prstGeom>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Risorse</a:t>
          </a:r>
        </a:p>
      </dsp:txBody>
      <dsp:txXfrm>
        <a:off x="1002401" y="223765"/>
        <a:ext cx="546213" cy="364141"/>
      </dsp:txXfrm>
    </dsp:sp>
    <dsp:sp modelId="{636F50A3-8EFE-4C08-B6BE-284B03274F0B}">
      <dsp:nvSpPr>
        <dsp:cNvPr id="0" name=""/>
        <dsp:cNvSpPr/>
      </dsp:nvSpPr>
      <dsp:spPr>
        <a:xfrm>
          <a:off x="1639649" y="223765"/>
          <a:ext cx="910354" cy="364141"/>
        </a:xfrm>
        <a:prstGeom prst="chevron">
          <a:avLst/>
        </a:prstGeom>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err="1"/>
            <a:t>soc</a:t>
          </a:r>
          <a:endParaRPr lang="it-IT" sz="800" kern="1200" dirty="0"/>
        </a:p>
      </dsp:txBody>
      <dsp:txXfrm>
        <a:off x="1821720" y="223765"/>
        <a:ext cx="546213" cy="364141"/>
      </dsp:txXfrm>
    </dsp:sp>
    <dsp:sp modelId="{6BB9B9CD-B911-4E33-8045-BE6A8D7C5B89}">
      <dsp:nvSpPr>
        <dsp:cNvPr id="0" name=""/>
        <dsp:cNvSpPr/>
      </dsp:nvSpPr>
      <dsp:spPr>
        <a:xfrm>
          <a:off x="2458967" y="223765"/>
          <a:ext cx="910354" cy="364141"/>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Affidamenti</a:t>
          </a:r>
        </a:p>
      </dsp:txBody>
      <dsp:txXfrm>
        <a:off x="2641038" y="223765"/>
        <a:ext cx="546213" cy="364141"/>
      </dsp:txXfrm>
    </dsp:sp>
    <dsp:sp modelId="{A29D7AF6-34C9-459D-B160-0F8E7686BA2B}">
      <dsp:nvSpPr>
        <dsp:cNvPr id="0" name=""/>
        <dsp:cNvSpPr/>
      </dsp:nvSpPr>
      <dsp:spPr>
        <a:xfrm>
          <a:off x="3278286"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MP</a:t>
          </a:r>
        </a:p>
      </dsp:txBody>
      <dsp:txXfrm>
        <a:off x="3460357" y="223765"/>
        <a:ext cx="546213" cy="364141"/>
      </dsp:txXfrm>
    </dsp:sp>
    <dsp:sp modelId="{A2199658-E72A-4294-AFD3-6892981EEB12}">
      <dsp:nvSpPr>
        <dsp:cNvPr id="0" name=""/>
        <dsp:cNvSpPr/>
      </dsp:nvSpPr>
      <dsp:spPr>
        <a:xfrm>
          <a:off x="4097605" y="223765"/>
          <a:ext cx="910354" cy="364141"/>
        </a:xfrm>
        <a:prstGeom prst="chevron">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NO</a:t>
          </a:r>
        </a:p>
      </dsp:txBody>
      <dsp:txXfrm>
        <a:off x="4279676" y="223765"/>
        <a:ext cx="546213" cy="364141"/>
      </dsp:txXfrm>
    </dsp:sp>
    <dsp:sp modelId="{F9C55CAF-C1A3-4EFD-AD93-3CBF7E30E2FA}">
      <dsp:nvSpPr>
        <dsp:cNvPr id="0" name=""/>
        <dsp:cNvSpPr/>
      </dsp:nvSpPr>
      <dsp:spPr>
        <a:xfrm>
          <a:off x="4916924"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Supporto Tecnico</a:t>
          </a:r>
        </a:p>
      </dsp:txBody>
      <dsp:txXfrm>
        <a:off x="5098995" y="223765"/>
        <a:ext cx="546213" cy="364141"/>
      </dsp:txXfrm>
    </dsp:sp>
    <dsp:sp modelId="{8CED6B9D-804A-4009-A04D-D699125D11F0}">
      <dsp:nvSpPr>
        <dsp:cNvPr id="0" name=""/>
        <dsp:cNvSpPr/>
      </dsp:nvSpPr>
      <dsp:spPr>
        <a:xfrm>
          <a:off x="5736242"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Ispezione Opere D’arte</a:t>
          </a:r>
        </a:p>
      </dsp:txBody>
      <dsp:txXfrm>
        <a:off x="5918313" y="223765"/>
        <a:ext cx="546213" cy="364141"/>
      </dsp:txXfrm>
    </dsp:sp>
    <dsp:sp modelId="{0A5AB2D9-0A33-47A4-83C2-3990E2018CD9}">
      <dsp:nvSpPr>
        <dsp:cNvPr id="0" name=""/>
        <dsp:cNvSpPr/>
      </dsp:nvSpPr>
      <dsp:spPr>
        <a:xfrm>
          <a:off x="6555561"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Interventi Rilevanti</a:t>
          </a:r>
        </a:p>
      </dsp:txBody>
      <dsp:txXfrm>
        <a:off x="6737632" y="223765"/>
        <a:ext cx="546213" cy="364141"/>
      </dsp:txXfrm>
    </dsp:sp>
    <dsp:sp modelId="{F2510710-7BA2-44B7-8AA7-1347717B483B}">
      <dsp:nvSpPr>
        <dsp:cNvPr id="0" name=""/>
        <dsp:cNvSpPr/>
      </dsp:nvSpPr>
      <dsp:spPr>
        <a:xfrm>
          <a:off x="7374880"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Pagamenti</a:t>
          </a:r>
        </a:p>
      </dsp:txBody>
      <dsp:txXfrm>
        <a:off x="7556951" y="223765"/>
        <a:ext cx="546213" cy="364141"/>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031506-3856-48AD-BFC1-89D9660F7FF7}">
      <dsp:nvSpPr>
        <dsp:cNvPr id="0" name=""/>
        <dsp:cNvSpPr/>
      </dsp:nvSpPr>
      <dsp:spPr>
        <a:xfrm>
          <a:off x="1011" y="223765"/>
          <a:ext cx="910354" cy="364141"/>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Rete viaria complessiva</a:t>
          </a:r>
        </a:p>
      </dsp:txBody>
      <dsp:txXfrm>
        <a:off x="183082" y="223765"/>
        <a:ext cx="546213" cy="364141"/>
      </dsp:txXfrm>
    </dsp:sp>
    <dsp:sp modelId="{6C62160D-9EC9-4B84-8EFD-9C3E10FC055A}">
      <dsp:nvSpPr>
        <dsp:cNvPr id="0" name=""/>
        <dsp:cNvSpPr/>
      </dsp:nvSpPr>
      <dsp:spPr>
        <a:xfrm>
          <a:off x="820330" y="223765"/>
          <a:ext cx="910354" cy="364141"/>
        </a:xfrm>
        <a:prstGeom prst="chevron">
          <a:avLst/>
        </a:prstGeom>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Risorse</a:t>
          </a:r>
        </a:p>
      </dsp:txBody>
      <dsp:txXfrm>
        <a:off x="1002401" y="223765"/>
        <a:ext cx="546213" cy="364141"/>
      </dsp:txXfrm>
    </dsp:sp>
    <dsp:sp modelId="{636F50A3-8EFE-4C08-B6BE-284B03274F0B}">
      <dsp:nvSpPr>
        <dsp:cNvPr id="0" name=""/>
        <dsp:cNvSpPr/>
      </dsp:nvSpPr>
      <dsp:spPr>
        <a:xfrm>
          <a:off x="1639649" y="223765"/>
          <a:ext cx="910354" cy="364141"/>
        </a:xfrm>
        <a:prstGeom prst="chevron">
          <a:avLst/>
        </a:prstGeom>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err="1"/>
            <a:t>soc</a:t>
          </a:r>
          <a:endParaRPr lang="it-IT" sz="800" kern="1200" dirty="0"/>
        </a:p>
      </dsp:txBody>
      <dsp:txXfrm>
        <a:off x="1821720" y="223765"/>
        <a:ext cx="546213" cy="364141"/>
      </dsp:txXfrm>
    </dsp:sp>
    <dsp:sp modelId="{6BB9B9CD-B911-4E33-8045-BE6A8D7C5B89}">
      <dsp:nvSpPr>
        <dsp:cNvPr id="0" name=""/>
        <dsp:cNvSpPr/>
      </dsp:nvSpPr>
      <dsp:spPr>
        <a:xfrm>
          <a:off x="2458967" y="223765"/>
          <a:ext cx="910354" cy="364141"/>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Affidamenti</a:t>
          </a:r>
        </a:p>
      </dsp:txBody>
      <dsp:txXfrm>
        <a:off x="2641038" y="223765"/>
        <a:ext cx="546213" cy="364141"/>
      </dsp:txXfrm>
    </dsp:sp>
    <dsp:sp modelId="{A29D7AF6-34C9-459D-B160-0F8E7686BA2B}">
      <dsp:nvSpPr>
        <dsp:cNvPr id="0" name=""/>
        <dsp:cNvSpPr/>
      </dsp:nvSpPr>
      <dsp:spPr>
        <a:xfrm>
          <a:off x="3278286"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MP</a:t>
          </a:r>
        </a:p>
      </dsp:txBody>
      <dsp:txXfrm>
        <a:off x="3460357" y="223765"/>
        <a:ext cx="546213" cy="364141"/>
      </dsp:txXfrm>
    </dsp:sp>
    <dsp:sp modelId="{A2199658-E72A-4294-AFD3-6892981EEB12}">
      <dsp:nvSpPr>
        <dsp:cNvPr id="0" name=""/>
        <dsp:cNvSpPr/>
      </dsp:nvSpPr>
      <dsp:spPr>
        <a:xfrm>
          <a:off x="4097605" y="223765"/>
          <a:ext cx="910354" cy="364141"/>
        </a:xfrm>
        <a:prstGeom prst="chevron">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NO</a:t>
          </a:r>
        </a:p>
      </dsp:txBody>
      <dsp:txXfrm>
        <a:off x="4279676" y="223765"/>
        <a:ext cx="546213" cy="364141"/>
      </dsp:txXfrm>
    </dsp:sp>
    <dsp:sp modelId="{F9C55CAF-C1A3-4EFD-AD93-3CBF7E30E2FA}">
      <dsp:nvSpPr>
        <dsp:cNvPr id="0" name=""/>
        <dsp:cNvSpPr/>
      </dsp:nvSpPr>
      <dsp:spPr>
        <a:xfrm>
          <a:off x="4916924"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Supporto Tecnico</a:t>
          </a:r>
        </a:p>
      </dsp:txBody>
      <dsp:txXfrm>
        <a:off x="5098995" y="223765"/>
        <a:ext cx="546213" cy="364141"/>
      </dsp:txXfrm>
    </dsp:sp>
    <dsp:sp modelId="{8CED6B9D-804A-4009-A04D-D699125D11F0}">
      <dsp:nvSpPr>
        <dsp:cNvPr id="0" name=""/>
        <dsp:cNvSpPr/>
      </dsp:nvSpPr>
      <dsp:spPr>
        <a:xfrm>
          <a:off x="5736242"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Ispezione Opere D’arte</a:t>
          </a:r>
        </a:p>
      </dsp:txBody>
      <dsp:txXfrm>
        <a:off x="5918313" y="223765"/>
        <a:ext cx="546213" cy="364141"/>
      </dsp:txXfrm>
    </dsp:sp>
    <dsp:sp modelId="{0A5AB2D9-0A33-47A4-83C2-3990E2018CD9}">
      <dsp:nvSpPr>
        <dsp:cNvPr id="0" name=""/>
        <dsp:cNvSpPr/>
      </dsp:nvSpPr>
      <dsp:spPr>
        <a:xfrm>
          <a:off x="6555561"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Interventi Rilevanti</a:t>
          </a:r>
        </a:p>
      </dsp:txBody>
      <dsp:txXfrm>
        <a:off x="6737632" y="223765"/>
        <a:ext cx="546213" cy="364141"/>
      </dsp:txXfrm>
    </dsp:sp>
    <dsp:sp modelId="{F2510710-7BA2-44B7-8AA7-1347717B483B}">
      <dsp:nvSpPr>
        <dsp:cNvPr id="0" name=""/>
        <dsp:cNvSpPr/>
      </dsp:nvSpPr>
      <dsp:spPr>
        <a:xfrm>
          <a:off x="7374880"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Pagamenti</a:t>
          </a:r>
        </a:p>
      </dsp:txBody>
      <dsp:txXfrm>
        <a:off x="7556951" y="223765"/>
        <a:ext cx="546213" cy="364141"/>
      </dsp:txXfrm>
    </dsp:sp>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031506-3856-48AD-BFC1-89D9660F7FF7}">
      <dsp:nvSpPr>
        <dsp:cNvPr id="0" name=""/>
        <dsp:cNvSpPr/>
      </dsp:nvSpPr>
      <dsp:spPr>
        <a:xfrm>
          <a:off x="1011" y="223765"/>
          <a:ext cx="910354" cy="364141"/>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Rete viaria complessiva</a:t>
          </a:r>
        </a:p>
      </dsp:txBody>
      <dsp:txXfrm>
        <a:off x="183082" y="223765"/>
        <a:ext cx="546213" cy="364141"/>
      </dsp:txXfrm>
    </dsp:sp>
    <dsp:sp modelId="{6C62160D-9EC9-4B84-8EFD-9C3E10FC055A}">
      <dsp:nvSpPr>
        <dsp:cNvPr id="0" name=""/>
        <dsp:cNvSpPr/>
      </dsp:nvSpPr>
      <dsp:spPr>
        <a:xfrm>
          <a:off x="820330" y="223765"/>
          <a:ext cx="910354" cy="364141"/>
        </a:xfrm>
        <a:prstGeom prst="chevron">
          <a:avLst/>
        </a:prstGeom>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Risorse</a:t>
          </a:r>
        </a:p>
      </dsp:txBody>
      <dsp:txXfrm>
        <a:off x="1002401" y="223765"/>
        <a:ext cx="546213" cy="364141"/>
      </dsp:txXfrm>
    </dsp:sp>
    <dsp:sp modelId="{636F50A3-8EFE-4C08-B6BE-284B03274F0B}">
      <dsp:nvSpPr>
        <dsp:cNvPr id="0" name=""/>
        <dsp:cNvSpPr/>
      </dsp:nvSpPr>
      <dsp:spPr>
        <a:xfrm>
          <a:off x="1639649" y="223765"/>
          <a:ext cx="910354" cy="364141"/>
        </a:xfrm>
        <a:prstGeom prst="chevron">
          <a:avLst/>
        </a:prstGeom>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err="1"/>
            <a:t>soc</a:t>
          </a:r>
          <a:endParaRPr lang="it-IT" sz="800" kern="1200" dirty="0"/>
        </a:p>
      </dsp:txBody>
      <dsp:txXfrm>
        <a:off x="1821720" y="223765"/>
        <a:ext cx="546213" cy="364141"/>
      </dsp:txXfrm>
    </dsp:sp>
    <dsp:sp modelId="{6BB9B9CD-B911-4E33-8045-BE6A8D7C5B89}">
      <dsp:nvSpPr>
        <dsp:cNvPr id="0" name=""/>
        <dsp:cNvSpPr/>
      </dsp:nvSpPr>
      <dsp:spPr>
        <a:xfrm>
          <a:off x="2458967" y="223765"/>
          <a:ext cx="910354" cy="364141"/>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Affidamenti</a:t>
          </a:r>
        </a:p>
      </dsp:txBody>
      <dsp:txXfrm>
        <a:off x="2641038" y="223765"/>
        <a:ext cx="546213" cy="364141"/>
      </dsp:txXfrm>
    </dsp:sp>
    <dsp:sp modelId="{A29D7AF6-34C9-459D-B160-0F8E7686BA2B}">
      <dsp:nvSpPr>
        <dsp:cNvPr id="0" name=""/>
        <dsp:cNvSpPr/>
      </dsp:nvSpPr>
      <dsp:spPr>
        <a:xfrm>
          <a:off x="3278286"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MP</a:t>
          </a:r>
        </a:p>
      </dsp:txBody>
      <dsp:txXfrm>
        <a:off x="3460357" y="223765"/>
        <a:ext cx="546213" cy="364141"/>
      </dsp:txXfrm>
    </dsp:sp>
    <dsp:sp modelId="{A2199658-E72A-4294-AFD3-6892981EEB12}">
      <dsp:nvSpPr>
        <dsp:cNvPr id="0" name=""/>
        <dsp:cNvSpPr/>
      </dsp:nvSpPr>
      <dsp:spPr>
        <a:xfrm>
          <a:off x="4097605" y="223765"/>
          <a:ext cx="910354" cy="364141"/>
        </a:xfrm>
        <a:prstGeom prst="chevron">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NO</a:t>
          </a:r>
        </a:p>
      </dsp:txBody>
      <dsp:txXfrm>
        <a:off x="4279676" y="223765"/>
        <a:ext cx="546213" cy="364141"/>
      </dsp:txXfrm>
    </dsp:sp>
    <dsp:sp modelId="{F9C55CAF-C1A3-4EFD-AD93-3CBF7E30E2FA}">
      <dsp:nvSpPr>
        <dsp:cNvPr id="0" name=""/>
        <dsp:cNvSpPr/>
      </dsp:nvSpPr>
      <dsp:spPr>
        <a:xfrm>
          <a:off x="4916924" y="223765"/>
          <a:ext cx="910354" cy="364141"/>
        </a:xfrm>
        <a:prstGeom prst="chevron">
          <a:avLst/>
        </a:prstGeom>
        <a:gradFill flip="none"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Supporto Tecnico</a:t>
          </a:r>
        </a:p>
      </dsp:txBody>
      <dsp:txXfrm>
        <a:off x="5098995" y="223765"/>
        <a:ext cx="546213" cy="364141"/>
      </dsp:txXfrm>
    </dsp:sp>
    <dsp:sp modelId="{8CED6B9D-804A-4009-A04D-D699125D11F0}">
      <dsp:nvSpPr>
        <dsp:cNvPr id="0" name=""/>
        <dsp:cNvSpPr/>
      </dsp:nvSpPr>
      <dsp:spPr>
        <a:xfrm>
          <a:off x="5736242" y="223765"/>
          <a:ext cx="910354" cy="364141"/>
        </a:xfrm>
        <a:prstGeom prst="chevron">
          <a:avLst/>
        </a:prstGeom>
        <a:gradFill flip="none"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Ispezione Opere D’arte</a:t>
          </a:r>
        </a:p>
      </dsp:txBody>
      <dsp:txXfrm>
        <a:off x="5918313" y="223765"/>
        <a:ext cx="546213" cy="364141"/>
      </dsp:txXfrm>
    </dsp:sp>
    <dsp:sp modelId="{0A5AB2D9-0A33-47A4-83C2-3990E2018CD9}">
      <dsp:nvSpPr>
        <dsp:cNvPr id="0" name=""/>
        <dsp:cNvSpPr/>
      </dsp:nvSpPr>
      <dsp:spPr>
        <a:xfrm>
          <a:off x="6555561" y="223765"/>
          <a:ext cx="910354" cy="364141"/>
        </a:xfrm>
        <a:prstGeom prst="chevron">
          <a:avLst/>
        </a:prstGeom>
        <a:gradFill flip="none"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Interventi Rilevanti</a:t>
          </a:r>
        </a:p>
      </dsp:txBody>
      <dsp:txXfrm>
        <a:off x="6737632" y="223765"/>
        <a:ext cx="546213" cy="364141"/>
      </dsp:txXfrm>
    </dsp:sp>
    <dsp:sp modelId="{F2510710-7BA2-44B7-8AA7-1347717B483B}">
      <dsp:nvSpPr>
        <dsp:cNvPr id="0" name=""/>
        <dsp:cNvSpPr/>
      </dsp:nvSpPr>
      <dsp:spPr>
        <a:xfrm>
          <a:off x="7374880" y="223765"/>
          <a:ext cx="910354" cy="364141"/>
        </a:xfrm>
        <a:prstGeom prst="chevron">
          <a:avLst/>
        </a:prstGeom>
        <a:gradFill flip="none"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Pagamenti</a:t>
          </a:r>
        </a:p>
      </dsp:txBody>
      <dsp:txXfrm>
        <a:off x="7556951" y="223765"/>
        <a:ext cx="546213" cy="364141"/>
      </dsp:txXfrm>
    </dsp:sp>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031506-3856-48AD-BFC1-89D9660F7FF7}">
      <dsp:nvSpPr>
        <dsp:cNvPr id="0" name=""/>
        <dsp:cNvSpPr/>
      </dsp:nvSpPr>
      <dsp:spPr>
        <a:xfrm>
          <a:off x="1011" y="223765"/>
          <a:ext cx="910354" cy="364141"/>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Rete viaria complessiva</a:t>
          </a:r>
        </a:p>
      </dsp:txBody>
      <dsp:txXfrm>
        <a:off x="183082" y="223765"/>
        <a:ext cx="546213" cy="364141"/>
      </dsp:txXfrm>
    </dsp:sp>
    <dsp:sp modelId="{6C62160D-9EC9-4B84-8EFD-9C3E10FC055A}">
      <dsp:nvSpPr>
        <dsp:cNvPr id="0" name=""/>
        <dsp:cNvSpPr/>
      </dsp:nvSpPr>
      <dsp:spPr>
        <a:xfrm>
          <a:off x="820330" y="223765"/>
          <a:ext cx="910354" cy="364141"/>
        </a:xfrm>
        <a:prstGeom prst="chevron">
          <a:avLst/>
        </a:prstGeom>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Risorse</a:t>
          </a:r>
        </a:p>
      </dsp:txBody>
      <dsp:txXfrm>
        <a:off x="1002401" y="223765"/>
        <a:ext cx="546213" cy="364141"/>
      </dsp:txXfrm>
    </dsp:sp>
    <dsp:sp modelId="{636F50A3-8EFE-4C08-B6BE-284B03274F0B}">
      <dsp:nvSpPr>
        <dsp:cNvPr id="0" name=""/>
        <dsp:cNvSpPr/>
      </dsp:nvSpPr>
      <dsp:spPr>
        <a:xfrm>
          <a:off x="1639649" y="223765"/>
          <a:ext cx="910354" cy="364141"/>
        </a:xfrm>
        <a:prstGeom prst="chevron">
          <a:avLst/>
        </a:prstGeom>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err="1"/>
            <a:t>soc</a:t>
          </a:r>
          <a:endParaRPr lang="it-IT" sz="800" kern="1200" dirty="0"/>
        </a:p>
      </dsp:txBody>
      <dsp:txXfrm>
        <a:off x="1821720" y="223765"/>
        <a:ext cx="546213" cy="364141"/>
      </dsp:txXfrm>
    </dsp:sp>
    <dsp:sp modelId="{6BB9B9CD-B911-4E33-8045-BE6A8D7C5B89}">
      <dsp:nvSpPr>
        <dsp:cNvPr id="0" name=""/>
        <dsp:cNvSpPr/>
      </dsp:nvSpPr>
      <dsp:spPr>
        <a:xfrm>
          <a:off x="2458967" y="223765"/>
          <a:ext cx="910354" cy="364141"/>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Affidamenti</a:t>
          </a:r>
        </a:p>
      </dsp:txBody>
      <dsp:txXfrm>
        <a:off x="2641038" y="223765"/>
        <a:ext cx="546213" cy="364141"/>
      </dsp:txXfrm>
    </dsp:sp>
    <dsp:sp modelId="{A29D7AF6-34C9-459D-B160-0F8E7686BA2B}">
      <dsp:nvSpPr>
        <dsp:cNvPr id="0" name=""/>
        <dsp:cNvSpPr/>
      </dsp:nvSpPr>
      <dsp:spPr>
        <a:xfrm>
          <a:off x="3278286"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MP</a:t>
          </a:r>
        </a:p>
      </dsp:txBody>
      <dsp:txXfrm>
        <a:off x="3460357" y="223765"/>
        <a:ext cx="546213" cy="364141"/>
      </dsp:txXfrm>
    </dsp:sp>
    <dsp:sp modelId="{A2199658-E72A-4294-AFD3-6892981EEB12}">
      <dsp:nvSpPr>
        <dsp:cNvPr id="0" name=""/>
        <dsp:cNvSpPr/>
      </dsp:nvSpPr>
      <dsp:spPr>
        <a:xfrm>
          <a:off x="4097605"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NO</a:t>
          </a:r>
        </a:p>
      </dsp:txBody>
      <dsp:txXfrm>
        <a:off x="4279676" y="223765"/>
        <a:ext cx="546213" cy="364141"/>
      </dsp:txXfrm>
    </dsp:sp>
    <dsp:sp modelId="{F9C55CAF-C1A3-4EFD-AD93-3CBF7E30E2FA}">
      <dsp:nvSpPr>
        <dsp:cNvPr id="0" name=""/>
        <dsp:cNvSpPr/>
      </dsp:nvSpPr>
      <dsp:spPr>
        <a:xfrm>
          <a:off x="4916924"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Supporto Tecnico</a:t>
          </a:r>
        </a:p>
      </dsp:txBody>
      <dsp:txXfrm>
        <a:off x="5098995" y="223765"/>
        <a:ext cx="546213" cy="364141"/>
      </dsp:txXfrm>
    </dsp:sp>
    <dsp:sp modelId="{8CED6B9D-804A-4009-A04D-D699125D11F0}">
      <dsp:nvSpPr>
        <dsp:cNvPr id="0" name=""/>
        <dsp:cNvSpPr/>
      </dsp:nvSpPr>
      <dsp:spPr>
        <a:xfrm>
          <a:off x="5736242" y="223765"/>
          <a:ext cx="910354" cy="364141"/>
        </a:xfrm>
        <a:prstGeom prst="chevron">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Ispezione Opere D’arte</a:t>
          </a:r>
        </a:p>
      </dsp:txBody>
      <dsp:txXfrm>
        <a:off x="5918313" y="223765"/>
        <a:ext cx="546213" cy="364141"/>
      </dsp:txXfrm>
    </dsp:sp>
    <dsp:sp modelId="{0A5AB2D9-0A33-47A4-83C2-3990E2018CD9}">
      <dsp:nvSpPr>
        <dsp:cNvPr id="0" name=""/>
        <dsp:cNvSpPr/>
      </dsp:nvSpPr>
      <dsp:spPr>
        <a:xfrm>
          <a:off x="6555561" y="223765"/>
          <a:ext cx="910354" cy="364141"/>
        </a:xfrm>
        <a:prstGeom prst="chevron">
          <a:avLst/>
        </a:prstGeom>
        <a:gradFill flip="none"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Interventi Rilevanti</a:t>
          </a:r>
        </a:p>
      </dsp:txBody>
      <dsp:txXfrm>
        <a:off x="6737632" y="223765"/>
        <a:ext cx="546213" cy="364141"/>
      </dsp:txXfrm>
    </dsp:sp>
    <dsp:sp modelId="{F2510710-7BA2-44B7-8AA7-1347717B483B}">
      <dsp:nvSpPr>
        <dsp:cNvPr id="0" name=""/>
        <dsp:cNvSpPr/>
      </dsp:nvSpPr>
      <dsp:spPr>
        <a:xfrm>
          <a:off x="7374880" y="223765"/>
          <a:ext cx="910354" cy="364141"/>
        </a:xfrm>
        <a:prstGeom prst="chevron">
          <a:avLst/>
        </a:prstGeom>
        <a:gradFill flip="none"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Pagamenti</a:t>
          </a:r>
        </a:p>
      </dsp:txBody>
      <dsp:txXfrm>
        <a:off x="7556951" y="223765"/>
        <a:ext cx="546213" cy="364141"/>
      </dsp:txXfrm>
    </dsp:sp>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763F6D0-FDDE-4CA1-AD92-DB96E5135F54}">
      <dsp:nvSpPr>
        <dsp:cNvPr id="0" name=""/>
        <dsp:cNvSpPr/>
      </dsp:nvSpPr>
      <dsp:spPr>
        <a:xfrm>
          <a:off x="1967" y="94743"/>
          <a:ext cx="1022631" cy="409052"/>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it-IT" sz="900" kern="1200" dirty="0"/>
            <a:t>Rete viaria complessiva</a:t>
          </a:r>
        </a:p>
      </dsp:txBody>
      <dsp:txXfrm>
        <a:off x="206493" y="94743"/>
        <a:ext cx="613579" cy="409052"/>
      </dsp:txXfrm>
    </dsp:sp>
    <dsp:sp modelId="{77AB0C57-3732-4A7F-98BE-DE317F185E6C}">
      <dsp:nvSpPr>
        <dsp:cNvPr id="0" name=""/>
        <dsp:cNvSpPr/>
      </dsp:nvSpPr>
      <dsp:spPr>
        <a:xfrm>
          <a:off x="808598" y="94743"/>
          <a:ext cx="1022631" cy="409052"/>
        </a:xfrm>
        <a:prstGeom prst="chevron">
          <a:avLst/>
        </a:prstGeom>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it-IT" sz="900" kern="1200" dirty="0"/>
            <a:t>Risorse</a:t>
          </a:r>
        </a:p>
      </dsp:txBody>
      <dsp:txXfrm>
        <a:off x="1013124" y="94743"/>
        <a:ext cx="613579" cy="409052"/>
      </dsp:txXfrm>
    </dsp:sp>
    <dsp:sp modelId="{4AD6D448-4CC0-4315-A093-B9CE4EFAE2AC}">
      <dsp:nvSpPr>
        <dsp:cNvPr id="0" name=""/>
        <dsp:cNvSpPr/>
      </dsp:nvSpPr>
      <dsp:spPr>
        <a:xfrm>
          <a:off x="1615229" y="94743"/>
          <a:ext cx="1022631" cy="409052"/>
        </a:xfrm>
        <a:prstGeom prst="chevron">
          <a:avLst/>
        </a:prstGeom>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it-IT" sz="900" kern="1200" dirty="0" err="1"/>
            <a:t>soc</a:t>
          </a:r>
          <a:endParaRPr lang="it-IT" sz="900" kern="1200" dirty="0"/>
        </a:p>
      </dsp:txBody>
      <dsp:txXfrm>
        <a:off x="1819755" y="94743"/>
        <a:ext cx="613579" cy="409052"/>
      </dsp:txXfrm>
    </dsp:sp>
    <dsp:sp modelId="{E74D7A4A-73C2-43FA-824A-4BA72478203F}">
      <dsp:nvSpPr>
        <dsp:cNvPr id="0" name=""/>
        <dsp:cNvSpPr/>
      </dsp:nvSpPr>
      <dsp:spPr>
        <a:xfrm>
          <a:off x="2421860" y="94743"/>
          <a:ext cx="1022631" cy="409052"/>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it-IT" sz="900" kern="1200" dirty="0"/>
            <a:t>Affidamenti</a:t>
          </a:r>
        </a:p>
      </dsp:txBody>
      <dsp:txXfrm>
        <a:off x="2626386" y="94743"/>
        <a:ext cx="613579" cy="409052"/>
      </dsp:txXfrm>
    </dsp:sp>
    <dsp:sp modelId="{D2550DFF-8A71-41FD-B335-739C8BA82D9F}">
      <dsp:nvSpPr>
        <dsp:cNvPr id="0" name=""/>
        <dsp:cNvSpPr/>
      </dsp:nvSpPr>
      <dsp:spPr>
        <a:xfrm>
          <a:off x="3228491" y="94743"/>
          <a:ext cx="1022631" cy="409052"/>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MP</a:t>
          </a:r>
        </a:p>
      </dsp:txBody>
      <dsp:txXfrm>
        <a:off x="3433017" y="94743"/>
        <a:ext cx="613579" cy="409052"/>
      </dsp:txXfrm>
    </dsp:sp>
    <dsp:sp modelId="{7F8529BC-E330-492E-A9A4-85A5B4EDF65B}">
      <dsp:nvSpPr>
        <dsp:cNvPr id="0" name=""/>
        <dsp:cNvSpPr/>
      </dsp:nvSpPr>
      <dsp:spPr>
        <a:xfrm>
          <a:off x="4035123" y="94743"/>
          <a:ext cx="1022631" cy="409052"/>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NO</a:t>
          </a:r>
        </a:p>
      </dsp:txBody>
      <dsp:txXfrm>
        <a:off x="4239649" y="94743"/>
        <a:ext cx="613579" cy="409052"/>
      </dsp:txXfrm>
    </dsp:sp>
    <dsp:sp modelId="{64BB5E67-0670-4BB3-8535-51113E73DCA3}">
      <dsp:nvSpPr>
        <dsp:cNvPr id="0" name=""/>
        <dsp:cNvSpPr/>
      </dsp:nvSpPr>
      <dsp:spPr>
        <a:xfrm>
          <a:off x="4841754" y="94743"/>
          <a:ext cx="1022631" cy="409052"/>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it-IT" sz="900" kern="1200" dirty="0"/>
            <a:t>Supporto Tecnico</a:t>
          </a:r>
        </a:p>
      </dsp:txBody>
      <dsp:txXfrm>
        <a:off x="5046280" y="94743"/>
        <a:ext cx="613579" cy="409052"/>
      </dsp:txXfrm>
    </dsp:sp>
    <dsp:sp modelId="{15CC3617-00D3-4DE6-9B7C-73B0D91CB6A9}">
      <dsp:nvSpPr>
        <dsp:cNvPr id="0" name=""/>
        <dsp:cNvSpPr/>
      </dsp:nvSpPr>
      <dsp:spPr>
        <a:xfrm>
          <a:off x="5648385" y="94743"/>
          <a:ext cx="1022631" cy="409052"/>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it-IT" sz="900" kern="1200" dirty="0"/>
            <a:t>Ispezione Opere D’arte</a:t>
          </a:r>
        </a:p>
      </dsp:txBody>
      <dsp:txXfrm>
        <a:off x="5852911" y="94743"/>
        <a:ext cx="613579" cy="409052"/>
      </dsp:txXfrm>
    </dsp:sp>
    <dsp:sp modelId="{E42F589E-6631-42F1-A434-EB9BFC00C129}">
      <dsp:nvSpPr>
        <dsp:cNvPr id="0" name=""/>
        <dsp:cNvSpPr/>
      </dsp:nvSpPr>
      <dsp:spPr>
        <a:xfrm>
          <a:off x="6455016" y="94743"/>
          <a:ext cx="1022631" cy="409052"/>
        </a:xfrm>
        <a:prstGeom prst="chevron">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it-IT" sz="900" kern="1200" dirty="0"/>
            <a:t>Interventi Rilevanti</a:t>
          </a:r>
        </a:p>
      </dsp:txBody>
      <dsp:txXfrm>
        <a:off x="6659542" y="94743"/>
        <a:ext cx="613579" cy="409052"/>
      </dsp:txXfrm>
    </dsp:sp>
    <dsp:sp modelId="{F883C1BF-A3FE-43BF-9D52-4F40F37DDEA1}">
      <dsp:nvSpPr>
        <dsp:cNvPr id="0" name=""/>
        <dsp:cNvSpPr/>
      </dsp:nvSpPr>
      <dsp:spPr>
        <a:xfrm>
          <a:off x="6455016" y="554928"/>
          <a:ext cx="818104" cy="162000"/>
        </a:xfrm>
        <a:prstGeom prst="rect">
          <a:avLst/>
        </a:prstGeom>
        <a:solidFill>
          <a:schemeClr val="accent1"/>
        </a:solid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57150" lvl="1" indent="-57150" algn="l" defTabSz="400050">
            <a:lnSpc>
              <a:spcPct val="90000"/>
            </a:lnSpc>
            <a:spcBef>
              <a:spcPct val="0"/>
            </a:spcBef>
            <a:spcAft>
              <a:spcPct val="15000"/>
            </a:spcAft>
            <a:buChar char="•"/>
          </a:pPr>
          <a:r>
            <a:rPr lang="it-IT" sz="900" kern="1200" dirty="0">
              <a:solidFill>
                <a:schemeClr val="bg1"/>
              </a:solidFill>
            </a:rPr>
            <a:t>Smart Road</a:t>
          </a:r>
        </a:p>
      </dsp:txBody>
      <dsp:txXfrm>
        <a:off x="6455016" y="554928"/>
        <a:ext cx="818104" cy="162000"/>
      </dsp:txXfrm>
    </dsp:sp>
    <dsp:sp modelId="{3724937C-EC74-4482-9E71-5AB7879CEACB}">
      <dsp:nvSpPr>
        <dsp:cNvPr id="0" name=""/>
        <dsp:cNvSpPr/>
      </dsp:nvSpPr>
      <dsp:spPr>
        <a:xfrm>
          <a:off x="7261647" y="94743"/>
          <a:ext cx="1022631" cy="409052"/>
        </a:xfrm>
        <a:prstGeom prst="chevron">
          <a:avLst/>
        </a:prstGeom>
        <a:gradFill flip="none"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it-IT" sz="900" kern="1200" dirty="0"/>
            <a:t>Pagamenti</a:t>
          </a:r>
        </a:p>
      </dsp:txBody>
      <dsp:txXfrm>
        <a:off x="7466173" y="94743"/>
        <a:ext cx="613579" cy="409052"/>
      </dsp:txXfrm>
    </dsp:sp>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763F6D0-FDDE-4CA1-AD92-DB96E5135F54}">
      <dsp:nvSpPr>
        <dsp:cNvPr id="0" name=""/>
        <dsp:cNvSpPr/>
      </dsp:nvSpPr>
      <dsp:spPr>
        <a:xfrm>
          <a:off x="1967" y="94743"/>
          <a:ext cx="1022631" cy="409052"/>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it-IT" sz="900" kern="1200" dirty="0"/>
            <a:t>Rete viaria complessiva</a:t>
          </a:r>
        </a:p>
      </dsp:txBody>
      <dsp:txXfrm>
        <a:off x="206493" y="94743"/>
        <a:ext cx="613579" cy="409052"/>
      </dsp:txXfrm>
    </dsp:sp>
    <dsp:sp modelId="{77AB0C57-3732-4A7F-98BE-DE317F185E6C}">
      <dsp:nvSpPr>
        <dsp:cNvPr id="0" name=""/>
        <dsp:cNvSpPr/>
      </dsp:nvSpPr>
      <dsp:spPr>
        <a:xfrm>
          <a:off x="808598" y="94743"/>
          <a:ext cx="1022631" cy="409052"/>
        </a:xfrm>
        <a:prstGeom prst="chevron">
          <a:avLst/>
        </a:prstGeom>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it-IT" sz="900" kern="1200" dirty="0"/>
            <a:t>Risorse</a:t>
          </a:r>
        </a:p>
      </dsp:txBody>
      <dsp:txXfrm>
        <a:off x="1013124" y="94743"/>
        <a:ext cx="613579" cy="409052"/>
      </dsp:txXfrm>
    </dsp:sp>
    <dsp:sp modelId="{4AD6D448-4CC0-4315-A093-B9CE4EFAE2AC}">
      <dsp:nvSpPr>
        <dsp:cNvPr id="0" name=""/>
        <dsp:cNvSpPr/>
      </dsp:nvSpPr>
      <dsp:spPr>
        <a:xfrm>
          <a:off x="1615229" y="94743"/>
          <a:ext cx="1022631" cy="409052"/>
        </a:xfrm>
        <a:prstGeom prst="chevron">
          <a:avLst/>
        </a:prstGeom>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it-IT" sz="900" kern="1200" dirty="0" err="1"/>
            <a:t>soc</a:t>
          </a:r>
          <a:endParaRPr lang="it-IT" sz="900" kern="1200" dirty="0"/>
        </a:p>
      </dsp:txBody>
      <dsp:txXfrm>
        <a:off x="1819755" y="94743"/>
        <a:ext cx="613579" cy="409052"/>
      </dsp:txXfrm>
    </dsp:sp>
    <dsp:sp modelId="{E74D7A4A-73C2-43FA-824A-4BA72478203F}">
      <dsp:nvSpPr>
        <dsp:cNvPr id="0" name=""/>
        <dsp:cNvSpPr/>
      </dsp:nvSpPr>
      <dsp:spPr>
        <a:xfrm>
          <a:off x="2421860" y="94743"/>
          <a:ext cx="1022631" cy="409052"/>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it-IT" sz="900" kern="1200" dirty="0"/>
            <a:t>Affidamenti</a:t>
          </a:r>
        </a:p>
      </dsp:txBody>
      <dsp:txXfrm>
        <a:off x="2626386" y="94743"/>
        <a:ext cx="613579" cy="409052"/>
      </dsp:txXfrm>
    </dsp:sp>
    <dsp:sp modelId="{D2550DFF-8A71-41FD-B335-739C8BA82D9F}">
      <dsp:nvSpPr>
        <dsp:cNvPr id="0" name=""/>
        <dsp:cNvSpPr/>
      </dsp:nvSpPr>
      <dsp:spPr>
        <a:xfrm>
          <a:off x="3228491" y="94743"/>
          <a:ext cx="1022631" cy="409052"/>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MP</a:t>
          </a:r>
        </a:p>
      </dsp:txBody>
      <dsp:txXfrm>
        <a:off x="3433017" y="94743"/>
        <a:ext cx="613579" cy="409052"/>
      </dsp:txXfrm>
    </dsp:sp>
    <dsp:sp modelId="{7F8529BC-E330-492E-A9A4-85A5B4EDF65B}">
      <dsp:nvSpPr>
        <dsp:cNvPr id="0" name=""/>
        <dsp:cNvSpPr/>
      </dsp:nvSpPr>
      <dsp:spPr>
        <a:xfrm>
          <a:off x="4035123" y="94743"/>
          <a:ext cx="1022631" cy="409052"/>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NO</a:t>
          </a:r>
        </a:p>
      </dsp:txBody>
      <dsp:txXfrm>
        <a:off x="4239649" y="94743"/>
        <a:ext cx="613579" cy="409052"/>
      </dsp:txXfrm>
    </dsp:sp>
    <dsp:sp modelId="{64BB5E67-0670-4BB3-8535-51113E73DCA3}">
      <dsp:nvSpPr>
        <dsp:cNvPr id="0" name=""/>
        <dsp:cNvSpPr/>
      </dsp:nvSpPr>
      <dsp:spPr>
        <a:xfrm>
          <a:off x="4841754" y="94743"/>
          <a:ext cx="1022631" cy="409052"/>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it-IT" sz="900" kern="1200" dirty="0"/>
            <a:t>Supporto Tecnico</a:t>
          </a:r>
        </a:p>
      </dsp:txBody>
      <dsp:txXfrm>
        <a:off x="5046280" y="94743"/>
        <a:ext cx="613579" cy="409052"/>
      </dsp:txXfrm>
    </dsp:sp>
    <dsp:sp modelId="{15CC3617-00D3-4DE6-9B7C-73B0D91CB6A9}">
      <dsp:nvSpPr>
        <dsp:cNvPr id="0" name=""/>
        <dsp:cNvSpPr/>
      </dsp:nvSpPr>
      <dsp:spPr>
        <a:xfrm>
          <a:off x="5648385" y="94743"/>
          <a:ext cx="1022631" cy="409052"/>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it-IT" sz="900" kern="1200" dirty="0"/>
            <a:t>Ispezione Opere D’arte</a:t>
          </a:r>
        </a:p>
      </dsp:txBody>
      <dsp:txXfrm>
        <a:off x="5852911" y="94743"/>
        <a:ext cx="613579" cy="409052"/>
      </dsp:txXfrm>
    </dsp:sp>
    <dsp:sp modelId="{E42F589E-6631-42F1-A434-EB9BFC00C129}">
      <dsp:nvSpPr>
        <dsp:cNvPr id="0" name=""/>
        <dsp:cNvSpPr/>
      </dsp:nvSpPr>
      <dsp:spPr>
        <a:xfrm>
          <a:off x="6455016" y="94743"/>
          <a:ext cx="1022631" cy="409052"/>
        </a:xfrm>
        <a:prstGeom prst="chevron">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it-IT" sz="900" kern="1200" dirty="0"/>
            <a:t>Interventi Rilevanti</a:t>
          </a:r>
        </a:p>
      </dsp:txBody>
      <dsp:txXfrm>
        <a:off x="6659542" y="94743"/>
        <a:ext cx="613579" cy="409052"/>
      </dsp:txXfrm>
    </dsp:sp>
    <dsp:sp modelId="{F883C1BF-A3FE-43BF-9D52-4F40F37DDEA1}">
      <dsp:nvSpPr>
        <dsp:cNvPr id="0" name=""/>
        <dsp:cNvSpPr/>
      </dsp:nvSpPr>
      <dsp:spPr>
        <a:xfrm>
          <a:off x="6455016" y="554928"/>
          <a:ext cx="818104" cy="162000"/>
        </a:xfrm>
        <a:prstGeom prst="rect">
          <a:avLst/>
        </a:prstGeom>
        <a:solidFill>
          <a:schemeClr val="accent1"/>
        </a:solid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57150" lvl="1" indent="-57150" algn="l" defTabSz="400050">
            <a:lnSpc>
              <a:spcPct val="90000"/>
            </a:lnSpc>
            <a:spcBef>
              <a:spcPct val="0"/>
            </a:spcBef>
            <a:spcAft>
              <a:spcPct val="15000"/>
            </a:spcAft>
            <a:buChar char="•"/>
          </a:pPr>
          <a:r>
            <a:rPr lang="it-IT" sz="900" kern="1200" dirty="0">
              <a:solidFill>
                <a:schemeClr val="bg1"/>
              </a:solidFill>
            </a:rPr>
            <a:t>Smart Road</a:t>
          </a:r>
        </a:p>
      </dsp:txBody>
      <dsp:txXfrm>
        <a:off x="6455016" y="554928"/>
        <a:ext cx="818104" cy="162000"/>
      </dsp:txXfrm>
    </dsp:sp>
    <dsp:sp modelId="{3724937C-EC74-4482-9E71-5AB7879CEACB}">
      <dsp:nvSpPr>
        <dsp:cNvPr id="0" name=""/>
        <dsp:cNvSpPr/>
      </dsp:nvSpPr>
      <dsp:spPr>
        <a:xfrm>
          <a:off x="7261647" y="94743"/>
          <a:ext cx="1022631" cy="409052"/>
        </a:xfrm>
        <a:prstGeom prst="chevron">
          <a:avLst/>
        </a:prstGeom>
        <a:gradFill flip="none"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it-IT" sz="900" kern="1200" dirty="0"/>
            <a:t>Pagamenti</a:t>
          </a:r>
        </a:p>
      </dsp:txBody>
      <dsp:txXfrm>
        <a:off x="7466173" y="94743"/>
        <a:ext cx="613579" cy="4090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031506-3856-48AD-BFC1-89D9660F7FF7}">
      <dsp:nvSpPr>
        <dsp:cNvPr id="0" name=""/>
        <dsp:cNvSpPr/>
      </dsp:nvSpPr>
      <dsp:spPr>
        <a:xfrm>
          <a:off x="1011" y="223765"/>
          <a:ext cx="910354" cy="364141"/>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Rete viaria complessiva</a:t>
          </a:r>
        </a:p>
      </dsp:txBody>
      <dsp:txXfrm>
        <a:off x="183082" y="223765"/>
        <a:ext cx="546213" cy="364141"/>
      </dsp:txXfrm>
    </dsp:sp>
    <dsp:sp modelId="{6C62160D-9EC9-4B84-8EFD-9C3E10FC055A}">
      <dsp:nvSpPr>
        <dsp:cNvPr id="0" name=""/>
        <dsp:cNvSpPr/>
      </dsp:nvSpPr>
      <dsp:spPr>
        <a:xfrm>
          <a:off x="820330" y="223765"/>
          <a:ext cx="910354" cy="364141"/>
        </a:xfrm>
        <a:prstGeom prst="chevron">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Risorse</a:t>
          </a:r>
        </a:p>
      </dsp:txBody>
      <dsp:txXfrm>
        <a:off x="1002401" y="223765"/>
        <a:ext cx="546213" cy="364141"/>
      </dsp:txXfrm>
    </dsp:sp>
    <dsp:sp modelId="{636F50A3-8EFE-4C08-B6BE-284B03274F0B}">
      <dsp:nvSpPr>
        <dsp:cNvPr id="0" name=""/>
        <dsp:cNvSpPr/>
      </dsp:nvSpPr>
      <dsp:spPr>
        <a:xfrm>
          <a:off x="1639649" y="223765"/>
          <a:ext cx="910354" cy="364141"/>
        </a:xfrm>
        <a:prstGeom prst="chevron">
          <a:avLst/>
        </a:prstGeom>
        <a:gradFill flip="none"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err="1"/>
            <a:t>soc</a:t>
          </a:r>
          <a:endParaRPr lang="it-IT" sz="800" kern="1200" dirty="0"/>
        </a:p>
      </dsp:txBody>
      <dsp:txXfrm>
        <a:off x="1821720" y="223765"/>
        <a:ext cx="546213" cy="364141"/>
      </dsp:txXfrm>
    </dsp:sp>
    <dsp:sp modelId="{6BB9B9CD-B911-4E33-8045-BE6A8D7C5B89}">
      <dsp:nvSpPr>
        <dsp:cNvPr id="0" name=""/>
        <dsp:cNvSpPr/>
      </dsp:nvSpPr>
      <dsp:spPr>
        <a:xfrm>
          <a:off x="2458967" y="223765"/>
          <a:ext cx="910354" cy="364141"/>
        </a:xfrm>
        <a:prstGeom prst="chevron">
          <a:avLst/>
        </a:prstGeom>
        <a:gradFill flip="none"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Affidamenti</a:t>
          </a:r>
        </a:p>
      </dsp:txBody>
      <dsp:txXfrm>
        <a:off x="2641038" y="223765"/>
        <a:ext cx="546213" cy="364141"/>
      </dsp:txXfrm>
    </dsp:sp>
    <dsp:sp modelId="{A29D7AF6-34C9-459D-B160-0F8E7686BA2B}">
      <dsp:nvSpPr>
        <dsp:cNvPr id="0" name=""/>
        <dsp:cNvSpPr/>
      </dsp:nvSpPr>
      <dsp:spPr>
        <a:xfrm>
          <a:off x="3278286"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MP</a:t>
          </a:r>
        </a:p>
      </dsp:txBody>
      <dsp:txXfrm>
        <a:off x="3460357" y="223765"/>
        <a:ext cx="546213" cy="364141"/>
      </dsp:txXfrm>
    </dsp:sp>
    <dsp:sp modelId="{A2199658-E72A-4294-AFD3-6892981EEB12}">
      <dsp:nvSpPr>
        <dsp:cNvPr id="0" name=""/>
        <dsp:cNvSpPr/>
      </dsp:nvSpPr>
      <dsp:spPr>
        <a:xfrm>
          <a:off x="4097605"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NO</a:t>
          </a:r>
        </a:p>
      </dsp:txBody>
      <dsp:txXfrm>
        <a:off x="4279676" y="223765"/>
        <a:ext cx="546213" cy="364141"/>
      </dsp:txXfrm>
    </dsp:sp>
    <dsp:sp modelId="{F9C55CAF-C1A3-4EFD-AD93-3CBF7E30E2FA}">
      <dsp:nvSpPr>
        <dsp:cNvPr id="0" name=""/>
        <dsp:cNvSpPr/>
      </dsp:nvSpPr>
      <dsp:spPr>
        <a:xfrm>
          <a:off x="4916924"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Supporto Tecnico</a:t>
          </a:r>
        </a:p>
      </dsp:txBody>
      <dsp:txXfrm>
        <a:off x="5098995" y="223765"/>
        <a:ext cx="546213" cy="364141"/>
      </dsp:txXfrm>
    </dsp:sp>
    <dsp:sp modelId="{8CED6B9D-804A-4009-A04D-D699125D11F0}">
      <dsp:nvSpPr>
        <dsp:cNvPr id="0" name=""/>
        <dsp:cNvSpPr/>
      </dsp:nvSpPr>
      <dsp:spPr>
        <a:xfrm>
          <a:off x="5736242"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Ispezione Opere D’arte</a:t>
          </a:r>
        </a:p>
      </dsp:txBody>
      <dsp:txXfrm>
        <a:off x="5918313" y="223765"/>
        <a:ext cx="546213" cy="364141"/>
      </dsp:txXfrm>
    </dsp:sp>
    <dsp:sp modelId="{0A5AB2D9-0A33-47A4-83C2-3990E2018CD9}">
      <dsp:nvSpPr>
        <dsp:cNvPr id="0" name=""/>
        <dsp:cNvSpPr/>
      </dsp:nvSpPr>
      <dsp:spPr>
        <a:xfrm>
          <a:off x="6555561"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Interventi Rilevanti</a:t>
          </a:r>
        </a:p>
      </dsp:txBody>
      <dsp:txXfrm>
        <a:off x="6737632" y="223765"/>
        <a:ext cx="546213" cy="364141"/>
      </dsp:txXfrm>
    </dsp:sp>
    <dsp:sp modelId="{F2510710-7BA2-44B7-8AA7-1347717B483B}">
      <dsp:nvSpPr>
        <dsp:cNvPr id="0" name=""/>
        <dsp:cNvSpPr/>
      </dsp:nvSpPr>
      <dsp:spPr>
        <a:xfrm>
          <a:off x="7374880"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Pagamenti</a:t>
          </a:r>
        </a:p>
      </dsp:txBody>
      <dsp:txXfrm>
        <a:off x="7556951" y="223765"/>
        <a:ext cx="546213" cy="364141"/>
      </dsp:txXfrm>
    </dsp:sp>
  </dsp:spTree>
</dsp:drawing>
</file>

<file path=ppt/diagrams/drawing3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763F6D0-FDDE-4CA1-AD92-DB96E5135F54}">
      <dsp:nvSpPr>
        <dsp:cNvPr id="0" name=""/>
        <dsp:cNvSpPr/>
      </dsp:nvSpPr>
      <dsp:spPr>
        <a:xfrm>
          <a:off x="1967" y="94743"/>
          <a:ext cx="1022631" cy="409052"/>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it-IT" sz="900" kern="1200" dirty="0"/>
            <a:t>Rete viaria complessiva</a:t>
          </a:r>
        </a:p>
      </dsp:txBody>
      <dsp:txXfrm>
        <a:off x="206493" y="94743"/>
        <a:ext cx="613579" cy="409052"/>
      </dsp:txXfrm>
    </dsp:sp>
    <dsp:sp modelId="{77AB0C57-3732-4A7F-98BE-DE317F185E6C}">
      <dsp:nvSpPr>
        <dsp:cNvPr id="0" name=""/>
        <dsp:cNvSpPr/>
      </dsp:nvSpPr>
      <dsp:spPr>
        <a:xfrm>
          <a:off x="808598" y="94743"/>
          <a:ext cx="1022631" cy="409052"/>
        </a:xfrm>
        <a:prstGeom prst="chevron">
          <a:avLst/>
        </a:prstGeom>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it-IT" sz="900" kern="1200" dirty="0"/>
            <a:t>Risorse</a:t>
          </a:r>
        </a:p>
      </dsp:txBody>
      <dsp:txXfrm>
        <a:off x="1013124" y="94743"/>
        <a:ext cx="613579" cy="409052"/>
      </dsp:txXfrm>
    </dsp:sp>
    <dsp:sp modelId="{4AD6D448-4CC0-4315-A093-B9CE4EFAE2AC}">
      <dsp:nvSpPr>
        <dsp:cNvPr id="0" name=""/>
        <dsp:cNvSpPr/>
      </dsp:nvSpPr>
      <dsp:spPr>
        <a:xfrm>
          <a:off x="1615229" y="94743"/>
          <a:ext cx="1022631" cy="409052"/>
        </a:xfrm>
        <a:prstGeom prst="chevron">
          <a:avLst/>
        </a:prstGeom>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it-IT" sz="900" kern="1200" dirty="0" err="1"/>
            <a:t>soc</a:t>
          </a:r>
          <a:endParaRPr lang="it-IT" sz="900" kern="1200" dirty="0"/>
        </a:p>
      </dsp:txBody>
      <dsp:txXfrm>
        <a:off x="1819755" y="94743"/>
        <a:ext cx="613579" cy="409052"/>
      </dsp:txXfrm>
    </dsp:sp>
    <dsp:sp modelId="{E74D7A4A-73C2-43FA-824A-4BA72478203F}">
      <dsp:nvSpPr>
        <dsp:cNvPr id="0" name=""/>
        <dsp:cNvSpPr/>
      </dsp:nvSpPr>
      <dsp:spPr>
        <a:xfrm>
          <a:off x="2421860" y="94743"/>
          <a:ext cx="1022631" cy="409052"/>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it-IT" sz="900" kern="1200" dirty="0"/>
            <a:t>Affidamenti</a:t>
          </a:r>
        </a:p>
      </dsp:txBody>
      <dsp:txXfrm>
        <a:off x="2626386" y="94743"/>
        <a:ext cx="613579" cy="409052"/>
      </dsp:txXfrm>
    </dsp:sp>
    <dsp:sp modelId="{D2550DFF-8A71-41FD-B335-739C8BA82D9F}">
      <dsp:nvSpPr>
        <dsp:cNvPr id="0" name=""/>
        <dsp:cNvSpPr/>
      </dsp:nvSpPr>
      <dsp:spPr>
        <a:xfrm>
          <a:off x="3228491" y="94743"/>
          <a:ext cx="1022631" cy="409052"/>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MP</a:t>
          </a:r>
        </a:p>
      </dsp:txBody>
      <dsp:txXfrm>
        <a:off x="3433017" y="94743"/>
        <a:ext cx="613579" cy="409052"/>
      </dsp:txXfrm>
    </dsp:sp>
    <dsp:sp modelId="{7F8529BC-E330-492E-A9A4-85A5B4EDF65B}">
      <dsp:nvSpPr>
        <dsp:cNvPr id="0" name=""/>
        <dsp:cNvSpPr/>
      </dsp:nvSpPr>
      <dsp:spPr>
        <a:xfrm>
          <a:off x="4035123" y="94743"/>
          <a:ext cx="1022631" cy="409052"/>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NO</a:t>
          </a:r>
        </a:p>
      </dsp:txBody>
      <dsp:txXfrm>
        <a:off x="4239649" y="94743"/>
        <a:ext cx="613579" cy="409052"/>
      </dsp:txXfrm>
    </dsp:sp>
    <dsp:sp modelId="{64BB5E67-0670-4BB3-8535-51113E73DCA3}">
      <dsp:nvSpPr>
        <dsp:cNvPr id="0" name=""/>
        <dsp:cNvSpPr/>
      </dsp:nvSpPr>
      <dsp:spPr>
        <a:xfrm>
          <a:off x="4841754" y="94743"/>
          <a:ext cx="1022631" cy="409052"/>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it-IT" sz="900" kern="1200" dirty="0"/>
            <a:t>Supporto Tecnico</a:t>
          </a:r>
        </a:p>
      </dsp:txBody>
      <dsp:txXfrm>
        <a:off x="5046280" y="94743"/>
        <a:ext cx="613579" cy="409052"/>
      </dsp:txXfrm>
    </dsp:sp>
    <dsp:sp modelId="{15CC3617-00D3-4DE6-9B7C-73B0D91CB6A9}">
      <dsp:nvSpPr>
        <dsp:cNvPr id="0" name=""/>
        <dsp:cNvSpPr/>
      </dsp:nvSpPr>
      <dsp:spPr>
        <a:xfrm>
          <a:off x="5648385" y="94743"/>
          <a:ext cx="1022631" cy="409052"/>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it-IT" sz="900" kern="1200" dirty="0"/>
            <a:t>Ispezione Opere D’arte</a:t>
          </a:r>
        </a:p>
      </dsp:txBody>
      <dsp:txXfrm>
        <a:off x="5852911" y="94743"/>
        <a:ext cx="613579" cy="409052"/>
      </dsp:txXfrm>
    </dsp:sp>
    <dsp:sp modelId="{E42F589E-6631-42F1-A434-EB9BFC00C129}">
      <dsp:nvSpPr>
        <dsp:cNvPr id="0" name=""/>
        <dsp:cNvSpPr/>
      </dsp:nvSpPr>
      <dsp:spPr>
        <a:xfrm>
          <a:off x="6455016" y="94743"/>
          <a:ext cx="1022631" cy="409052"/>
        </a:xfrm>
        <a:prstGeom prst="chevron">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it-IT" sz="900" kern="1200" dirty="0"/>
            <a:t>Interventi Rilevanti</a:t>
          </a:r>
        </a:p>
      </dsp:txBody>
      <dsp:txXfrm>
        <a:off x="6659542" y="94743"/>
        <a:ext cx="613579" cy="409052"/>
      </dsp:txXfrm>
    </dsp:sp>
    <dsp:sp modelId="{F883C1BF-A3FE-43BF-9D52-4F40F37DDEA1}">
      <dsp:nvSpPr>
        <dsp:cNvPr id="0" name=""/>
        <dsp:cNvSpPr/>
      </dsp:nvSpPr>
      <dsp:spPr>
        <a:xfrm>
          <a:off x="6455016" y="554928"/>
          <a:ext cx="818104" cy="162000"/>
        </a:xfrm>
        <a:prstGeom prst="rect">
          <a:avLst/>
        </a:prstGeom>
        <a:solidFill>
          <a:schemeClr val="accent1"/>
        </a:solid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57150" lvl="1" indent="-57150" algn="l" defTabSz="400050">
            <a:lnSpc>
              <a:spcPct val="90000"/>
            </a:lnSpc>
            <a:spcBef>
              <a:spcPct val="0"/>
            </a:spcBef>
            <a:spcAft>
              <a:spcPct val="15000"/>
            </a:spcAft>
            <a:buChar char="•"/>
          </a:pPr>
          <a:r>
            <a:rPr lang="it-IT" sz="900" kern="1200" dirty="0">
              <a:solidFill>
                <a:schemeClr val="bg1"/>
              </a:solidFill>
            </a:rPr>
            <a:t>Smart Road</a:t>
          </a:r>
        </a:p>
      </dsp:txBody>
      <dsp:txXfrm>
        <a:off x="6455016" y="554928"/>
        <a:ext cx="818104" cy="162000"/>
      </dsp:txXfrm>
    </dsp:sp>
    <dsp:sp modelId="{3724937C-EC74-4482-9E71-5AB7879CEACB}">
      <dsp:nvSpPr>
        <dsp:cNvPr id="0" name=""/>
        <dsp:cNvSpPr/>
      </dsp:nvSpPr>
      <dsp:spPr>
        <a:xfrm>
          <a:off x="7261647" y="94743"/>
          <a:ext cx="1022631" cy="409052"/>
        </a:xfrm>
        <a:prstGeom prst="chevron">
          <a:avLst/>
        </a:prstGeom>
        <a:gradFill flip="none"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it-IT" sz="900" kern="1200" dirty="0"/>
            <a:t>Pagamenti</a:t>
          </a:r>
        </a:p>
      </dsp:txBody>
      <dsp:txXfrm>
        <a:off x="7466173" y="94743"/>
        <a:ext cx="613579" cy="409052"/>
      </dsp:txXfrm>
    </dsp:sp>
  </dsp:spTree>
</dsp:drawing>
</file>

<file path=ppt/diagrams/drawing3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763F6D0-FDDE-4CA1-AD92-DB96E5135F54}">
      <dsp:nvSpPr>
        <dsp:cNvPr id="0" name=""/>
        <dsp:cNvSpPr/>
      </dsp:nvSpPr>
      <dsp:spPr>
        <a:xfrm>
          <a:off x="1967" y="94743"/>
          <a:ext cx="1022631" cy="409052"/>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it-IT" sz="900" kern="1200" dirty="0"/>
            <a:t>Rete viaria complessiva</a:t>
          </a:r>
        </a:p>
      </dsp:txBody>
      <dsp:txXfrm>
        <a:off x="206493" y="94743"/>
        <a:ext cx="613579" cy="409052"/>
      </dsp:txXfrm>
    </dsp:sp>
    <dsp:sp modelId="{77AB0C57-3732-4A7F-98BE-DE317F185E6C}">
      <dsp:nvSpPr>
        <dsp:cNvPr id="0" name=""/>
        <dsp:cNvSpPr/>
      </dsp:nvSpPr>
      <dsp:spPr>
        <a:xfrm>
          <a:off x="808598" y="94743"/>
          <a:ext cx="1022631" cy="409052"/>
        </a:xfrm>
        <a:prstGeom prst="chevron">
          <a:avLst/>
        </a:prstGeom>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it-IT" sz="900" kern="1200" dirty="0"/>
            <a:t>Risorse</a:t>
          </a:r>
        </a:p>
      </dsp:txBody>
      <dsp:txXfrm>
        <a:off x="1013124" y="94743"/>
        <a:ext cx="613579" cy="409052"/>
      </dsp:txXfrm>
    </dsp:sp>
    <dsp:sp modelId="{4AD6D448-4CC0-4315-A093-B9CE4EFAE2AC}">
      <dsp:nvSpPr>
        <dsp:cNvPr id="0" name=""/>
        <dsp:cNvSpPr/>
      </dsp:nvSpPr>
      <dsp:spPr>
        <a:xfrm>
          <a:off x="1615229" y="94743"/>
          <a:ext cx="1022631" cy="409052"/>
        </a:xfrm>
        <a:prstGeom prst="chevron">
          <a:avLst/>
        </a:prstGeom>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it-IT" sz="900" kern="1200" dirty="0" err="1"/>
            <a:t>soc</a:t>
          </a:r>
          <a:endParaRPr lang="it-IT" sz="900" kern="1200" dirty="0"/>
        </a:p>
      </dsp:txBody>
      <dsp:txXfrm>
        <a:off x="1819755" y="94743"/>
        <a:ext cx="613579" cy="409052"/>
      </dsp:txXfrm>
    </dsp:sp>
    <dsp:sp modelId="{E74D7A4A-73C2-43FA-824A-4BA72478203F}">
      <dsp:nvSpPr>
        <dsp:cNvPr id="0" name=""/>
        <dsp:cNvSpPr/>
      </dsp:nvSpPr>
      <dsp:spPr>
        <a:xfrm>
          <a:off x="2421860" y="94743"/>
          <a:ext cx="1022631" cy="409052"/>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it-IT" sz="900" kern="1200" dirty="0"/>
            <a:t>Affidamenti</a:t>
          </a:r>
        </a:p>
      </dsp:txBody>
      <dsp:txXfrm>
        <a:off x="2626386" y="94743"/>
        <a:ext cx="613579" cy="409052"/>
      </dsp:txXfrm>
    </dsp:sp>
    <dsp:sp modelId="{D2550DFF-8A71-41FD-B335-739C8BA82D9F}">
      <dsp:nvSpPr>
        <dsp:cNvPr id="0" name=""/>
        <dsp:cNvSpPr/>
      </dsp:nvSpPr>
      <dsp:spPr>
        <a:xfrm>
          <a:off x="3228491" y="94743"/>
          <a:ext cx="1022631" cy="409052"/>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MP</a:t>
          </a:r>
        </a:p>
      </dsp:txBody>
      <dsp:txXfrm>
        <a:off x="3433017" y="94743"/>
        <a:ext cx="613579" cy="409052"/>
      </dsp:txXfrm>
    </dsp:sp>
    <dsp:sp modelId="{7F8529BC-E330-492E-A9A4-85A5B4EDF65B}">
      <dsp:nvSpPr>
        <dsp:cNvPr id="0" name=""/>
        <dsp:cNvSpPr/>
      </dsp:nvSpPr>
      <dsp:spPr>
        <a:xfrm>
          <a:off x="4035123" y="94743"/>
          <a:ext cx="1022631" cy="409052"/>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NO</a:t>
          </a:r>
        </a:p>
      </dsp:txBody>
      <dsp:txXfrm>
        <a:off x="4239649" y="94743"/>
        <a:ext cx="613579" cy="409052"/>
      </dsp:txXfrm>
    </dsp:sp>
    <dsp:sp modelId="{64BB5E67-0670-4BB3-8535-51113E73DCA3}">
      <dsp:nvSpPr>
        <dsp:cNvPr id="0" name=""/>
        <dsp:cNvSpPr/>
      </dsp:nvSpPr>
      <dsp:spPr>
        <a:xfrm>
          <a:off x="4841754" y="94743"/>
          <a:ext cx="1022631" cy="409052"/>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it-IT" sz="900" kern="1200" dirty="0"/>
            <a:t>Supporto Tecnico</a:t>
          </a:r>
        </a:p>
      </dsp:txBody>
      <dsp:txXfrm>
        <a:off x="5046280" y="94743"/>
        <a:ext cx="613579" cy="409052"/>
      </dsp:txXfrm>
    </dsp:sp>
    <dsp:sp modelId="{15CC3617-00D3-4DE6-9B7C-73B0D91CB6A9}">
      <dsp:nvSpPr>
        <dsp:cNvPr id="0" name=""/>
        <dsp:cNvSpPr/>
      </dsp:nvSpPr>
      <dsp:spPr>
        <a:xfrm>
          <a:off x="5648385" y="94743"/>
          <a:ext cx="1022631" cy="409052"/>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it-IT" sz="900" kern="1200" dirty="0"/>
            <a:t>Ispezione Opere D’arte</a:t>
          </a:r>
        </a:p>
      </dsp:txBody>
      <dsp:txXfrm>
        <a:off x="5852911" y="94743"/>
        <a:ext cx="613579" cy="409052"/>
      </dsp:txXfrm>
    </dsp:sp>
    <dsp:sp modelId="{E42F589E-6631-42F1-A434-EB9BFC00C129}">
      <dsp:nvSpPr>
        <dsp:cNvPr id="0" name=""/>
        <dsp:cNvSpPr/>
      </dsp:nvSpPr>
      <dsp:spPr>
        <a:xfrm>
          <a:off x="6455016" y="94743"/>
          <a:ext cx="1022631" cy="409052"/>
        </a:xfrm>
        <a:prstGeom prst="chevron">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it-IT" sz="900" kern="1200" dirty="0"/>
            <a:t>Interventi Rilevanti</a:t>
          </a:r>
        </a:p>
      </dsp:txBody>
      <dsp:txXfrm>
        <a:off x="6659542" y="94743"/>
        <a:ext cx="613579" cy="409052"/>
      </dsp:txXfrm>
    </dsp:sp>
    <dsp:sp modelId="{F883C1BF-A3FE-43BF-9D52-4F40F37DDEA1}">
      <dsp:nvSpPr>
        <dsp:cNvPr id="0" name=""/>
        <dsp:cNvSpPr/>
      </dsp:nvSpPr>
      <dsp:spPr>
        <a:xfrm>
          <a:off x="6455016" y="554928"/>
          <a:ext cx="818104" cy="162000"/>
        </a:xfrm>
        <a:prstGeom prst="rect">
          <a:avLst/>
        </a:prstGeom>
        <a:solidFill>
          <a:schemeClr val="accent1"/>
        </a:solid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57150" lvl="1" indent="-57150" algn="l" defTabSz="400050">
            <a:lnSpc>
              <a:spcPct val="90000"/>
            </a:lnSpc>
            <a:spcBef>
              <a:spcPct val="0"/>
            </a:spcBef>
            <a:spcAft>
              <a:spcPct val="15000"/>
            </a:spcAft>
            <a:buChar char="•"/>
          </a:pPr>
          <a:r>
            <a:rPr lang="it-IT" sz="900" kern="1200" dirty="0">
              <a:solidFill>
                <a:schemeClr val="bg1"/>
              </a:solidFill>
            </a:rPr>
            <a:t>Smart Road</a:t>
          </a:r>
        </a:p>
      </dsp:txBody>
      <dsp:txXfrm>
        <a:off x="6455016" y="554928"/>
        <a:ext cx="818104" cy="162000"/>
      </dsp:txXfrm>
    </dsp:sp>
    <dsp:sp modelId="{3724937C-EC74-4482-9E71-5AB7879CEACB}">
      <dsp:nvSpPr>
        <dsp:cNvPr id="0" name=""/>
        <dsp:cNvSpPr/>
      </dsp:nvSpPr>
      <dsp:spPr>
        <a:xfrm>
          <a:off x="7261647" y="94743"/>
          <a:ext cx="1022631" cy="409052"/>
        </a:xfrm>
        <a:prstGeom prst="chevron">
          <a:avLst/>
        </a:prstGeom>
        <a:gradFill flip="none"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it-IT" sz="900" kern="1200" dirty="0"/>
            <a:t>Pagamenti</a:t>
          </a:r>
        </a:p>
      </dsp:txBody>
      <dsp:txXfrm>
        <a:off x="7466173" y="94743"/>
        <a:ext cx="613579" cy="409052"/>
      </dsp:txXfrm>
    </dsp:sp>
  </dsp:spTree>
</dsp:drawing>
</file>

<file path=ppt/diagrams/drawing3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031506-3856-48AD-BFC1-89D9660F7FF7}">
      <dsp:nvSpPr>
        <dsp:cNvPr id="0" name=""/>
        <dsp:cNvSpPr/>
      </dsp:nvSpPr>
      <dsp:spPr>
        <a:xfrm>
          <a:off x="1011" y="223765"/>
          <a:ext cx="910354" cy="364141"/>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Rete viaria complessiva</a:t>
          </a:r>
        </a:p>
      </dsp:txBody>
      <dsp:txXfrm>
        <a:off x="183082" y="223765"/>
        <a:ext cx="546213" cy="364141"/>
      </dsp:txXfrm>
    </dsp:sp>
    <dsp:sp modelId="{6C62160D-9EC9-4B84-8EFD-9C3E10FC055A}">
      <dsp:nvSpPr>
        <dsp:cNvPr id="0" name=""/>
        <dsp:cNvSpPr/>
      </dsp:nvSpPr>
      <dsp:spPr>
        <a:xfrm>
          <a:off x="820330" y="223765"/>
          <a:ext cx="910354" cy="364141"/>
        </a:xfrm>
        <a:prstGeom prst="chevron">
          <a:avLst/>
        </a:prstGeom>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Risorse</a:t>
          </a:r>
        </a:p>
      </dsp:txBody>
      <dsp:txXfrm>
        <a:off x="1002401" y="223765"/>
        <a:ext cx="546213" cy="364141"/>
      </dsp:txXfrm>
    </dsp:sp>
    <dsp:sp modelId="{636F50A3-8EFE-4C08-B6BE-284B03274F0B}">
      <dsp:nvSpPr>
        <dsp:cNvPr id="0" name=""/>
        <dsp:cNvSpPr/>
      </dsp:nvSpPr>
      <dsp:spPr>
        <a:xfrm>
          <a:off x="1639649" y="223765"/>
          <a:ext cx="910354" cy="364141"/>
        </a:xfrm>
        <a:prstGeom prst="chevron">
          <a:avLst/>
        </a:prstGeom>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err="1"/>
            <a:t>soc</a:t>
          </a:r>
          <a:endParaRPr lang="it-IT" sz="800" kern="1200" dirty="0"/>
        </a:p>
      </dsp:txBody>
      <dsp:txXfrm>
        <a:off x="1821720" y="223765"/>
        <a:ext cx="546213" cy="364141"/>
      </dsp:txXfrm>
    </dsp:sp>
    <dsp:sp modelId="{6BB9B9CD-B911-4E33-8045-BE6A8D7C5B89}">
      <dsp:nvSpPr>
        <dsp:cNvPr id="0" name=""/>
        <dsp:cNvSpPr/>
      </dsp:nvSpPr>
      <dsp:spPr>
        <a:xfrm>
          <a:off x="2458967" y="223765"/>
          <a:ext cx="910354" cy="364141"/>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Affidamenti</a:t>
          </a:r>
        </a:p>
      </dsp:txBody>
      <dsp:txXfrm>
        <a:off x="2641038" y="223765"/>
        <a:ext cx="546213" cy="364141"/>
      </dsp:txXfrm>
    </dsp:sp>
    <dsp:sp modelId="{A29D7AF6-34C9-459D-B160-0F8E7686BA2B}">
      <dsp:nvSpPr>
        <dsp:cNvPr id="0" name=""/>
        <dsp:cNvSpPr/>
      </dsp:nvSpPr>
      <dsp:spPr>
        <a:xfrm>
          <a:off x="3278286"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MP</a:t>
          </a:r>
        </a:p>
      </dsp:txBody>
      <dsp:txXfrm>
        <a:off x="3460357" y="223765"/>
        <a:ext cx="546213" cy="364141"/>
      </dsp:txXfrm>
    </dsp:sp>
    <dsp:sp modelId="{A2199658-E72A-4294-AFD3-6892981EEB12}">
      <dsp:nvSpPr>
        <dsp:cNvPr id="0" name=""/>
        <dsp:cNvSpPr/>
      </dsp:nvSpPr>
      <dsp:spPr>
        <a:xfrm>
          <a:off x="4097605"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NO</a:t>
          </a:r>
        </a:p>
      </dsp:txBody>
      <dsp:txXfrm>
        <a:off x="4279676" y="223765"/>
        <a:ext cx="546213" cy="364141"/>
      </dsp:txXfrm>
    </dsp:sp>
    <dsp:sp modelId="{F9C55CAF-C1A3-4EFD-AD93-3CBF7E30E2FA}">
      <dsp:nvSpPr>
        <dsp:cNvPr id="0" name=""/>
        <dsp:cNvSpPr/>
      </dsp:nvSpPr>
      <dsp:spPr>
        <a:xfrm>
          <a:off x="4916924"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Supporto Tecnico</a:t>
          </a:r>
        </a:p>
      </dsp:txBody>
      <dsp:txXfrm>
        <a:off x="5098995" y="223765"/>
        <a:ext cx="546213" cy="364141"/>
      </dsp:txXfrm>
    </dsp:sp>
    <dsp:sp modelId="{8CED6B9D-804A-4009-A04D-D699125D11F0}">
      <dsp:nvSpPr>
        <dsp:cNvPr id="0" name=""/>
        <dsp:cNvSpPr/>
      </dsp:nvSpPr>
      <dsp:spPr>
        <a:xfrm>
          <a:off x="5736242"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Ispezione Opere D’arte</a:t>
          </a:r>
        </a:p>
      </dsp:txBody>
      <dsp:txXfrm>
        <a:off x="5918313" y="223765"/>
        <a:ext cx="546213" cy="364141"/>
      </dsp:txXfrm>
    </dsp:sp>
    <dsp:sp modelId="{0A5AB2D9-0A33-47A4-83C2-3990E2018CD9}">
      <dsp:nvSpPr>
        <dsp:cNvPr id="0" name=""/>
        <dsp:cNvSpPr/>
      </dsp:nvSpPr>
      <dsp:spPr>
        <a:xfrm>
          <a:off x="6555561" y="223765"/>
          <a:ext cx="910354" cy="364141"/>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Interventi Rilevanti</a:t>
          </a:r>
        </a:p>
      </dsp:txBody>
      <dsp:txXfrm>
        <a:off x="6737632" y="223765"/>
        <a:ext cx="546213" cy="364141"/>
      </dsp:txXfrm>
    </dsp:sp>
    <dsp:sp modelId="{F2510710-7BA2-44B7-8AA7-1347717B483B}">
      <dsp:nvSpPr>
        <dsp:cNvPr id="0" name=""/>
        <dsp:cNvSpPr/>
      </dsp:nvSpPr>
      <dsp:spPr>
        <a:xfrm>
          <a:off x="7374880" y="223765"/>
          <a:ext cx="910354" cy="364141"/>
        </a:xfrm>
        <a:prstGeom prst="chevron">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Pagamenti</a:t>
          </a:r>
        </a:p>
      </dsp:txBody>
      <dsp:txXfrm>
        <a:off x="7556951" y="223765"/>
        <a:ext cx="546213" cy="36414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031506-3856-48AD-BFC1-89D9660F7FF7}">
      <dsp:nvSpPr>
        <dsp:cNvPr id="0" name=""/>
        <dsp:cNvSpPr/>
      </dsp:nvSpPr>
      <dsp:spPr>
        <a:xfrm>
          <a:off x="1011" y="223765"/>
          <a:ext cx="910354" cy="364141"/>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Rete viaria complessiva</a:t>
          </a:r>
        </a:p>
      </dsp:txBody>
      <dsp:txXfrm>
        <a:off x="183082" y="223765"/>
        <a:ext cx="546213" cy="364141"/>
      </dsp:txXfrm>
    </dsp:sp>
    <dsp:sp modelId="{6C62160D-9EC9-4B84-8EFD-9C3E10FC055A}">
      <dsp:nvSpPr>
        <dsp:cNvPr id="0" name=""/>
        <dsp:cNvSpPr/>
      </dsp:nvSpPr>
      <dsp:spPr>
        <a:xfrm>
          <a:off x="820330" y="223765"/>
          <a:ext cx="910354" cy="364141"/>
        </a:xfrm>
        <a:prstGeom prst="chevron">
          <a:avLst/>
        </a:prstGeom>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Risorse</a:t>
          </a:r>
        </a:p>
      </dsp:txBody>
      <dsp:txXfrm>
        <a:off x="1002401" y="223765"/>
        <a:ext cx="546213" cy="364141"/>
      </dsp:txXfrm>
    </dsp:sp>
    <dsp:sp modelId="{636F50A3-8EFE-4C08-B6BE-284B03274F0B}">
      <dsp:nvSpPr>
        <dsp:cNvPr id="0" name=""/>
        <dsp:cNvSpPr/>
      </dsp:nvSpPr>
      <dsp:spPr>
        <a:xfrm>
          <a:off x="1639649" y="223765"/>
          <a:ext cx="910354" cy="364141"/>
        </a:xfrm>
        <a:prstGeom prst="chevron">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err="1"/>
            <a:t>soc</a:t>
          </a:r>
          <a:endParaRPr lang="it-IT" sz="800" kern="1200" dirty="0"/>
        </a:p>
      </dsp:txBody>
      <dsp:txXfrm>
        <a:off x="1821720" y="223765"/>
        <a:ext cx="546213" cy="364141"/>
      </dsp:txXfrm>
    </dsp:sp>
    <dsp:sp modelId="{6BB9B9CD-B911-4E33-8045-BE6A8D7C5B89}">
      <dsp:nvSpPr>
        <dsp:cNvPr id="0" name=""/>
        <dsp:cNvSpPr/>
      </dsp:nvSpPr>
      <dsp:spPr>
        <a:xfrm>
          <a:off x="2458967" y="223765"/>
          <a:ext cx="910354" cy="364141"/>
        </a:xfrm>
        <a:prstGeom prst="chevron">
          <a:avLst/>
        </a:prstGeom>
        <a:gradFill flip="none"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Affidamenti</a:t>
          </a:r>
        </a:p>
      </dsp:txBody>
      <dsp:txXfrm>
        <a:off x="2641038" y="223765"/>
        <a:ext cx="546213" cy="364141"/>
      </dsp:txXfrm>
    </dsp:sp>
    <dsp:sp modelId="{A29D7AF6-34C9-459D-B160-0F8E7686BA2B}">
      <dsp:nvSpPr>
        <dsp:cNvPr id="0" name=""/>
        <dsp:cNvSpPr/>
      </dsp:nvSpPr>
      <dsp:spPr>
        <a:xfrm>
          <a:off x="3278286"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MP</a:t>
          </a:r>
        </a:p>
      </dsp:txBody>
      <dsp:txXfrm>
        <a:off x="3460357" y="223765"/>
        <a:ext cx="546213" cy="364141"/>
      </dsp:txXfrm>
    </dsp:sp>
    <dsp:sp modelId="{A2199658-E72A-4294-AFD3-6892981EEB12}">
      <dsp:nvSpPr>
        <dsp:cNvPr id="0" name=""/>
        <dsp:cNvSpPr/>
      </dsp:nvSpPr>
      <dsp:spPr>
        <a:xfrm>
          <a:off x="4097605"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NO</a:t>
          </a:r>
        </a:p>
      </dsp:txBody>
      <dsp:txXfrm>
        <a:off x="4279676" y="223765"/>
        <a:ext cx="546213" cy="364141"/>
      </dsp:txXfrm>
    </dsp:sp>
    <dsp:sp modelId="{F9C55CAF-C1A3-4EFD-AD93-3CBF7E30E2FA}">
      <dsp:nvSpPr>
        <dsp:cNvPr id="0" name=""/>
        <dsp:cNvSpPr/>
      </dsp:nvSpPr>
      <dsp:spPr>
        <a:xfrm>
          <a:off x="4916924"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Supporto Tecnico</a:t>
          </a:r>
        </a:p>
      </dsp:txBody>
      <dsp:txXfrm>
        <a:off x="5098995" y="223765"/>
        <a:ext cx="546213" cy="364141"/>
      </dsp:txXfrm>
    </dsp:sp>
    <dsp:sp modelId="{8CED6B9D-804A-4009-A04D-D699125D11F0}">
      <dsp:nvSpPr>
        <dsp:cNvPr id="0" name=""/>
        <dsp:cNvSpPr/>
      </dsp:nvSpPr>
      <dsp:spPr>
        <a:xfrm>
          <a:off x="5736242"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Ispezione Opere D’arte</a:t>
          </a:r>
        </a:p>
      </dsp:txBody>
      <dsp:txXfrm>
        <a:off x="5918313" y="223765"/>
        <a:ext cx="546213" cy="364141"/>
      </dsp:txXfrm>
    </dsp:sp>
    <dsp:sp modelId="{0A5AB2D9-0A33-47A4-83C2-3990E2018CD9}">
      <dsp:nvSpPr>
        <dsp:cNvPr id="0" name=""/>
        <dsp:cNvSpPr/>
      </dsp:nvSpPr>
      <dsp:spPr>
        <a:xfrm>
          <a:off x="6555561"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Interventi Rilevanti</a:t>
          </a:r>
        </a:p>
      </dsp:txBody>
      <dsp:txXfrm>
        <a:off x="6737632" y="223765"/>
        <a:ext cx="546213" cy="364141"/>
      </dsp:txXfrm>
    </dsp:sp>
    <dsp:sp modelId="{F2510710-7BA2-44B7-8AA7-1347717B483B}">
      <dsp:nvSpPr>
        <dsp:cNvPr id="0" name=""/>
        <dsp:cNvSpPr/>
      </dsp:nvSpPr>
      <dsp:spPr>
        <a:xfrm>
          <a:off x="7374880"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Pagamenti</a:t>
          </a:r>
        </a:p>
      </dsp:txBody>
      <dsp:txXfrm>
        <a:off x="7556951" y="223765"/>
        <a:ext cx="546213" cy="36414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031506-3856-48AD-BFC1-89D9660F7FF7}">
      <dsp:nvSpPr>
        <dsp:cNvPr id="0" name=""/>
        <dsp:cNvSpPr/>
      </dsp:nvSpPr>
      <dsp:spPr>
        <a:xfrm>
          <a:off x="1011" y="223765"/>
          <a:ext cx="910354" cy="364141"/>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Rete viaria complessiva</a:t>
          </a:r>
        </a:p>
      </dsp:txBody>
      <dsp:txXfrm>
        <a:off x="183082" y="223765"/>
        <a:ext cx="546213" cy="364141"/>
      </dsp:txXfrm>
    </dsp:sp>
    <dsp:sp modelId="{6C62160D-9EC9-4B84-8EFD-9C3E10FC055A}">
      <dsp:nvSpPr>
        <dsp:cNvPr id="0" name=""/>
        <dsp:cNvSpPr/>
      </dsp:nvSpPr>
      <dsp:spPr>
        <a:xfrm>
          <a:off x="820330" y="223765"/>
          <a:ext cx="910354" cy="364141"/>
        </a:xfrm>
        <a:prstGeom prst="chevron">
          <a:avLst/>
        </a:prstGeom>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Risorse</a:t>
          </a:r>
        </a:p>
      </dsp:txBody>
      <dsp:txXfrm>
        <a:off x="1002401" y="223765"/>
        <a:ext cx="546213" cy="364141"/>
      </dsp:txXfrm>
    </dsp:sp>
    <dsp:sp modelId="{636F50A3-8EFE-4C08-B6BE-284B03274F0B}">
      <dsp:nvSpPr>
        <dsp:cNvPr id="0" name=""/>
        <dsp:cNvSpPr/>
      </dsp:nvSpPr>
      <dsp:spPr>
        <a:xfrm>
          <a:off x="1639649" y="223765"/>
          <a:ext cx="910354" cy="364141"/>
        </a:xfrm>
        <a:prstGeom prst="chevron">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err="1"/>
            <a:t>soc</a:t>
          </a:r>
          <a:endParaRPr lang="it-IT" sz="800" kern="1200" dirty="0"/>
        </a:p>
      </dsp:txBody>
      <dsp:txXfrm>
        <a:off x="1821720" y="223765"/>
        <a:ext cx="546213" cy="364141"/>
      </dsp:txXfrm>
    </dsp:sp>
    <dsp:sp modelId="{6BB9B9CD-B911-4E33-8045-BE6A8D7C5B89}">
      <dsp:nvSpPr>
        <dsp:cNvPr id="0" name=""/>
        <dsp:cNvSpPr/>
      </dsp:nvSpPr>
      <dsp:spPr>
        <a:xfrm>
          <a:off x="2458967" y="223765"/>
          <a:ext cx="910354" cy="364141"/>
        </a:xfrm>
        <a:prstGeom prst="chevron">
          <a:avLst/>
        </a:prstGeom>
        <a:gradFill flip="none"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Affidamenti</a:t>
          </a:r>
        </a:p>
      </dsp:txBody>
      <dsp:txXfrm>
        <a:off x="2641038" y="223765"/>
        <a:ext cx="546213" cy="364141"/>
      </dsp:txXfrm>
    </dsp:sp>
    <dsp:sp modelId="{A29D7AF6-34C9-459D-B160-0F8E7686BA2B}">
      <dsp:nvSpPr>
        <dsp:cNvPr id="0" name=""/>
        <dsp:cNvSpPr/>
      </dsp:nvSpPr>
      <dsp:spPr>
        <a:xfrm>
          <a:off x="3278286"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MP</a:t>
          </a:r>
        </a:p>
      </dsp:txBody>
      <dsp:txXfrm>
        <a:off x="3460357" y="223765"/>
        <a:ext cx="546213" cy="364141"/>
      </dsp:txXfrm>
    </dsp:sp>
    <dsp:sp modelId="{A2199658-E72A-4294-AFD3-6892981EEB12}">
      <dsp:nvSpPr>
        <dsp:cNvPr id="0" name=""/>
        <dsp:cNvSpPr/>
      </dsp:nvSpPr>
      <dsp:spPr>
        <a:xfrm>
          <a:off x="4097605"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NO</a:t>
          </a:r>
        </a:p>
      </dsp:txBody>
      <dsp:txXfrm>
        <a:off x="4279676" y="223765"/>
        <a:ext cx="546213" cy="364141"/>
      </dsp:txXfrm>
    </dsp:sp>
    <dsp:sp modelId="{F9C55CAF-C1A3-4EFD-AD93-3CBF7E30E2FA}">
      <dsp:nvSpPr>
        <dsp:cNvPr id="0" name=""/>
        <dsp:cNvSpPr/>
      </dsp:nvSpPr>
      <dsp:spPr>
        <a:xfrm>
          <a:off x="4916924"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Supporto Tecnico</a:t>
          </a:r>
        </a:p>
      </dsp:txBody>
      <dsp:txXfrm>
        <a:off x="5098995" y="223765"/>
        <a:ext cx="546213" cy="364141"/>
      </dsp:txXfrm>
    </dsp:sp>
    <dsp:sp modelId="{8CED6B9D-804A-4009-A04D-D699125D11F0}">
      <dsp:nvSpPr>
        <dsp:cNvPr id="0" name=""/>
        <dsp:cNvSpPr/>
      </dsp:nvSpPr>
      <dsp:spPr>
        <a:xfrm>
          <a:off x="5736242"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Ispezione Opere D’arte</a:t>
          </a:r>
        </a:p>
      </dsp:txBody>
      <dsp:txXfrm>
        <a:off x="5918313" y="223765"/>
        <a:ext cx="546213" cy="364141"/>
      </dsp:txXfrm>
    </dsp:sp>
    <dsp:sp modelId="{0A5AB2D9-0A33-47A4-83C2-3990E2018CD9}">
      <dsp:nvSpPr>
        <dsp:cNvPr id="0" name=""/>
        <dsp:cNvSpPr/>
      </dsp:nvSpPr>
      <dsp:spPr>
        <a:xfrm>
          <a:off x="6555561"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Interventi Rilevanti</a:t>
          </a:r>
        </a:p>
      </dsp:txBody>
      <dsp:txXfrm>
        <a:off x="6737632" y="223765"/>
        <a:ext cx="546213" cy="364141"/>
      </dsp:txXfrm>
    </dsp:sp>
    <dsp:sp modelId="{F2510710-7BA2-44B7-8AA7-1347717B483B}">
      <dsp:nvSpPr>
        <dsp:cNvPr id="0" name=""/>
        <dsp:cNvSpPr/>
      </dsp:nvSpPr>
      <dsp:spPr>
        <a:xfrm>
          <a:off x="7374880"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Pagamenti</a:t>
          </a:r>
        </a:p>
      </dsp:txBody>
      <dsp:txXfrm>
        <a:off x="7556951" y="223765"/>
        <a:ext cx="546213" cy="36414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031506-3856-48AD-BFC1-89D9660F7FF7}">
      <dsp:nvSpPr>
        <dsp:cNvPr id="0" name=""/>
        <dsp:cNvSpPr/>
      </dsp:nvSpPr>
      <dsp:spPr>
        <a:xfrm>
          <a:off x="1011" y="223765"/>
          <a:ext cx="910354" cy="364141"/>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Rete viaria complessiva</a:t>
          </a:r>
        </a:p>
      </dsp:txBody>
      <dsp:txXfrm>
        <a:off x="183082" y="223765"/>
        <a:ext cx="546213" cy="364141"/>
      </dsp:txXfrm>
    </dsp:sp>
    <dsp:sp modelId="{6C62160D-9EC9-4B84-8EFD-9C3E10FC055A}">
      <dsp:nvSpPr>
        <dsp:cNvPr id="0" name=""/>
        <dsp:cNvSpPr/>
      </dsp:nvSpPr>
      <dsp:spPr>
        <a:xfrm>
          <a:off x="820330" y="223765"/>
          <a:ext cx="910354" cy="364141"/>
        </a:xfrm>
        <a:prstGeom prst="chevron">
          <a:avLst/>
        </a:prstGeom>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Risorse</a:t>
          </a:r>
        </a:p>
      </dsp:txBody>
      <dsp:txXfrm>
        <a:off x="1002401" y="223765"/>
        <a:ext cx="546213" cy="364141"/>
      </dsp:txXfrm>
    </dsp:sp>
    <dsp:sp modelId="{636F50A3-8EFE-4C08-B6BE-284B03274F0B}">
      <dsp:nvSpPr>
        <dsp:cNvPr id="0" name=""/>
        <dsp:cNvSpPr/>
      </dsp:nvSpPr>
      <dsp:spPr>
        <a:xfrm>
          <a:off x="1639649" y="223765"/>
          <a:ext cx="910354" cy="364141"/>
        </a:xfrm>
        <a:prstGeom prst="chevron">
          <a:avLst/>
        </a:prstGeom>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err="1"/>
            <a:t>soc</a:t>
          </a:r>
          <a:endParaRPr lang="it-IT" sz="800" kern="1200" dirty="0"/>
        </a:p>
      </dsp:txBody>
      <dsp:txXfrm>
        <a:off x="1821720" y="223765"/>
        <a:ext cx="546213" cy="364141"/>
      </dsp:txXfrm>
    </dsp:sp>
    <dsp:sp modelId="{6BB9B9CD-B911-4E33-8045-BE6A8D7C5B89}">
      <dsp:nvSpPr>
        <dsp:cNvPr id="0" name=""/>
        <dsp:cNvSpPr/>
      </dsp:nvSpPr>
      <dsp:spPr>
        <a:xfrm>
          <a:off x="2458967" y="223765"/>
          <a:ext cx="910354" cy="364141"/>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Affidamenti</a:t>
          </a:r>
        </a:p>
      </dsp:txBody>
      <dsp:txXfrm>
        <a:off x="2641038" y="223765"/>
        <a:ext cx="546213" cy="364141"/>
      </dsp:txXfrm>
    </dsp:sp>
    <dsp:sp modelId="{A29D7AF6-34C9-459D-B160-0F8E7686BA2B}">
      <dsp:nvSpPr>
        <dsp:cNvPr id="0" name=""/>
        <dsp:cNvSpPr/>
      </dsp:nvSpPr>
      <dsp:spPr>
        <a:xfrm>
          <a:off x="3278286" y="223765"/>
          <a:ext cx="910354" cy="364141"/>
        </a:xfrm>
        <a:prstGeom prst="chevron">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MP</a:t>
          </a:r>
        </a:p>
      </dsp:txBody>
      <dsp:txXfrm>
        <a:off x="3460357" y="223765"/>
        <a:ext cx="546213" cy="364141"/>
      </dsp:txXfrm>
    </dsp:sp>
    <dsp:sp modelId="{A2199658-E72A-4294-AFD3-6892981EEB12}">
      <dsp:nvSpPr>
        <dsp:cNvPr id="0" name=""/>
        <dsp:cNvSpPr/>
      </dsp:nvSpPr>
      <dsp:spPr>
        <a:xfrm>
          <a:off x="4097605"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NO</a:t>
          </a:r>
        </a:p>
      </dsp:txBody>
      <dsp:txXfrm>
        <a:off x="4279676" y="223765"/>
        <a:ext cx="546213" cy="364141"/>
      </dsp:txXfrm>
    </dsp:sp>
    <dsp:sp modelId="{F9C55CAF-C1A3-4EFD-AD93-3CBF7E30E2FA}">
      <dsp:nvSpPr>
        <dsp:cNvPr id="0" name=""/>
        <dsp:cNvSpPr/>
      </dsp:nvSpPr>
      <dsp:spPr>
        <a:xfrm>
          <a:off x="4916924"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Supporto Tecnico</a:t>
          </a:r>
        </a:p>
      </dsp:txBody>
      <dsp:txXfrm>
        <a:off x="5098995" y="223765"/>
        <a:ext cx="546213" cy="364141"/>
      </dsp:txXfrm>
    </dsp:sp>
    <dsp:sp modelId="{8CED6B9D-804A-4009-A04D-D699125D11F0}">
      <dsp:nvSpPr>
        <dsp:cNvPr id="0" name=""/>
        <dsp:cNvSpPr/>
      </dsp:nvSpPr>
      <dsp:spPr>
        <a:xfrm>
          <a:off x="5736242"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Ispezione Opere D’arte</a:t>
          </a:r>
        </a:p>
      </dsp:txBody>
      <dsp:txXfrm>
        <a:off x="5918313" y="223765"/>
        <a:ext cx="546213" cy="364141"/>
      </dsp:txXfrm>
    </dsp:sp>
    <dsp:sp modelId="{0A5AB2D9-0A33-47A4-83C2-3990E2018CD9}">
      <dsp:nvSpPr>
        <dsp:cNvPr id="0" name=""/>
        <dsp:cNvSpPr/>
      </dsp:nvSpPr>
      <dsp:spPr>
        <a:xfrm>
          <a:off x="6555561"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Interventi Rilevanti</a:t>
          </a:r>
        </a:p>
      </dsp:txBody>
      <dsp:txXfrm>
        <a:off x="6737632" y="223765"/>
        <a:ext cx="546213" cy="364141"/>
      </dsp:txXfrm>
    </dsp:sp>
    <dsp:sp modelId="{F2510710-7BA2-44B7-8AA7-1347717B483B}">
      <dsp:nvSpPr>
        <dsp:cNvPr id="0" name=""/>
        <dsp:cNvSpPr/>
      </dsp:nvSpPr>
      <dsp:spPr>
        <a:xfrm>
          <a:off x="7374880"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Pagamenti</a:t>
          </a:r>
        </a:p>
      </dsp:txBody>
      <dsp:txXfrm>
        <a:off x="7556951" y="223765"/>
        <a:ext cx="546213" cy="36414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031506-3856-48AD-BFC1-89D9660F7FF7}">
      <dsp:nvSpPr>
        <dsp:cNvPr id="0" name=""/>
        <dsp:cNvSpPr/>
      </dsp:nvSpPr>
      <dsp:spPr>
        <a:xfrm>
          <a:off x="1011" y="223765"/>
          <a:ext cx="910354" cy="364141"/>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Rete viaria complessiva</a:t>
          </a:r>
        </a:p>
      </dsp:txBody>
      <dsp:txXfrm>
        <a:off x="183082" y="223765"/>
        <a:ext cx="546213" cy="364141"/>
      </dsp:txXfrm>
    </dsp:sp>
    <dsp:sp modelId="{6C62160D-9EC9-4B84-8EFD-9C3E10FC055A}">
      <dsp:nvSpPr>
        <dsp:cNvPr id="0" name=""/>
        <dsp:cNvSpPr/>
      </dsp:nvSpPr>
      <dsp:spPr>
        <a:xfrm>
          <a:off x="820330" y="223765"/>
          <a:ext cx="910354" cy="364141"/>
        </a:xfrm>
        <a:prstGeom prst="chevron">
          <a:avLst/>
        </a:prstGeom>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Risorse</a:t>
          </a:r>
        </a:p>
      </dsp:txBody>
      <dsp:txXfrm>
        <a:off x="1002401" y="223765"/>
        <a:ext cx="546213" cy="364141"/>
      </dsp:txXfrm>
    </dsp:sp>
    <dsp:sp modelId="{636F50A3-8EFE-4C08-B6BE-284B03274F0B}">
      <dsp:nvSpPr>
        <dsp:cNvPr id="0" name=""/>
        <dsp:cNvSpPr/>
      </dsp:nvSpPr>
      <dsp:spPr>
        <a:xfrm>
          <a:off x="1639649" y="223765"/>
          <a:ext cx="910354" cy="364141"/>
        </a:xfrm>
        <a:prstGeom prst="chevron">
          <a:avLst/>
        </a:prstGeom>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err="1"/>
            <a:t>soc</a:t>
          </a:r>
          <a:endParaRPr lang="it-IT" sz="800" kern="1200" dirty="0"/>
        </a:p>
      </dsp:txBody>
      <dsp:txXfrm>
        <a:off x="1821720" y="223765"/>
        <a:ext cx="546213" cy="364141"/>
      </dsp:txXfrm>
    </dsp:sp>
    <dsp:sp modelId="{6BB9B9CD-B911-4E33-8045-BE6A8D7C5B89}">
      <dsp:nvSpPr>
        <dsp:cNvPr id="0" name=""/>
        <dsp:cNvSpPr/>
      </dsp:nvSpPr>
      <dsp:spPr>
        <a:xfrm>
          <a:off x="2458967" y="223765"/>
          <a:ext cx="910354" cy="364141"/>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Affidamenti</a:t>
          </a:r>
        </a:p>
      </dsp:txBody>
      <dsp:txXfrm>
        <a:off x="2641038" y="223765"/>
        <a:ext cx="546213" cy="364141"/>
      </dsp:txXfrm>
    </dsp:sp>
    <dsp:sp modelId="{A29D7AF6-34C9-459D-B160-0F8E7686BA2B}">
      <dsp:nvSpPr>
        <dsp:cNvPr id="0" name=""/>
        <dsp:cNvSpPr/>
      </dsp:nvSpPr>
      <dsp:spPr>
        <a:xfrm>
          <a:off x="3278286" y="223765"/>
          <a:ext cx="910354" cy="364141"/>
        </a:xfrm>
        <a:prstGeom prst="chevron">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MP</a:t>
          </a:r>
        </a:p>
      </dsp:txBody>
      <dsp:txXfrm>
        <a:off x="3460357" y="223765"/>
        <a:ext cx="546213" cy="364141"/>
      </dsp:txXfrm>
    </dsp:sp>
    <dsp:sp modelId="{A2199658-E72A-4294-AFD3-6892981EEB12}">
      <dsp:nvSpPr>
        <dsp:cNvPr id="0" name=""/>
        <dsp:cNvSpPr/>
      </dsp:nvSpPr>
      <dsp:spPr>
        <a:xfrm>
          <a:off x="4097605"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NO</a:t>
          </a:r>
        </a:p>
      </dsp:txBody>
      <dsp:txXfrm>
        <a:off x="4279676" y="223765"/>
        <a:ext cx="546213" cy="364141"/>
      </dsp:txXfrm>
    </dsp:sp>
    <dsp:sp modelId="{F9C55CAF-C1A3-4EFD-AD93-3CBF7E30E2FA}">
      <dsp:nvSpPr>
        <dsp:cNvPr id="0" name=""/>
        <dsp:cNvSpPr/>
      </dsp:nvSpPr>
      <dsp:spPr>
        <a:xfrm>
          <a:off x="4916924"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Supporto Tecnico</a:t>
          </a:r>
        </a:p>
      </dsp:txBody>
      <dsp:txXfrm>
        <a:off x="5098995" y="223765"/>
        <a:ext cx="546213" cy="364141"/>
      </dsp:txXfrm>
    </dsp:sp>
    <dsp:sp modelId="{8CED6B9D-804A-4009-A04D-D699125D11F0}">
      <dsp:nvSpPr>
        <dsp:cNvPr id="0" name=""/>
        <dsp:cNvSpPr/>
      </dsp:nvSpPr>
      <dsp:spPr>
        <a:xfrm>
          <a:off x="5736242"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Ispezione Opere D’arte</a:t>
          </a:r>
        </a:p>
      </dsp:txBody>
      <dsp:txXfrm>
        <a:off x="5918313" y="223765"/>
        <a:ext cx="546213" cy="364141"/>
      </dsp:txXfrm>
    </dsp:sp>
    <dsp:sp modelId="{0A5AB2D9-0A33-47A4-83C2-3990E2018CD9}">
      <dsp:nvSpPr>
        <dsp:cNvPr id="0" name=""/>
        <dsp:cNvSpPr/>
      </dsp:nvSpPr>
      <dsp:spPr>
        <a:xfrm>
          <a:off x="6555561"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Interventi Rilevanti</a:t>
          </a:r>
        </a:p>
      </dsp:txBody>
      <dsp:txXfrm>
        <a:off x="6737632" y="223765"/>
        <a:ext cx="546213" cy="364141"/>
      </dsp:txXfrm>
    </dsp:sp>
    <dsp:sp modelId="{F2510710-7BA2-44B7-8AA7-1347717B483B}">
      <dsp:nvSpPr>
        <dsp:cNvPr id="0" name=""/>
        <dsp:cNvSpPr/>
      </dsp:nvSpPr>
      <dsp:spPr>
        <a:xfrm>
          <a:off x="7374880"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Pagamenti</a:t>
          </a:r>
        </a:p>
      </dsp:txBody>
      <dsp:txXfrm>
        <a:off x="7556951" y="223765"/>
        <a:ext cx="546213" cy="364141"/>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031506-3856-48AD-BFC1-89D9660F7FF7}">
      <dsp:nvSpPr>
        <dsp:cNvPr id="0" name=""/>
        <dsp:cNvSpPr/>
      </dsp:nvSpPr>
      <dsp:spPr>
        <a:xfrm>
          <a:off x="1011" y="223765"/>
          <a:ext cx="910354" cy="364141"/>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Rete viaria complessiva</a:t>
          </a:r>
        </a:p>
      </dsp:txBody>
      <dsp:txXfrm>
        <a:off x="183082" y="223765"/>
        <a:ext cx="546213" cy="364141"/>
      </dsp:txXfrm>
    </dsp:sp>
    <dsp:sp modelId="{6C62160D-9EC9-4B84-8EFD-9C3E10FC055A}">
      <dsp:nvSpPr>
        <dsp:cNvPr id="0" name=""/>
        <dsp:cNvSpPr/>
      </dsp:nvSpPr>
      <dsp:spPr>
        <a:xfrm>
          <a:off x="820330" y="223765"/>
          <a:ext cx="910354" cy="364141"/>
        </a:xfrm>
        <a:prstGeom prst="chevron">
          <a:avLst/>
        </a:prstGeom>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Risorse</a:t>
          </a:r>
        </a:p>
      </dsp:txBody>
      <dsp:txXfrm>
        <a:off x="1002401" y="223765"/>
        <a:ext cx="546213" cy="364141"/>
      </dsp:txXfrm>
    </dsp:sp>
    <dsp:sp modelId="{636F50A3-8EFE-4C08-B6BE-284B03274F0B}">
      <dsp:nvSpPr>
        <dsp:cNvPr id="0" name=""/>
        <dsp:cNvSpPr/>
      </dsp:nvSpPr>
      <dsp:spPr>
        <a:xfrm>
          <a:off x="1639649" y="223765"/>
          <a:ext cx="910354" cy="364141"/>
        </a:xfrm>
        <a:prstGeom prst="chevron">
          <a:avLst/>
        </a:prstGeom>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err="1"/>
            <a:t>soc</a:t>
          </a:r>
          <a:endParaRPr lang="it-IT" sz="800" kern="1200" dirty="0"/>
        </a:p>
      </dsp:txBody>
      <dsp:txXfrm>
        <a:off x="1821720" y="223765"/>
        <a:ext cx="546213" cy="364141"/>
      </dsp:txXfrm>
    </dsp:sp>
    <dsp:sp modelId="{6BB9B9CD-B911-4E33-8045-BE6A8D7C5B89}">
      <dsp:nvSpPr>
        <dsp:cNvPr id="0" name=""/>
        <dsp:cNvSpPr/>
      </dsp:nvSpPr>
      <dsp:spPr>
        <a:xfrm>
          <a:off x="2458967" y="223765"/>
          <a:ext cx="910354" cy="364141"/>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Affidamenti</a:t>
          </a:r>
        </a:p>
      </dsp:txBody>
      <dsp:txXfrm>
        <a:off x="2641038" y="223765"/>
        <a:ext cx="546213" cy="364141"/>
      </dsp:txXfrm>
    </dsp:sp>
    <dsp:sp modelId="{A29D7AF6-34C9-459D-B160-0F8E7686BA2B}">
      <dsp:nvSpPr>
        <dsp:cNvPr id="0" name=""/>
        <dsp:cNvSpPr/>
      </dsp:nvSpPr>
      <dsp:spPr>
        <a:xfrm>
          <a:off x="3278286" y="223765"/>
          <a:ext cx="910354" cy="364141"/>
        </a:xfrm>
        <a:prstGeom prst="chevron">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MP</a:t>
          </a:r>
        </a:p>
      </dsp:txBody>
      <dsp:txXfrm>
        <a:off x="3460357" y="223765"/>
        <a:ext cx="546213" cy="364141"/>
      </dsp:txXfrm>
    </dsp:sp>
    <dsp:sp modelId="{A2199658-E72A-4294-AFD3-6892981EEB12}">
      <dsp:nvSpPr>
        <dsp:cNvPr id="0" name=""/>
        <dsp:cNvSpPr/>
      </dsp:nvSpPr>
      <dsp:spPr>
        <a:xfrm>
          <a:off x="4097605"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NO</a:t>
          </a:r>
        </a:p>
      </dsp:txBody>
      <dsp:txXfrm>
        <a:off x="4279676" y="223765"/>
        <a:ext cx="546213" cy="364141"/>
      </dsp:txXfrm>
    </dsp:sp>
    <dsp:sp modelId="{F9C55CAF-C1A3-4EFD-AD93-3CBF7E30E2FA}">
      <dsp:nvSpPr>
        <dsp:cNvPr id="0" name=""/>
        <dsp:cNvSpPr/>
      </dsp:nvSpPr>
      <dsp:spPr>
        <a:xfrm>
          <a:off x="4916924"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Supporto Tecnico</a:t>
          </a:r>
        </a:p>
      </dsp:txBody>
      <dsp:txXfrm>
        <a:off x="5098995" y="223765"/>
        <a:ext cx="546213" cy="364141"/>
      </dsp:txXfrm>
    </dsp:sp>
    <dsp:sp modelId="{8CED6B9D-804A-4009-A04D-D699125D11F0}">
      <dsp:nvSpPr>
        <dsp:cNvPr id="0" name=""/>
        <dsp:cNvSpPr/>
      </dsp:nvSpPr>
      <dsp:spPr>
        <a:xfrm>
          <a:off x="5736242"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Ispezione Opere D’arte</a:t>
          </a:r>
        </a:p>
      </dsp:txBody>
      <dsp:txXfrm>
        <a:off x="5918313" y="223765"/>
        <a:ext cx="546213" cy="364141"/>
      </dsp:txXfrm>
    </dsp:sp>
    <dsp:sp modelId="{0A5AB2D9-0A33-47A4-83C2-3990E2018CD9}">
      <dsp:nvSpPr>
        <dsp:cNvPr id="0" name=""/>
        <dsp:cNvSpPr/>
      </dsp:nvSpPr>
      <dsp:spPr>
        <a:xfrm>
          <a:off x="6555561"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Interventi Rilevanti</a:t>
          </a:r>
        </a:p>
      </dsp:txBody>
      <dsp:txXfrm>
        <a:off x="6737632" y="223765"/>
        <a:ext cx="546213" cy="364141"/>
      </dsp:txXfrm>
    </dsp:sp>
    <dsp:sp modelId="{F2510710-7BA2-44B7-8AA7-1347717B483B}">
      <dsp:nvSpPr>
        <dsp:cNvPr id="0" name=""/>
        <dsp:cNvSpPr/>
      </dsp:nvSpPr>
      <dsp:spPr>
        <a:xfrm>
          <a:off x="7374880"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Pagamenti</a:t>
          </a:r>
        </a:p>
      </dsp:txBody>
      <dsp:txXfrm>
        <a:off x="7556951" y="223765"/>
        <a:ext cx="546213" cy="364141"/>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031506-3856-48AD-BFC1-89D9660F7FF7}">
      <dsp:nvSpPr>
        <dsp:cNvPr id="0" name=""/>
        <dsp:cNvSpPr/>
      </dsp:nvSpPr>
      <dsp:spPr>
        <a:xfrm>
          <a:off x="1011" y="223765"/>
          <a:ext cx="910354" cy="364141"/>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Rete viaria complessiva</a:t>
          </a:r>
        </a:p>
      </dsp:txBody>
      <dsp:txXfrm>
        <a:off x="183082" y="223765"/>
        <a:ext cx="546213" cy="364141"/>
      </dsp:txXfrm>
    </dsp:sp>
    <dsp:sp modelId="{6C62160D-9EC9-4B84-8EFD-9C3E10FC055A}">
      <dsp:nvSpPr>
        <dsp:cNvPr id="0" name=""/>
        <dsp:cNvSpPr/>
      </dsp:nvSpPr>
      <dsp:spPr>
        <a:xfrm>
          <a:off x="820330" y="223765"/>
          <a:ext cx="910354" cy="364141"/>
        </a:xfrm>
        <a:prstGeom prst="chevron">
          <a:avLst/>
        </a:prstGeom>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Risorse</a:t>
          </a:r>
        </a:p>
      </dsp:txBody>
      <dsp:txXfrm>
        <a:off x="1002401" y="223765"/>
        <a:ext cx="546213" cy="364141"/>
      </dsp:txXfrm>
    </dsp:sp>
    <dsp:sp modelId="{636F50A3-8EFE-4C08-B6BE-284B03274F0B}">
      <dsp:nvSpPr>
        <dsp:cNvPr id="0" name=""/>
        <dsp:cNvSpPr/>
      </dsp:nvSpPr>
      <dsp:spPr>
        <a:xfrm>
          <a:off x="1639649" y="223765"/>
          <a:ext cx="910354" cy="364141"/>
        </a:xfrm>
        <a:prstGeom prst="chevron">
          <a:avLst/>
        </a:prstGeom>
        <a:gradFill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err="1"/>
            <a:t>soc</a:t>
          </a:r>
          <a:endParaRPr lang="it-IT" sz="800" kern="1200" dirty="0"/>
        </a:p>
      </dsp:txBody>
      <dsp:txXfrm>
        <a:off x="1821720" y="223765"/>
        <a:ext cx="546213" cy="364141"/>
      </dsp:txXfrm>
    </dsp:sp>
    <dsp:sp modelId="{6BB9B9CD-B911-4E33-8045-BE6A8D7C5B89}">
      <dsp:nvSpPr>
        <dsp:cNvPr id="0" name=""/>
        <dsp:cNvSpPr/>
      </dsp:nvSpPr>
      <dsp:spPr>
        <a:xfrm>
          <a:off x="2458967" y="223765"/>
          <a:ext cx="910354" cy="364141"/>
        </a:xfrm>
        <a:prstGeom prst="chevron">
          <a:avLst/>
        </a:prstGeom>
        <a:gradFill rotWithShape="0">
          <a:gsLst>
            <a:gs pos="0">
              <a:srgbClr val="DC002E">
                <a:tint val="66000"/>
                <a:satMod val="160000"/>
              </a:srgbClr>
            </a:gs>
            <a:gs pos="50000">
              <a:srgbClr val="DC002E">
                <a:tint val="44500"/>
                <a:satMod val="160000"/>
              </a:srgbClr>
            </a:gs>
            <a:gs pos="100000">
              <a:srgbClr val="DC002E">
                <a:tint val="23500"/>
                <a:satMod val="160000"/>
              </a:srgbClr>
            </a:gs>
          </a:gsLst>
          <a:lin ang="162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Affidamenti</a:t>
          </a:r>
        </a:p>
      </dsp:txBody>
      <dsp:txXfrm>
        <a:off x="2641038" y="223765"/>
        <a:ext cx="546213" cy="364141"/>
      </dsp:txXfrm>
    </dsp:sp>
    <dsp:sp modelId="{A29D7AF6-34C9-459D-B160-0F8E7686BA2B}">
      <dsp:nvSpPr>
        <dsp:cNvPr id="0" name=""/>
        <dsp:cNvSpPr/>
      </dsp:nvSpPr>
      <dsp:spPr>
        <a:xfrm>
          <a:off x="3278286" y="223765"/>
          <a:ext cx="910354" cy="364141"/>
        </a:xfrm>
        <a:prstGeom prst="chevron">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MP</a:t>
          </a:r>
        </a:p>
      </dsp:txBody>
      <dsp:txXfrm>
        <a:off x="3460357" y="223765"/>
        <a:ext cx="546213" cy="364141"/>
      </dsp:txXfrm>
    </dsp:sp>
    <dsp:sp modelId="{A2199658-E72A-4294-AFD3-6892981EEB12}">
      <dsp:nvSpPr>
        <dsp:cNvPr id="0" name=""/>
        <dsp:cNvSpPr/>
      </dsp:nvSpPr>
      <dsp:spPr>
        <a:xfrm>
          <a:off x="4097605"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it-IT" sz="700" kern="1200" dirty="0"/>
            <a:t>Investimenti e Produzione</a:t>
          </a:r>
        </a:p>
        <a:p>
          <a:pPr marL="0" lvl="0" indent="0" algn="ctr" defTabSz="311150">
            <a:lnSpc>
              <a:spcPct val="90000"/>
            </a:lnSpc>
            <a:spcBef>
              <a:spcPct val="0"/>
            </a:spcBef>
            <a:spcAft>
              <a:spcPct val="35000"/>
            </a:spcAft>
            <a:buNone/>
          </a:pPr>
          <a:r>
            <a:rPr lang="it-IT" sz="700" kern="1200" dirty="0"/>
            <a:t>NO</a:t>
          </a:r>
        </a:p>
      </dsp:txBody>
      <dsp:txXfrm>
        <a:off x="4279676" y="223765"/>
        <a:ext cx="546213" cy="364141"/>
      </dsp:txXfrm>
    </dsp:sp>
    <dsp:sp modelId="{F9C55CAF-C1A3-4EFD-AD93-3CBF7E30E2FA}">
      <dsp:nvSpPr>
        <dsp:cNvPr id="0" name=""/>
        <dsp:cNvSpPr/>
      </dsp:nvSpPr>
      <dsp:spPr>
        <a:xfrm>
          <a:off x="4916924"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Supporto Tecnico</a:t>
          </a:r>
        </a:p>
      </dsp:txBody>
      <dsp:txXfrm>
        <a:off x="5098995" y="223765"/>
        <a:ext cx="546213" cy="364141"/>
      </dsp:txXfrm>
    </dsp:sp>
    <dsp:sp modelId="{8CED6B9D-804A-4009-A04D-D699125D11F0}">
      <dsp:nvSpPr>
        <dsp:cNvPr id="0" name=""/>
        <dsp:cNvSpPr/>
      </dsp:nvSpPr>
      <dsp:spPr>
        <a:xfrm>
          <a:off x="5736242"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Ispezione Opere D’arte</a:t>
          </a:r>
        </a:p>
      </dsp:txBody>
      <dsp:txXfrm>
        <a:off x="5918313" y="223765"/>
        <a:ext cx="546213" cy="364141"/>
      </dsp:txXfrm>
    </dsp:sp>
    <dsp:sp modelId="{0A5AB2D9-0A33-47A4-83C2-3990E2018CD9}">
      <dsp:nvSpPr>
        <dsp:cNvPr id="0" name=""/>
        <dsp:cNvSpPr/>
      </dsp:nvSpPr>
      <dsp:spPr>
        <a:xfrm>
          <a:off x="6555561"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Interventi Rilevanti</a:t>
          </a:r>
        </a:p>
      </dsp:txBody>
      <dsp:txXfrm>
        <a:off x="6737632" y="223765"/>
        <a:ext cx="546213" cy="364141"/>
      </dsp:txXfrm>
    </dsp:sp>
    <dsp:sp modelId="{F2510710-7BA2-44B7-8AA7-1347717B483B}">
      <dsp:nvSpPr>
        <dsp:cNvPr id="0" name=""/>
        <dsp:cNvSpPr/>
      </dsp:nvSpPr>
      <dsp:spPr>
        <a:xfrm>
          <a:off x="7374880" y="223765"/>
          <a:ext cx="910354" cy="364141"/>
        </a:xfrm>
        <a:prstGeom prst="chevron">
          <a:avLst/>
        </a:prstGeom>
        <a:gradFill flip="none" rotWithShape="0">
          <a:gsLst>
            <a:gs pos="0">
              <a:schemeClr val="tx2">
                <a:tint val="66000"/>
                <a:satMod val="160000"/>
              </a:schemeClr>
            </a:gs>
            <a:gs pos="50000">
              <a:schemeClr val="tx2">
                <a:tint val="44500"/>
                <a:satMod val="160000"/>
              </a:schemeClr>
            </a:gs>
            <a:gs pos="100000">
              <a:schemeClr val="tx2">
                <a:tint val="23500"/>
                <a:satMod val="160000"/>
              </a:schemeClr>
            </a:gs>
          </a:gsLst>
          <a:lin ang="162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it-IT" sz="800" kern="1200" dirty="0"/>
            <a:t>Pagamenti</a:t>
          </a:r>
        </a:p>
      </dsp:txBody>
      <dsp:txXfrm>
        <a:off x="7556951" y="223765"/>
        <a:ext cx="546213" cy="364141"/>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0.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7.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8.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9.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0.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7.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8.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9.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0.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7.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8.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9.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36641</cdr:x>
      <cdr:y>0.06714</cdr:y>
    </cdr:from>
    <cdr:to>
      <cdr:x>0.40182</cdr:x>
      <cdr:y>0.11764</cdr:y>
    </cdr:to>
    <cdr:cxnSp macro="">
      <cdr:nvCxnSpPr>
        <cdr:cNvPr id="5" name="Connettore 1 4">
          <a:extLst xmlns:a="http://schemas.openxmlformats.org/drawingml/2006/main">
            <a:ext uri="{FF2B5EF4-FFF2-40B4-BE49-F238E27FC236}">
              <a16:creationId xmlns:a16="http://schemas.microsoft.com/office/drawing/2014/main" id="{5A823B1E-C92D-928D-06EB-27BC9C16CA46}"/>
            </a:ext>
          </a:extLst>
        </cdr:cNvPr>
        <cdr:cNvCxnSpPr/>
      </cdr:nvCxnSpPr>
      <cdr:spPr>
        <a:xfrm xmlns:a="http://schemas.openxmlformats.org/drawingml/2006/main" flipV="1">
          <a:off x="2838596" y="172252"/>
          <a:ext cx="274320" cy="129540"/>
        </a:xfrm>
        <a:prstGeom xmlns:a="http://schemas.openxmlformats.org/drawingml/2006/main" prst="lin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3133</cdr:x>
      <cdr:y>0.06683</cdr:y>
    </cdr:from>
    <cdr:to>
      <cdr:x>0.35559</cdr:x>
      <cdr:y>0.11436</cdr:y>
    </cdr:to>
    <cdr:cxnSp macro="">
      <cdr:nvCxnSpPr>
        <cdr:cNvPr id="7" name="Connettore 1 6">
          <a:extLst xmlns:a="http://schemas.openxmlformats.org/drawingml/2006/main">
            <a:ext uri="{FF2B5EF4-FFF2-40B4-BE49-F238E27FC236}">
              <a16:creationId xmlns:a16="http://schemas.microsoft.com/office/drawing/2014/main" id="{F51CF45F-86CF-E155-FB6C-AE52C40BD9EA}"/>
            </a:ext>
          </a:extLst>
        </cdr:cNvPr>
        <cdr:cNvCxnSpPr/>
      </cdr:nvCxnSpPr>
      <cdr:spPr>
        <a:xfrm xmlns:a="http://schemas.openxmlformats.org/drawingml/2006/main" flipH="1" flipV="1">
          <a:off x="2427116" y="171450"/>
          <a:ext cx="327660" cy="121920"/>
        </a:xfrm>
        <a:prstGeom xmlns:a="http://schemas.openxmlformats.org/drawingml/2006/main" prst="lin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2.xml><?xml version="1.0" encoding="utf-8"?>
<c:userShapes xmlns:c="http://schemas.openxmlformats.org/drawingml/2006/chart">
  <cdr:relSizeAnchor xmlns:cdr="http://schemas.openxmlformats.org/drawingml/2006/chartDrawing">
    <cdr:from>
      <cdr:x>0.4738</cdr:x>
      <cdr:y>0.75144</cdr:y>
    </cdr:from>
    <cdr:to>
      <cdr:x>0.6117</cdr:x>
      <cdr:y>0.93435</cdr:y>
    </cdr:to>
    <cdr:sp macro="" textlink="">
      <cdr:nvSpPr>
        <cdr:cNvPr id="2" name="Rettangolo 1"/>
        <cdr:cNvSpPr/>
      </cdr:nvSpPr>
      <cdr:spPr>
        <a:xfrm xmlns:a="http://schemas.openxmlformats.org/drawingml/2006/main">
          <a:off x="2005137" y="1643749"/>
          <a:ext cx="583584" cy="400110"/>
        </a:xfrm>
        <a:prstGeom xmlns:a="http://schemas.openxmlformats.org/drawingml/2006/main" prst="rect">
          <a:avLst/>
        </a:prstGeom>
        <a:noFill xmlns:a="http://schemas.openxmlformats.org/drawingml/2006/main"/>
      </cdr:spPr>
      <cdr:txBody>
        <a:bodyPr xmlns:a="http://schemas.openxmlformats.org/drawingml/2006/main" wrap="square" lIns="91440" tIns="45720" rIns="91440" bIns="45720">
          <a:spAutoFit/>
        </a:bodyPr>
        <a:lstStyle xmlns:a="http://schemas.openxmlformats.org/drawingml/2006/main"/>
        <a:p xmlns:a="http://schemas.openxmlformats.org/drawingml/2006/main">
          <a:pPr algn="ctr"/>
          <a:r>
            <a:rPr lang="it-IT" sz="2000" dirty="0">
              <a:ln w="0"/>
              <a:solidFill>
                <a:schemeClr val="bg1"/>
              </a:solidFill>
              <a:effectLst>
                <a:outerShdw blurRad="38100" dist="19050" dir="2700000" algn="tl" rotWithShape="0">
                  <a:schemeClr val="dk1">
                    <a:alpha val="40000"/>
                  </a:schemeClr>
                </a:outerShdw>
              </a:effectLst>
            </a:rPr>
            <a:t>121</a:t>
          </a:r>
          <a:endParaRPr lang="it-IT" sz="2000" b="0" cap="none" spc="0" dirty="0">
            <a:ln w="0"/>
            <a:solidFill>
              <a:schemeClr val="bg1"/>
            </a:solidFill>
            <a:effectLst>
              <a:outerShdw blurRad="38100" dist="19050" dir="2700000" algn="tl" rotWithShape="0">
                <a:schemeClr val="dk1">
                  <a:alpha val="40000"/>
                </a:schemeClr>
              </a:outerShdw>
            </a:effectLst>
          </a:endParaRPr>
        </a:p>
      </cdr:txBody>
    </cdr:sp>
  </cdr:relSizeAnchor>
  <cdr:relSizeAnchor xmlns:cdr="http://schemas.openxmlformats.org/drawingml/2006/chartDrawing">
    <cdr:from>
      <cdr:x>0.54509</cdr:x>
      <cdr:y>0.25905</cdr:y>
    </cdr:from>
    <cdr:to>
      <cdr:x>0.73314</cdr:x>
      <cdr:y>0.44196</cdr:y>
    </cdr:to>
    <cdr:sp macro="" textlink="">
      <cdr:nvSpPr>
        <cdr:cNvPr id="4" name="Rettangolo 3"/>
        <cdr:cNvSpPr/>
      </cdr:nvSpPr>
      <cdr:spPr>
        <a:xfrm xmlns:a="http://schemas.openxmlformats.org/drawingml/2006/main">
          <a:off x="2306838" y="566659"/>
          <a:ext cx="795808" cy="400110"/>
        </a:xfrm>
        <a:prstGeom xmlns:a="http://schemas.openxmlformats.org/drawingml/2006/main" prst="rect">
          <a:avLst/>
        </a:prstGeom>
        <a:noFill xmlns:a="http://schemas.openxmlformats.org/drawingml/2006/main"/>
      </cdr:spPr>
      <cdr:txBody>
        <a:bodyPr xmlns:a="http://schemas.openxmlformats.org/drawingml/2006/main" wrap="square" lIns="91440" tIns="45720" rIns="91440" bIns="4572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it-IT" sz="2000" b="0" cap="none" spc="0" dirty="0">
              <a:ln w="0"/>
              <a:solidFill>
                <a:schemeClr val="bg1"/>
              </a:solidFill>
              <a:effectLst>
                <a:outerShdw blurRad="38100" dist="19050" dir="2700000" algn="tl" rotWithShape="0">
                  <a:schemeClr val="dk1">
                    <a:alpha val="40000"/>
                  </a:schemeClr>
                </a:outerShdw>
              </a:effectLst>
            </a:rPr>
            <a:t>46</a:t>
          </a:r>
        </a:p>
      </cdr:txBody>
    </cdr:sp>
  </cdr:relSizeAnchor>
  <cdr:relSizeAnchor xmlns:cdr="http://schemas.openxmlformats.org/drawingml/2006/chartDrawing">
    <cdr:from>
      <cdr:x>0.41521</cdr:x>
      <cdr:y>0.23433</cdr:y>
    </cdr:from>
    <cdr:to>
      <cdr:x>0.50008</cdr:x>
      <cdr:y>0.36634</cdr:y>
    </cdr:to>
    <cdr:sp macro="" textlink="">
      <cdr:nvSpPr>
        <cdr:cNvPr id="6" name="Rettangolo 5"/>
        <cdr:cNvSpPr/>
      </cdr:nvSpPr>
      <cdr:spPr>
        <a:xfrm xmlns:a="http://schemas.openxmlformats.org/drawingml/2006/main">
          <a:off x="1757161" y="512598"/>
          <a:ext cx="359178" cy="288758"/>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r>
            <a:rPr lang="it-IT" sz="1200" dirty="0"/>
            <a:t>26</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2" y="1"/>
            <a:ext cx="4302442" cy="340116"/>
          </a:xfrm>
          <a:prstGeom prst="rect">
            <a:avLst/>
          </a:prstGeom>
        </p:spPr>
        <p:txBody>
          <a:bodyPr vert="horz" lIns="91415" tIns="45707" rIns="91415" bIns="45707" rtlCol="0"/>
          <a:lstStyle>
            <a:lvl1pPr algn="l">
              <a:defRPr sz="1200"/>
            </a:lvl1pPr>
          </a:lstStyle>
          <a:p>
            <a:endParaRPr lang="it-IT"/>
          </a:p>
        </p:txBody>
      </p:sp>
      <p:sp>
        <p:nvSpPr>
          <p:cNvPr id="3" name="Segnaposto data 2"/>
          <p:cNvSpPr>
            <a:spLocks noGrp="1"/>
          </p:cNvSpPr>
          <p:nvPr>
            <p:ph type="dt" sz="quarter" idx="1"/>
          </p:nvPr>
        </p:nvSpPr>
        <p:spPr>
          <a:xfrm>
            <a:off x="5621951" y="1"/>
            <a:ext cx="4302442" cy="340116"/>
          </a:xfrm>
          <a:prstGeom prst="rect">
            <a:avLst/>
          </a:prstGeom>
        </p:spPr>
        <p:txBody>
          <a:bodyPr vert="horz" lIns="91415" tIns="45707" rIns="91415" bIns="45707" rtlCol="0"/>
          <a:lstStyle>
            <a:lvl1pPr algn="r">
              <a:defRPr sz="1200"/>
            </a:lvl1pPr>
          </a:lstStyle>
          <a:p>
            <a:fld id="{5193D946-9152-455C-80F6-5E419C923C8B}" type="datetimeFigureOut">
              <a:rPr lang="it-IT" smtClean="0"/>
              <a:t>03/10/2022</a:t>
            </a:fld>
            <a:endParaRPr lang="it-IT"/>
          </a:p>
        </p:txBody>
      </p:sp>
      <p:sp>
        <p:nvSpPr>
          <p:cNvPr id="4" name="Segnaposto piè di pagina 3"/>
          <p:cNvSpPr>
            <a:spLocks noGrp="1"/>
          </p:cNvSpPr>
          <p:nvPr>
            <p:ph type="ftr" sz="quarter" idx="2"/>
          </p:nvPr>
        </p:nvSpPr>
        <p:spPr>
          <a:xfrm>
            <a:off x="2" y="6456399"/>
            <a:ext cx="4302442" cy="340116"/>
          </a:xfrm>
          <a:prstGeom prst="rect">
            <a:avLst/>
          </a:prstGeom>
        </p:spPr>
        <p:txBody>
          <a:bodyPr vert="horz" lIns="91415" tIns="45707" rIns="91415" bIns="45707" rtlCol="0" anchor="b"/>
          <a:lstStyle>
            <a:lvl1pPr algn="l">
              <a:defRPr sz="1200"/>
            </a:lvl1pPr>
          </a:lstStyle>
          <a:p>
            <a:endParaRPr lang="it-IT"/>
          </a:p>
        </p:txBody>
      </p:sp>
      <p:sp>
        <p:nvSpPr>
          <p:cNvPr id="5" name="Segnaposto numero diapositiva 4"/>
          <p:cNvSpPr>
            <a:spLocks noGrp="1"/>
          </p:cNvSpPr>
          <p:nvPr>
            <p:ph type="sldNum" sz="quarter" idx="3"/>
          </p:nvPr>
        </p:nvSpPr>
        <p:spPr>
          <a:xfrm>
            <a:off x="5621951" y="6456399"/>
            <a:ext cx="4302442" cy="340116"/>
          </a:xfrm>
          <a:prstGeom prst="rect">
            <a:avLst/>
          </a:prstGeom>
        </p:spPr>
        <p:txBody>
          <a:bodyPr vert="horz" lIns="91415" tIns="45707" rIns="91415" bIns="45707" rtlCol="0" anchor="b"/>
          <a:lstStyle>
            <a:lvl1pPr algn="r">
              <a:defRPr sz="1200"/>
            </a:lvl1pPr>
          </a:lstStyle>
          <a:p>
            <a:fld id="{E1AA7A20-E589-449E-89A8-9C728A2297A6}" type="slidenum">
              <a:rPr lang="it-IT" smtClean="0"/>
              <a:t>‹N›</a:t>
            </a:fld>
            <a:endParaRPr lang="it-IT"/>
          </a:p>
        </p:txBody>
      </p:sp>
    </p:spTree>
    <p:extLst>
      <p:ext uri="{BB962C8B-B14F-4D97-AF65-F5344CB8AC3E}">
        <p14:creationId xmlns:p14="http://schemas.microsoft.com/office/powerpoint/2010/main" val="1700780926"/>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4" y="0"/>
            <a:ext cx="4301543" cy="339884"/>
          </a:xfrm>
          <a:prstGeom prst="rect">
            <a:avLst/>
          </a:prstGeom>
        </p:spPr>
        <p:txBody>
          <a:bodyPr vert="horz" lIns="93151" tIns="46577" rIns="93151" bIns="46577" rtlCol="0"/>
          <a:lstStyle>
            <a:lvl1pPr algn="l">
              <a:defRPr sz="1200"/>
            </a:lvl1pPr>
          </a:lstStyle>
          <a:p>
            <a:endParaRPr lang="it-IT"/>
          </a:p>
        </p:txBody>
      </p:sp>
      <p:sp>
        <p:nvSpPr>
          <p:cNvPr id="3" name="Segnaposto data 2"/>
          <p:cNvSpPr>
            <a:spLocks noGrp="1"/>
          </p:cNvSpPr>
          <p:nvPr>
            <p:ph type="dt" idx="1"/>
          </p:nvPr>
        </p:nvSpPr>
        <p:spPr>
          <a:xfrm>
            <a:off x="5622803" y="0"/>
            <a:ext cx="4301543" cy="339884"/>
          </a:xfrm>
          <a:prstGeom prst="rect">
            <a:avLst/>
          </a:prstGeom>
        </p:spPr>
        <p:txBody>
          <a:bodyPr vert="horz" lIns="93151" tIns="46577" rIns="93151" bIns="46577" rtlCol="0"/>
          <a:lstStyle>
            <a:lvl1pPr algn="r">
              <a:defRPr sz="1200"/>
            </a:lvl1pPr>
          </a:lstStyle>
          <a:p>
            <a:fld id="{D06FE29C-B701-4B2F-B2BB-09D645112AB8}" type="datetimeFigureOut">
              <a:rPr lang="it-IT" smtClean="0"/>
              <a:t>03/10/2022</a:t>
            </a:fld>
            <a:endParaRPr lang="it-IT"/>
          </a:p>
        </p:txBody>
      </p:sp>
      <p:sp>
        <p:nvSpPr>
          <p:cNvPr id="4" name="Segnaposto immagine diapositiva 3"/>
          <p:cNvSpPr>
            <a:spLocks noGrp="1" noRot="1" noChangeAspect="1"/>
          </p:cNvSpPr>
          <p:nvPr>
            <p:ph type="sldImg" idx="2"/>
          </p:nvPr>
        </p:nvSpPr>
        <p:spPr>
          <a:xfrm>
            <a:off x="2924175" y="509588"/>
            <a:ext cx="4078288" cy="2549525"/>
          </a:xfrm>
          <a:prstGeom prst="rect">
            <a:avLst/>
          </a:prstGeom>
          <a:noFill/>
          <a:ln w="12700">
            <a:solidFill>
              <a:prstClr val="black"/>
            </a:solidFill>
          </a:ln>
        </p:spPr>
        <p:txBody>
          <a:bodyPr vert="horz" lIns="93151" tIns="46577" rIns="93151" bIns="46577" rtlCol="0" anchor="ctr"/>
          <a:lstStyle/>
          <a:p>
            <a:endParaRPr lang="it-IT"/>
          </a:p>
        </p:txBody>
      </p:sp>
      <p:sp>
        <p:nvSpPr>
          <p:cNvPr id="5" name="Segnaposto note 4"/>
          <p:cNvSpPr>
            <a:spLocks noGrp="1"/>
          </p:cNvSpPr>
          <p:nvPr>
            <p:ph type="body" sz="quarter" idx="3"/>
          </p:nvPr>
        </p:nvSpPr>
        <p:spPr>
          <a:xfrm>
            <a:off x="992664" y="3228896"/>
            <a:ext cx="7941310" cy="3058954"/>
          </a:xfrm>
          <a:prstGeom prst="rect">
            <a:avLst/>
          </a:prstGeom>
        </p:spPr>
        <p:txBody>
          <a:bodyPr vert="horz" lIns="93151" tIns="46577" rIns="93151" bIns="46577" rtlCol="0"/>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4" y="6456613"/>
            <a:ext cx="4301543" cy="339884"/>
          </a:xfrm>
          <a:prstGeom prst="rect">
            <a:avLst/>
          </a:prstGeom>
        </p:spPr>
        <p:txBody>
          <a:bodyPr vert="horz" lIns="93151" tIns="46577" rIns="93151" bIns="46577" rtlCol="0" anchor="b"/>
          <a:lstStyle>
            <a:lvl1pPr algn="l">
              <a:defRPr sz="1200"/>
            </a:lvl1pPr>
          </a:lstStyle>
          <a:p>
            <a:endParaRPr lang="it-IT"/>
          </a:p>
        </p:txBody>
      </p:sp>
      <p:sp>
        <p:nvSpPr>
          <p:cNvPr id="7" name="Segnaposto numero diapositiva 6"/>
          <p:cNvSpPr>
            <a:spLocks noGrp="1"/>
          </p:cNvSpPr>
          <p:nvPr>
            <p:ph type="sldNum" sz="quarter" idx="5"/>
          </p:nvPr>
        </p:nvSpPr>
        <p:spPr>
          <a:xfrm>
            <a:off x="5622803" y="6456613"/>
            <a:ext cx="4301543" cy="339884"/>
          </a:xfrm>
          <a:prstGeom prst="rect">
            <a:avLst/>
          </a:prstGeom>
        </p:spPr>
        <p:txBody>
          <a:bodyPr vert="horz" lIns="93151" tIns="46577" rIns="93151" bIns="46577" rtlCol="0" anchor="b"/>
          <a:lstStyle>
            <a:lvl1pPr algn="r">
              <a:defRPr sz="1200"/>
            </a:lvl1pPr>
          </a:lstStyle>
          <a:p>
            <a:fld id="{E2631F1F-7D33-4EB9-A4FF-2F0BC1FDDBEA}" type="slidenum">
              <a:rPr lang="it-IT" smtClean="0"/>
              <a:t>‹N›</a:t>
            </a:fld>
            <a:endParaRPr lang="it-IT"/>
          </a:p>
        </p:txBody>
      </p:sp>
    </p:spTree>
    <p:extLst>
      <p:ext uri="{BB962C8B-B14F-4D97-AF65-F5344CB8AC3E}">
        <p14:creationId xmlns:p14="http://schemas.microsoft.com/office/powerpoint/2010/main" val="3832440931"/>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719138" y="460375"/>
            <a:ext cx="5359400" cy="3349625"/>
          </a:xfrm>
        </p:spPr>
      </p:sp>
      <p:sp>
        <p:nvSpPr>
          <p:cNvPr id="3" name="Segnaposto note 2"/>
          <p:cNvSpPr>
            <a:spLocks noGrp="1"/>
          </p:cNvSpPr>
          <p:nvPr>
            <p:ph type="body" idx="1"/>
          </p:nvPr>
        </p:nvSpPr>
        <p:spPr>
          <a:xfrm>
            <a:off x="420621" y="4054525"/>
            <a:ext cx="5955349" cy="5546677"/>
          </a:xfrm>
        </p:spPr>
        <p:txBody>
          <a:bodyPr/>
          <a:lstStyle/>
          <a:p>
            <a:pPr>
              <a:lnSpc>
                <a:spcPts val="1900"/>
              </a:lnSpc>
            </a:pPr>
            <a:endParaRPr lang="it-IT" sz="1400" dirty="0"/>
          </a:p>
        </p:txBody>
      </p:sp>
    </p:spTree>
    <p:extLst>
      <p:ext uri="{BB962C8B-B14F-4D97-AF65-F5344CB8AC3E}">
        <p14:creationId xmlns:p14="http://schemas.microsoft.com/office/powerpoint/2010/main" val="21403117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Tree>
    <p:extLst>
      <p:ext uri="{BB962C8B-B14F-4D97-AF65-F5344CB8AC3E}">
        <p14:creationId xmlns:p14="http://schemas.microsoft.com/office/powerpoint/2010/main" val="17257819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E2631F1F-7D33-4EB9-A4FF-2F0BC1FDDBEA}" type="slidenum">
              <a:rPr lang="it-IT" smtClean="0">
                <a:solidFill>
                  <a:prstClr val="black"/>
                </a:solidFill>
              </a:rPr>
              <a:pPr/>
              <a:t>14</a:t>
            </a:fld>
            <a:endParaRPr lang="it-IT">
              <a:solidFill>
                <a:prstClr val="black"/>
              </a:solidFill>
            </a:endParaRPr>
          </a:p>
        </p:txBody>
      </p:sp>
    </p:spTree>
    <p:extLst>
      <p:ext uri="{BB962C8B-B14F-4D97-AF65-F5344CB8AC3E}">
        <p14:creationId xmlns:p14="http://schemas.microsoft.com/office/powerpoint/2010/main" val="195253925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9.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6.xml"/><Relationship Id="rId1" Type="http://schemas.openxmlformats.org/officeDocument/2006/relationships/tags" Target="../tags/tag20.xml"/><Relationship Id="rId4" Type="http://schemas.openxmlformats.org/officeDocument/2006/relationships/image" Target="../media/image10.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6.xml"/><Relationship Id="rId1" Type="http://schemas.openxmlformats.org/officeDocument/2006/relationships/tags" Target="../tags/tag21.xml"/><Relationship Id="rId5" Type="http://schemas.openxmlformats.org/officeDocument/2006/relationships/image" Target="../media/image9.png"/><Relationship Id="rId4" Type="http://schemas.openxmlformats.org/officeDocument/2006/relationships/image" Target="../media/image11.emf"/></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emf"/><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6.jp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Copertina">
    <p:spTree>
      <p:nvGrpSpPr>
        <p:cNvPr id="1" name=""/>
        <p:cNvGrpSpPr/>
        <p:nvPr/>
      </p:nvGrpSpPr>
      <p:grpSpPr>
        <a:xfrm>
          <a:off x="0" y="0"/>
          <a:ext cx="0" cy="0"/>
          <a:chOff x="0" y="0"/>
          <a:chExt cx="0" cy="0"/>
        </a:xfrm>
      </p:grpSpPr>
      <p:sp>
        <p:nvSpPr>
          <p:cNvPr id="19" name="Rettangolo 18">
            <a:extLst>
              <a:ext uri="{FF2B5EF4-FFF2-40B4-BE49-F238E27FC236}">
                <a16:creationId xmlns:a16="http://schemas.microsoft.com/office/drawing/2014/main" id="{CFDCDC1C-BD6A-492B-B81D-40AAD8317027}"/>
              </a:ext>
            </a:extLst>
          </p:cNvPr>
          <p:cNvSpPr/>
          <p:nvPr userDrawn="1"/>
        </p:nvSpPr>
        <p:spPr>
          <a:xfrm>
            <a:off x="8789334" y="0"/>
            <a:ext cx="354666" cy="5715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endParaRPr lang="it-IT">
              <a:solidFill>
                <a:srgbClr val="FFFFFF"/>
              </a:solidFill>
            </a:endParaRPr>
          </a:p>
        </p:txBody>
      </p:sp>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2998279" y="900862"/>
            <a:ext cx="5493338" cy="782504"/>
          </a:xfrm>
          <a:prstGeom prst="rect">
            <a:avLst/>
          </a:prstGeom>
          <a:noFill/>
          <a:effectLst/>
        </p:spPr>
        <p:txBody>
          <a:bodyPr vert="horz" wrap="square" lIns="0" tIns="45720" rIns="0" bIns="144000" rtlCol="0" anchor="b">
            <a:spAutoFit/>
          </a:bodyPr>
          <a:lstStyle>
            <a:lvl1pPr algn="r">
              <a:lnSpc>
                <a:spcPct val="80000"/>
              </a:lnSpc>
              <a:defRPr lang="it-IT" sz="4800"/>
            </a:lvl1pPr>
          </a:lstStyle>
          <a:p>
            <a:pPr lvl="0"/>
            <a:r>
              <a:rPr lang="it-IT" dirty="0"/>
              <a:t>COPERTINA </a:t>
            </a:r>
          </a:p>
        </p:txBody>
      </p:sp>
      <p:grpSp>
        <p:nvGrpSpPr>
          <p:cNvPr id="14" name="Group 4">
            <a:extLst>
              <a:ext uri="{FF2B5EF4-FFF2-40B4-BE49-F238E27FC236}">
                <a16:creationId xmlns:a16="http://schemas.microsoft.com/office/drawing/2014/main" id="{E4737D48-B2DB-4F53-BFC9-9F18751EDFC0}"/>
              </a:ext>
            </a:extLst>
          </p:cNvPr>
          <p:cNvGrpSpPr>
            <a:grpSpLocks noChangeAspect="1"/>
          </p:cNvGrpSpPr>
          <p:nvPr userDrawn="1"/>
        </p:nvGrpSpPr>
        <p:grpSpPr bwMode="auto">
          <a:xfrm>
            <a:off x="8840262" y="75356"/>
            <a:ext cx="259620" cy="195357"/>
            <a:chOff x="-560" y="-1287"/>
            <a:chExt cx="6379" cy="4320"/>
          </a:xfrm>
        </p:grpSpPr>
        <p:sp>
          <p:nvSpPr>
            <p:cNvPr id="15" name="AutoShape 3">
              <a:extLst>
                <a:ext uri="{FF2B5EF4-FFF2-40B4-BE49-F238E27FC236}">
                  <a16:creationId xmlns:a16="http://schemas.microsoft.com/office/drawing/2014/main" id="{525F0B45-3EF6-4A9D-A83E-CDB12E556535}"/>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400">
                <a:defRPr/>
              </a:pPr>
              <a:endParaRPr lang="it-IT">
                <a:solidFill>
                  <a:srgbClr val="000000"/>
                </a:solidFill>
              </a:endParaRPr>
            </a:p>
          </p:txBody>
        </p:sp>
        <p:sp>
          <p:nvSpPr>
            <p:cNvPr id="16" name="Rectangle 5">
              <a:extLst>
                <a:ext uri="{FF2B5EF4-FFF2-40B4-BE49-F238E27FC236}">
                  <a16:creationId xmlns:a16="http://schemas.microsoft.com/office/drawing/2014/main" id="{DB6A0205-9830-47FC-AFEF-1EA19F148D8C}"/>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400">
                <a:defRPr/>
              </a:pPr>
              <a:endParaRPr lang="it-IT">
                <a:solidFill>
                  <a:srgbClr val="000000"/>
                </a:solidFill>
              </a:endParaRPr>
            </a:p>
          </p:txBody>
        </p:sp>
        <p:sp>
          <p:nvSpPr>
            <p:cNvPr id="17" name="Freeform 6">
              <a:extLst>
                <a:ext uri="{FF2B5EF4-FFF2-40B4-BE49-F238E27FC236}">
                  <a16:creationId xmlns:a16="http://schemas.microsoft.com/office/drawing/2014/main" id="{A652E29C-2288-4037-A735-2C99372F7809}"/>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defRPr/>
              </a:pPr>
              <a:endParaRPr lang="it-IT">
                <a:solidFill>
                  <a:srgbClr val="000000"/>
                </a:solidFill>
              </a:endParaRPr>
            </a:p>
          </p:txBody>
        </p:sp>
        <p:sp>
          <p:nvSpPr>
            <p:cNvPr id="18" name="Freeform 7">
              <a:extLst>
                <a:ext uri="{FF2B5EF4-FFF2-40B4-BE49-F238E27FC236}">
                  <a16:creationId xmlns:a16="http://schemas.microsoft.com/office/drawing/2014/main" id="{3DEB9809-C89A-4A58-9A81-ABAF9CE315F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defRPr/>
              </a:pPr>
              <a:endParaRPr lang="it-IT">
                <a:solidFill>
                  <a:srgbClr val="000000"/>
                </a:solidFill>
              </a:endParaRPr>
            </a:p>
          </p:txBody>
        </p:sp>
        <p:sp>
          <p:nvSpPr>
            <p:cNvPr id="22" name="Freeform 8">
              <a:extLst>
                <a:ext uri="{FF2B5EF4-FFF2-40B4-BE49-F238E27FC236}">
                  <a16:creationId xmlns:a16="http://schemas.microsoft.com/office/drawing/2014/main" id="{E1355289-BE5F-41B1-954C-B78211E4669F}"/>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defRPr/>
              </a:pPr>
              <a:endParaRPr lang="it-IT">
                <a:solidFill>
                  <a:srgbClr val="000000"/>
                </a:solidFill>
              </a:endParaRPr>
            </a:p>
          </p:txBody>
        </p:sp>
        <p:sp>
          <p:nvSpPr>
            <p:cNvPr id="30" name="Freeform 9">
              <a:extLst>
                <a:ext uri="{FF2B5EF4-FFF2-40B4-BE49-F238E27FC236}">
                  <a16:creationId xmlns:a16="http://schemas.microsoft.com/office/drawing/2014/main" id="{8A815911-1EC8-4303-988F-6009E820B583}"/>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defRPr/>
              </a:pPr>
              <a:endParaRPr lang="it-IT">
                <a:solidFill>
                  <a:srgbClr val="000000"/>
                </a:solidFill>
              </a:endParaRPr>
            </a:p>
          </p:txBody>
        </p:sp>
      </p:grpSp>
      <p:sp>
        <p:nvSpPr>
          <p:cNvPr id="13" name="Segnaposto testo 3"/>
          <p:cNvSpPr>
            <a:spLocks noGrp="1"/>
          </p:cNvSpPr>
          <p:nvPr>
            <p:ph type="body" sz="quarter" idx="10" hasCustomPrompt="1"/>
          </p:nvPr>
        </p:nvSpPr>
        <p:spPr>
          <a:xfrm>
            <a:off x="4608127" y="1689608"/>
            <a:ext cx="3889117" cy="634771"/>
          </a:xfrm>
          <a:prstGeom prst="rect">
            <a:avLst/>
          </a:prstGeom>
          <a:noFill/>
          <a:effectLst/>
        </p:spPr>
        <p:txBody>
          <a:bodyPr vert="horz" wrap="square" lIns="0" tIns="45720" rIns="0" bIns="144000" rtlCol="0" anchor="t">
            <a:spAutoFit/>
          </a:bodyPr>
          <a:lstStyle>
            <a:lvl1pPr algn="r">
              <a:defRPr lang="it-IT" sz="3200" b="0" dirty="0">
                <a:solidFill>
                  <a:schemeClr val="bg1"/>
                </a:solidFill>
                <a:latin typeface="+mj-lt"/>
                <a:ea typeface="+mj-ea"/>
                <a:cs typeface="+mj-cs"/>
              </a:defRPr>
            </a:lvl1pPr>
          </a:lstStyle>
          <a:p>
            <a:pPr lvl="0" algn="r">
              <a:spcBef>
                <a:spcPct val="0"/>
              </a:spcBef>
            </a:pPr>
            <a:r>
              <a:rPr lang="it-IT" dirty="0"/>
              <a:t>Sottotitolo </a:t>
            </a:r>
          </a:p>
        </p:txBody>
      </p:sp>
      <p:sp>
        <p:nvSpPr>
          <p:cNvPr id="4" name="Segnaposto testo 3"/>
          <p:cNvSpPr>
            <a:spLocks noGrp="1"/>
          </p:cNvSpPr>
          <p:nvPr>
            <p:ph type="body" sz="quarter" idx="11" hasCustomPrompt="1"/>
          </p:nvPr>
        </p:nvSpPr>
        <p:spPr>
          <a:xfrm>
            <a:off x="305992" y="4450767"/>
            <a:ext cx="1165160" cy="268723"/>
          </a:xfrm>
          <a:prstGeom prst="rect">
            <a:avLst/>
          </a:prstGeom>
        </p:spPr>
        <p:txBody>
          <a:bodyPr lIns="0" rIns="0"/>
          <a:lstStyle>
            <a:lvl1pPr algn="l">
              <a:defRPr sz="1400" b="1" baseline="0">
                <a:solidFill>
                  <a:schemeClr val="bg1"/>
                </a:solidFill>
              </a:defRPr>
            </a:lvl1pPr>
          </a:lstStyle>
          <a:p>
            <a:pPr lvl="0"/>
            <a:r>
              <a:rPr lang="it-IT" dirty="0"/>
              <a:t>00 Mese 0000</a:t>
            </a:r>
          </a:p>
        </p:txBody>
      </p:sp>
      <p:pic>
        <p:nvPicPr>
          <p:cNvPr id="20" name="Immagine 1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05996" y="4989534"/>
            <a:ext cx="883553" cy="556133"/>
          </a:xfrm>
          <a:prstGeom prst="rect">
            <a:avLst/>
          </a:prstGeom>
        </p:spPr>
      </p:pic>
    </p:spTree>
    <p:extLst>
      <p:ext uri="{BB962C8B-B14F-4D97-AF65-F5344CB8AC3E}">
        <p14:creationId xmlns:p14="http://schemas.microsoft.com/office/powerpoint/2010/main" val="15547308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Titolo e contenuto">
    <p:spTree>
      <p:nvGrpSpPr>
        <p:cNvPr id="1" name=""/>
        <p:cNvGrpSpPr/>
        <p:nvPr/>
      </p:nvGrpSpPr>
      <p:grpSpPr>
        <a:xfrm>
          <a:off x="0" y="0"/>
          <a:ext cx="0" cy="0"/>
          <a:chOff x="0" y="0"/>
          <a:chExt cx="0" cy="0"/>
        </a:xfrm>
      </p:grpSpPr>
      <p:pic>
        <p:nvPicPr>
          <p:cNvPr id="19" name="Immagine 1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4000" cy="5715001"/>
          </a:xfrm>
          <a:prstGeom prst="rect">
            <a:avLst/>
          </a:prstGeom>
        </p:spPr>
      </p:pic>
      <p:sp>
        <p:nvSpPr>
          <p:cNvPr id="7" name="Rettangolo 6">
            <a:extLst>
              <a:ext uri="{FF2B5EF4-FFF2-40B4-BE49-F238E27FC236}">
                <a16:creationId xmlns:a16="http://schemas.microsoft.com/office/drawing/2014/main" id="{7466584B-8BD1-48B2-BD0C-DC7DD5380BEF}"/>
              </a:ext>
            </a:extLst>
          </p:cNvPr>
          <p:cNvSpPr/>
          <p:nvPr userDrawn="1"/>
        </p:nvSpPr>
        <p:spPr>
          <a:xfrm>
            <a:off x="8789334" y="0"/>
            <a:ext cx="354666" cy="5715000"/>
          </a:xfrm>
          <a:prstGeom prst="rect">
            <a:avLst/>
          </a:prstGeom>
          <a:solidFill>
            <a:srgbClr val="DC00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it-IT" sz="1350" dirty="0">
              <a:solidFill>
                <a:srgbClr val="FFFFFF"/>
              </a:solidFill>
            </a:endParaRPr>
          </a:p>
        </p:txBody>
      </p:sp>
      <p:grpSp>
        <p:nvGrpSpPr>
          <p:cNvPr id="8"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8840262" y="75356"/>
            <a:ext cx="259620" cy="195357"/>
            <a:chOff x="-560" y="-1287"/>
            <a:chExt cx="6379" cy="4320"/>
          </a:xfrm>
        </p:grpSpPr>
        <p:sp>
          <p:nvSpPr>
            <p:cNvPr id="9"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685783"/>
              <a:endParaRPr lang="it-IT" sz="1350" dirty="0">
                <a:solidFill>
                  <a:srgbClr val="000000"/>
                </a:solidFill>
              </a:endParaRPr>
            </a:p>
          </p:txBody>
        </p:sp>
        <p:sp>
          <p:nvSpPr>
            <p:cNvPr id="10"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685783"/>
              <a:endParaRPr lang="it-IT" sz="1350" dirty="0">
                <a:solidFill>
                  <a:srgbClr val="000000"/>
                </a:solidFill>
              </a:endParaRPr>
            </a:p>
          </p:txBody>
        </p:sp>
        <p:sp>
          <p:nvSpPr>
            <p:cNvPr id="11"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685783"/>
              <a:endParaRPr lang="it-IT" sz="1350" dirty="0">
                <a:solidFill>
                  <a:srgbClr val="000000"/>
                </a:solidFill>
              </a:endParaRPr>
            </a:p>
          </p:txBody>
        </p:sp>
        <p:sp>
          <p:nvSpPr>
            <p:cNvPr id="12"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685783"/>
              <a:endParaRPr lang="it-IT" sz="1350" dirty="0">
                <a:solidFill>
                  <a:srgbClr val="000000"/>
                </a:solidFill>
              </a:endParaRPr>
            </a:p>
          </p:txBody>
        </p:sp>
        <p:sp>
          <p:nvSpPr>
            <p:cNvPr id="13"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685783"/>
              <a:endParaRPr lang="it-IT" sz="1350" dirty="0">
                <a:solidFill>
                  <a:srgbClr val="000000"/>
                </a:solidFill>
              </a:endParaRPr>
            </a:p>
          </p:txBody>
        </p:sp>
        <p:sp>
          <p:nvSpPr>
            <p:cNvPr id="14"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685783"/>
              <a:endParaRPr lang="it-IT" sz="1350" dirty="0">
                <a:solidFill>
                  <a:srgbClr val="000000"/>
                </a:solidFill>
              </a:endParaRPr>
            </a:p>
          </p:txBody>
        </p:sp>
      </p:grpSp>
      <p:sp>
        <p:nvSpPr>
          <p:cNvPr id="15"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8788628" y="5413256"/>
            <a:ext cx="354666" cy="192644"/>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5"/>
            <a:fld id="{B9D7DBFB-DCE9-42BC-A361-A0671D12ADFC}" type="slidenum">
              <a:rPr lang="it-IT" sz="750">
                <a:solidFill>
                  <a:srgbClr val="FFFFFF"/>
                </a:solidFill>
              </a:rPr>
              <a:pPr defTabSz="914355"/>
              <a:t>‹N›</a:t>
            </a:fld>
            <a:endParaRPr lang="it-IT" sz="750" dirty="0">
              <a:solidFill>
                <a:srgbClr val="FFFFFF"/>
              </a:solidFill>
            </a:endParaRPr>
          </a:p>
        </p:txBody>
      </p:sp>
      <p:sp>
        <p:nvSpPr>
          <p:cNvPr id="16"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7779088" y="5350800"/>
            <a:ext cx="908903" cy="92333"/>
          </a:xfrm>
          <a:prstGeom prst="rect">
            <a:avLst/>
          </a:prstGeom>
          <a:solidFill>
            <a:schemeClr val="bg1"/>
          </a:solidFill>
          <a:effectLst/>
        </p:spPr>
        <p:txBody>
          <a:bodyPr wrap="none" lIns="0" tIns="0" rIns="0" bIns="0" rtlCol="0" anchor="ctr">
            <a:spAutoFit/>
          </a:bodyPr>
          <a:lstStyle>
            <a:lvl1pPr algn="r">
              <a:defRPr lang="it-IT" sz="600" smtClean="0">
                <a:solidFill>
                  <a:schemeClr val="tx2"/>
                </a:solidFill>
                <a:effectLst/>
              </a:defRPr>
            </a:lvl1pPr>
          </a:lstStyle>
          <a:p>
            <a:pPr defTabSz="914355"/>
            <a:r>
              <a:rPr lang="it-IT">
                <a:solidFill>
                  <a:srgbClr val="DC002E"/>
                </a:solidFill>
              </a:rPr>
              <a:t>Formato data GG/MM/AAAA</a:t>
            </a:r>
            <a:endParaRPr lang="it-IT" dirty="0">
              <a:solidFill>
                <a:srgbClr val="DC002E"/>
              </a:solidFill>
            </a:endParaRPr>
          </a:p>
        </p:txBody>
      </p:sp>
      <p:sp>
        <p:nvSpPr>
          <p:cNvPr id="17"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2339069" y="5459998"/>
            <a:ext cx="6349277" cy="92333"/>
          </a:xfrm>
          <a:prstGeom prst="rect">
            <a:avLst/>
          </a:prstGeom>
          <a:noFill/>
        </p:spPr>
        <p:txBody>
          <a:bodyPr wrap="square" lIns="0" tIns="0" rIns="0" bIns="0" rtlCol="0">
            <a:spAutoFit/>
          </a:bodyPr>
          <a:lstStyle>
            <a:lvl1pPr>
              <a:defRPr lang="it-IT" sz="600" i="0">
                <a:solidFill>
                  <a:schemeClr val="bg2"/>
                </a:solidFill>
              </a:defRPr>
            </a:lvl1pPr>
          </a:lstStyle>
          <a:p>
            <a:pPr algn="r" defTabSz="914355"/>
            <a:r>
              <a:rPr lang="en-GB">
                <a:solidFill>
                  <a:srgbClr val="717073"/>
                </a:solidFill>
              </a:rPr>
              <a:t>Titolo presentazione   </a:t>
            </a:r>
            <a:r>
              <a:rPr lang="en-GB">
                <a:solidFill>
                  <a:srgbClr val="DC002E"/>
                </a:solidFill>
              </a:rPr>
              <a:t>I</a:t>
            </a:r>
            <a:r>
              <a:rPr lang="en-GB">
                <a:solidFill>
                  <a:srgbClr val="717073"/>
                </a:solidFill>
              </a:rPr>
              <a:t>   Nome relatore</a:t>
            </a:r>
            <a:endParaRPr lang="en-GB" dirty="0">
              <a:solidFill>
                <a:srgbClr val="717073"/>
              </a:solidFill>
            </a:endParaRPr>
          </a:p>
        </p:txBody>
      </p:sp>
      <p:pic>
        <p:nvPicPr>
          <p:cNvPr id="18" name="Immagine 17"/>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05992" y="5097930"/>
            <a:ext cx="711341" cy="447738"/>
          </a:xfrm>
          <a:prstGeom prst="rect">
            <a:avLst/>
          </a:prstGeom>
        </p:spPr>
      </p:pic>
    </p:spTree>
    <p:extLst>
      <p:ext uri="{BB962C8B-B14F-4D97-AF65-F5344CB8AC3E}">
        <p14:creationId xmlns:p14="http://schemas.microsoft.com/office/powerpoint/2010/main" val="1654123977"/>
      </p:ext>
    </p:extLst>
  </p:cSld>
  <p:clrMapOvr>
    <a:masterClrMapping/>
  </p:clrMapOvr>
  <p:transition spd="slow">
    <p:wipe/>
  </p:transition>
  <p:hf hdr="0" ftr="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Titolo Sott. e contenuto testo 20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305529" y="2"/>
            <a:ext cx="8382465" cy="721973"/>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305529" y="721974"/>
            <a:ext cx="8382465" cy="325778"/>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11"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305525" y="1314981"/>
            <a:ext cx="8382466" cy="3522928"/>
          </a:xfrm>
          <a:prstGeom prst="rect">
            <a:avLst/>
          </a:prstGeom>
        </p:spPr>
        <p:txBody>
          <a:bodyPr/>
          <a:lstStyle>
            <a:lvl1pPr marL="0" indent="0">
              <a:buClr>
                <a:schemeClr val="tx2"/>
              </a:buClr>
              <a:buSzPct val="140000"/>
              <a:buFontTx/>
              <a:buNone/>
              <a:defRPr sz="2000"/>
            </a:lvl1pPr>
            <a:lvl2pPr marL="452437" indent="0">
              <a:buClr>
                <a:schemeClr val="tx2"/>
              </a:buClr>
              <a:buSzPct val="140000"/>
              <a:buFontTx/>
              <a:buNone/>
              <a:defRPr sz="1800"/>
            </a:lvl2pPr>
            <a:lvl3pPr marL="895350" indent="0">
              <a:buClr>
                <a:schemeClr val="tx2"/>
              </a:buClr>
              <a:buSzPct val="140000"/>
              <a:buFontTx/>
              <a:buNone/>
              <a:defRPr sz="1600"/>
            </a:lvl3pPr>
            <a:lvl4pPr marL="1343025" indent="0">
              <a:buClr>
                <a:schemeClr val="tx2"/>
              </a:buClr>
              <a:buSzPct val="140000"/>
              <a:buFontTx/>
              <a:buNone/>
              <a:defRPr sz="1400"/>
            </a:lvl4pPr>
            <a:lvl5pPr marL="1795462" indent="0">
              <a:buClr>
                <a:schemeClr val="tx2"/>
              </a:buClr>
              <a:buSzPct val="140000"/>
              <a:buFontTx/>
              <a:buNone/>
              <a:defRPr sz="1200"/>
            </a:lvl5pPr>
          </a:lstStyle>
          <a:p>
            <a:pPr lvl="0"/>
            <a:r>
              <a:rPr lang="it-IT" dirty="0"/>
              <a:t>Testo Calibri 20pt</a:t>
            </a:r>
          </a:p>
          <a:p>
            <a:pPr lvl="1"/>
            <a:r>
              <a:rPr lang="it-IT" dirty="0"/>
              <a:t>Secondo livello 18pt</a:t>
            </a:r>
          </a:p>
          <a:p>
            <a:pPr lvl="2"/>
            <a:r>
              <a:rPr lang="it-IT" dirty="0"/>
              <a:t>Terzo livello 16pt</a:t>
            </a:r>
          </a:p>
          <a:p>
            <a:pPr lvl="3"/>
            <a:r>
              <a:rPr lang="it-IT" dirty="0"/>
              <a:t>Quarto livello 14pt</a:t>
            </a:r>
          </a:p>
          <a:p>
            <a:pPr lvl="4"/>
            <a:r>
              <a:rPr lang="it-IT" dirty="0"/>
              <a:t>Quinto livello 12pt</a:t>
            </a:r>
          </a:p>
        </p:txBody>
      </p:sp>
      <p:sp>
        <p:nvSpPr>
          <p:cNvPr id="9"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8197475" y="5335410"/>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r>
              <a:rPr>
                <a:solidFill>
                  <a:srgbClr val="DC002E"/>
                </a:solidFill>
              </a:rPr>
              <a:t>23/04/2019</a:t>
            </a:r>
            <a:endParaRPr lang="en-GB" dirty="0">
              <a:solidFill>
                <a:srgbClr val="DC002E"/>
              </a:solidFill>
            </a:endParaRPr>
          </a:p>
        </p:txBody>
      </p:sp>
      <p:sp>
        <p:nvSpPr>
          <p:cNvPr id="10"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2339070" y="5459999"/>
            <a:ext cx="6349277"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a:solidFill>
                  <a:srgbClr val="717073"/>
                </a:solidFill>
              </a:rPr>
              <a:t>Coordinamento Territoriale Sicilia</a:t>
            </a:r>
            <a:endParaRPr lang="en-GB" dirty="0">
              <a:solidFill>
                <a:srgbClr val="717073"/>
              </a:solidFill>
            </a:endParaRPr>
          </a:p>
        </p:txBody>
      </p:sp>
    </p:spTree>
    <p:extLst>
      <p:ext uri="{BB962C8B-B14F-4D97-AF65-F5344CB8AC3E}">
        <p14:creationId xmlns:p14="http://schemas.microsoft.com/office/powerpoint/2010/main" val="357281167"/>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olo Sott. e contenuto testo Bullet Point 20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305529" y="2"/>
            <a:ext cx="8382465" cy="721973"/>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305529" y="721974"/>
            <a:ext cx="8382465" cy="325778"/>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5"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305529" y="1314981"/>
            <a:ext cx="8382465" cy="3522928"/>
          </a:xfrm>
          <a:prstGeom prst="rect">
            <a:avLst/>
          </a:prstGeom>
        </p:spPr>
        <p:txBody>
          <a:bodyPr/>
          <a:lstStyle>
            <a:lvl1pPr marL="182563" indent="-182563">
              <a:buClr>
                <a:schemeClr val="tx2"/>
              </a:buClr>
              <a:buSzPct val="140000"/>
              <a:buFont typeface="Arial" panose="020B0604020202020204" pitchFamily="34" charset="0"/>
              <a:buChar char="•"/>
              <a:defRPr sz="2000"/>
            </a:lvl1pPr>
            <a:lvl2pPr marL="628650" indent="-176213">
              <a:buClr>
                <a:schemeClr val="tx2"/>
              </a:buClr>
              <a:buSzPct val="140000"/>
              <a:buFont typeface="Arial" panose="020B0604020202020204" pitchFamily="34" charset="0"/>
              <a:buChar char="•"/>
              <a:defRPr sz="1800"/>
            </a:lvl2pPr>
            <a:lvl3pPr marL="1076325" indent="-180975">
              <a:buClr>
                <a:schemeClr val="tx2"/>
              </a:buClr>
              <a:buSzPct val="140000"/>
              <a:buFont typeface="Arial" panose="020B0604020202020204" pitchFamily="34" charset="0"/>
              <a:buChar char="•"/>
              <a:defRPr sz="1600"/>
            </a:lvl3pPr>
            <a:lvl4pPr marL="1524000" indent="-180975">
              <a:buClr>
                <a:schemeClr val="tx2"/>
              </a:buClr>
              <a:buSzPct val="140000"/>
              <a:buFont typeface="Arial" panose="020B0604020202020204" pitchFamily="34" charset="0"/>
              <a:buChar char="•"/>
              <a:defRPr sz="1400"/>
            </a:lvl4pPr>
            <a:lvl5pPr marL="1971675" indent="-176213">
              <a:buClr>
                <a:schemeClr val="tx2"/>
              </a:buClr>
              <a:buSzPct val="140000"/>
              <a:buFont typeface="Arial" panose="020B0604020202020204" pitchFamily="34" charset="0"/>
              <a:buChar char="•"/>
              <a:defRPr sz="1200"/>
            </a:lvl5pPr>
          </a:lstStyle>
          <a:p>
            <a:pPr lvl="0"/>
            <a:r>
              <a:rPr lang="it-IT" dirty="0"/>
              <a:t>Testo Calibri 20pt</a:t>
            </a:r>
          </a:p>
          <a:p>
            <a:pPr lvl="1"/>
            <a:r>
              <a:rPr lang="it-IT" dirty="0"/>
              <a:t>Secondo livello 18pt</a:t>
            </a:r>
          </a:p>
          <a:p>
            <a:pPr lvl="2"/>
            <a:r>
              <a:rPr lang="it-IT" dirty="0"/>
              <a:t>Terzo livello 16pt</a:t>
            </a:r>
          </a:p>
          <a:p>
            <a:pPr lvl="3"/>
            <a:r>
              <a:rPr lang="it-IT" dirty="0"/>
              <a:t>Quarto livello 14pt</a:t>
            </a:r>
          </a:p>
          <a:p>
            <a:pPr lvl="4"/>
            <a:r>
              <a:rPr lang="it-IT" dirty="0"/>
              <a:t>Quinto livello 12pt</a:t>
            </a:r>
          </a:p>
        </p:txBody>
      </p:sp>
      <p:sp>
        <p:nvSpPr>
          <p:cNvPr id="6"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8197475" y="5335410"/>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r>
              <a:rPr>
                <a:solidFill>
                  <a:srgbClr val="DC002E"/>
                </a:solidFill>
              </a:rPr>
              <a:t>23/04/2019</a:t>
            </a:r>
            <a:endParaRPr lang="en-GB" dirty="0">
              <a:solidFill>
                <a:srgbClr val="DC002E"/>
              </a:solidFill>
            </a:endParaRPr>
          </a:p>
        </p:txBody>
      </p:sp>
      <p:sp>
        <p:nvSpPr>
          <p:cNvPr id="7"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2339070" y="5459999"/>
            <a:ext cx="6349277"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a:solidFill>
                  <a:srgbClr val="717073"/>
                </a:solidFill>
              </a:rPr>
              <a:t>Coordinamento Territoriale Sicilia</a:t>
            </a:r>
            <a:endParaRPr lang="en-GB" dirty="0">
              <a:solidFill>
                <a:srgbClr val="717073"/>
              </a:solidFill>
            </a:endParaRPr>
          </a:p>
        </p:txBody>
      </p:sp>
    </p:spTree>
    <p:extLst>
      <p:ext uri="{BB962C8B-B14F-4D97-AF65-F5344CB8AC3E}">
        <p14:creationId xmlns:p14="http://schemas.microsoft.com/office/powerpoint/2010/main" val="2769783663"/>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olo e contenuto testo 20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305529" y="2"/>
            <a:ext cx="8382465" cy="721973"/>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11"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305525" y="1000125"/>
            <a:ext cx="8382466" cy="3837783"/>
          </a:xfrm>
          <a:prstGeom prst="rect">
            <a:avLst/>
          </a:prstGeom>
        </p:spPr>
        <p:txBody>
          <a:bodyPr/>
          <a:lstStyle>
            <a:lvl1pPr marL="0" indent="0">
              <a:buClr>
                <a:schemeClr val="tx2"/>
              </a:buClr>
              <a:buSzPct val="140000"/>
              <a:buFontTx/>
              <a:buNone/>
              <a:defRPr sz="2000"/>
            </a:lvl1pPr>
            <a:lvl2pPr marL="452437" indent="0">
              <a:buClr>
                <a:schemeClr val="tx2"/>
              </a:buClr>
              <a:buSzPct val="140000"/>
              <a:buFontTx/>
              <a:buNone/>
              <a:defRPr sz="1800"/>
            </a:lvl2pPr>
            <a:lvl3pPr marL="895350" indent="0">
              <a:buClr>
                <a:schemeClr val="tx2"/>
              </a:buClr>
              <a:buSzPct val="140000"/>
              <a:buFontTx/>
              <a:buNone/>
              <a:defRPr sz="1600"/>
            </a:lvl3pPr>
            <a:lvl4pPr marL="1343025" indent="0">
              <a:buClr>
                <a:schemeClr val="tx2"/>
              </a:buClr>
              <a:buSzPct val="140000"/>
              <a:buFontTx/>
              <a:buNone/>
              <a:defRPr sz="1400"/>
            </a:lvl4pPr>
            <a:lvl5pPr marL="1795462" indent="0">
              <a:buClr>
                <a:schemeClr val="tx2"/>
              </a:buClr>
              <a:buSzPct val="140000"/>
              <a:buFontTx/>
              <a:buNone/>
              <a:defRPr sz="1200"/>
            </a:lvl5pPr>
          </a:lstStyle>
          <a:p>
            <a:pPr lvl="0"/>
            <a:r>
              <a:rPr lang="it-IT" dirty="0"/>
              <a:t>Testo Calibri 20pt</a:t>
            </a:r>
          </a:p>
          <a:p>
            <a:pPr lvl="1"/>
            <a:r>
              <a:rPr lang="it-IT" dirty="0"/>
              <a:t>Secondo livello 18pt</a:t>
            </a:r>
          </a:p>
          <a:p>
            <a:pPr lvl="2"/>
            <a:r>
              <a:rPr lang="it-IT" dirty="0"/>
              <a:t>Terzo livello 16pt</a:t>
            </a:r>
          </a:p>
          <a:p>
            <a:pPr lvl="3"/>
            <a:r>
              <a:rPr lang="it-IT" dirty="0"/>
              <a:t>Quarto livello 14pt</a:t>
            </a:r>
          </a:p>
          <a:p>
            <a:pPr lvl="4"/>
            <a:r>
              <a:rPr lang="it-IT" dirty="0"/>
              <a:t>Quinto livello 12pt</a:t>
            </a:r>
          </a:p>
        </p:txBody>
      </p:sp>
      <p:sp>
        <p:nvSpPr>
          <p:cNvPr id="9"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8197475" y="5335410"/>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r>
              <a:rPr>
                <a:solidFill>
                  <a:srgbClr val="DC002E"/>
                </a:solidFill>
              </a:rPr>
              <a:t>23/04/2019</a:t>
            </a:r>
            <a:endParaRPr lang="en-GB" dirty="0">
              <a:solidFill>
                <a:srgbClr val="DC002E"/>
              </a:solidFill>
            </a:endParaRPr>
          </a:p>
        </p:txBody>
      </p:sp>
      <p:sp>
        <p:nvSpPr>
          <p:cNvPr id="10"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2339070" y="5459999"/>
            <a:ext cx="6349277"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a:solidFill>
                  <a:srgbClr val="717073"/>
                </a:solidFill>
              </a:rPr>
              <a:t>Coordinamento Territoriale Sicilia</a:t>
            </a:r>
            <a:endParaRPr lang="en-GB" dirty="0">
              <a:solidFill>
                <a:srgbClr val="717073"/>
              </a:solidFill>
            </a:endParaRPr>
          </a:p>
        </p:txBody>
      </p:sp>
    </p:spTree>
    <p:extLst>
      <p:ext uri="{BB962C8B-B14F-4D97-AF65-F5344CB8AC3E}">
        <p14:creationId xmlns:p14="http://schemas.microsoft.com/office/powerpoint/2010/main" val="2274282499"/>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Titolo Sott. ">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305529" y="2"/>
            <a:ext cx="8382465" cy="721973"/>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305529" y="721974"/>
            <a:ext cx="8382465" cy="325778"/>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4"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8197475" y="5335410"/>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r>
              <a:rPr>
                <a:solidFill>
                  <a:srgbClr val="DC002E"/>
                </a:solidFill>
              </a:rPr>
              <a:t>23/04/2019</a:t>
            </a:r>
            <a:endParaRPr lang="en-GB" dirty="0">
              <a:solidFill>
                <a:srgbClr val="DC002E"/>
              </a:solidFill>
            </a:endParaRPr>
          </a:p>
        </p:txBody>
      </p:sp>
      <p:sp>
        <p:nvSpPr>
          <p:cNvPr id="5"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2339070" y="5459999"/>
            <a:ext cx="6349277"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a:solidFill>
                  <a:srgbClr val="717073"/>
                </a:solidFill>
              </a:rPr>
              <a:t>Coordinamento Territoriale Sicilia</a:t>
            </a:r>
            <a:endParaRPr lang="en-GB" dirty="0">
              <a:solidFill>
                <a:srgbClr val="717073"/>
              </a:solidFill>
            </a:endParaRPr>
          </a:p>
        </p:txBody>
      </p:sp>
    </p:spTree>
    <p:extLst>
      <p:ext uri="{BB962C8B-B14F-4D97-AF65-F5344CB8AC3E}">
        <p14:creationId xmlns:p14="http://schemas.microsoft.com/office/powerpoint/2010/main" val="3848904832"/>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Titolo Sott. e contenuto testo 18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305529" y="2"/>
            <a:ext cx="8382465" cy="721973"/>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305529" y="721974"/>
            <a:ext cx="8382465" cy="325778"/>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12"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305529" y="1334823"/>
            <a:ext cx="8382465" cy="3570553"/>
          </a:xfrm>
          <a:prstGeom prst="rect">
            <a:avLst/>
          </a:prstGeom>
        </p:spPr>
        <p:txBody>
          <a:bodyPr/>
          <a:lstStyle>
            <a:lvl1pPr marL="0" indent="0">
              <a:buClr>
                <a:schemeClr val="tx2"/>
              </a:buClr>
              <a:buSzPct val="140000"/>
              <a:buFontTx/>
              <a:buNone/>
              <a:defRPr sz="1800"/>
            </a:lvl1pPr>
            <a:lvl2pPr marL="452437" indent="0">
              <a:buClr>
                <a:schemeClr val="tx2"/>
              </a:buClr>
              <a:buSzPct val="140000"/>
              <a:buFontTx/>
              <a:buNone/>
              <a:defRPr sz="1600"/>
            </a:lvl2pPr>
            <a:lvl3pPr marL="895350" indent="0">
              <a:buClr>
                <a:schemeClr val="tx2"/>
              </a:buClr>
              <a:buSzPct val="140000"/>
              <a:buFontTx/>
              <a:buNone/>
              <a:defRPr sz="1400"/>
            </a:lvl3pPr>
            <a:lvl4pPr marL="1343025" indent="0">
              <a:buClr>
                <a:schemeClr val="tx2"/>
              </a:buClr>
              <a:buSzPct val="140000"/>
              <a:buFontTx/>
              <a:buNone/>
              <a:defRPr sz="1200"/>
            </a:lvl4pPr>
            <a:lvl5pPr marL="1795462" indent="0">
              <a:buClr>
                <a:schemeClr val="tx2"/>
              </a:buClr>
              <a:buSzPct val="140000"/>
              <a:buFontTx/>
              <a:buNone/>
              <a:defRPr sz="1100"/>
            </a:lvl5pPr>
          </a:lstStyle>
          <a:p>
            <a:pPr lvl="0"/>
            <a:r>
              <a:rPr lang="it-IT" dirty="0"/>
              <a:t>Testo Calibri 18pt</a:t>
            </a:r>
          </a:p>
          <a:p>
            <a:pPr lvl="1"/>
            <a:r>
              <a:rPr lang="it-IT" dirty="0"/>
              <a:t>Secondo livello 16pt</a:t>
            </a:r>
          </a:p>
          <a:p>
            <a:pPr lvl="2"/>
            <a:r>
              <a:rPr lang="it-IT" dirty="0"/>
              <a:t>Terzo livello 14pt</a:t>
            </a:r>
          </a:p>
          <a:p>
            <a:pPr lvl="3"/>
            <a:r>
              <a:rPr lang="it-IT" dirty="0"/>
              <a:t>Quarto livello 12pt</a:t>
            </a:r>
          </a:p>
          <a:p>
            <a:pPr lvl="4"/>
            <a:r>
              <a:rPr lang="it-IT" dirty="0"/>
              <a:t>Quinto livello 11pt</a:t>
            </a:r>
          </a:p>
        </p:txBody>
      </p:sp>
      <p:sp>
        <p:nvSpPr>
          <p:cNvPr id="5"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8197475" y="5335410"/>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r>
              <a:rPr>
                <a:solidFill>
                  <a:srgbClr val="DC002E"/>
                </a:solidFill>
              </a:rPr>
              <a:t>23/04/2019</a:t>
            </a:r>
            <a:endParaRPr lang="en-GB" dirty="0">
              <a:solidFill>
                <a:srgbClr val="DC002E"/>
              </a:solidFill>
            </a:endParaRPr>
          </a:p>
        </p:txBody>
      </p:sp>
      <p:sp>
        <p:nvSpPr>
          <p:cNvPr id="6"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2339070" y="5459999"/>
            <a:ext cx="6349277"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a:solidFill>
                  <a:srgbClr val="717073"/>
                </a:solidFill>
              </a:rPr>
              <a:t>Coordinamento Territoriale Sicilia</a:t>
            </a:r>
            <a:endParaRPr lang="en-GB" dirty="0">
              <a:solidFill>
                <a:srgbClr val="717073"/>
              </a:solidFill>
            </a:endParaRPr>
          </a:p>
        </p:txBody>
      </p:sp>
    </p:spTree>
    <p:extLst>
      <p:ext uri="{BB962C8B-B14F-4D97-AF65-F5344CB8AC3E}">
        <p14:creationId xmlns:p14="http://schemas.microsoft.com/office/powerpoint/2010/main" val="3401091232"/>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_Titolo Sott. e contenuto testo Bullet Point 18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305529" y="2"/>
            <a:ext cx="8382465" cy="721973"/>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305529" y="721974"/>
            <a:ext cx="8382465" cy="325778"/>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11"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305529" y="1334823"/>
            <a:ext cx="8382465" cy="3503086"/>
          </a:xfrm>
          <a:prstGeom prst="rect">
            <a:avLst/>
          </a:prstGeom>
        </p:spPr>
        <p:txBody>
          <a:bodyPr/>
          <a:lstStyle>
            <a:lvl1pPr marL="182563" indent="-182563">
              <a:buClr>
                <a:schemeClr val="tx2"/>
              </a:buClr>
              <a:buSzPct val="140000"/>
              <a:buFont typeface="Arial" panose="020B0604020202020204" pitchFamily="34" charset="0"/>
              <a:buChar char="•"/>
              <a:defRPr sz="1800"/>
            </a:lvl1pPr>
            <a:lvl2pPr marL="628650" indent="-176213">
              <a:buClr>
                <a:schemeClr val="tx2"/>
              </a:buClr>
              <a:buSzPct val="140000"/>
              <a:buFont typeface="Arial" panose="020B0604020202020204" pitchFamily="34" charset="0"/>
              <a:buChar char="•"/>
              <a:defRPr sz="1600"/>
            </a:lvl2pPr>
            <a:lvl3pPr marL="1076325" indent="-180975">
              <a:buClr>
                <a:schemeClr val="tx2"/>
              </a:buClr>
              <a:buSzPct val="140000"/>
              <a:buFont typeface="Arial" panose="020B0604020202020204" pitchFamily="34" charset="0"/>
              <a:buChar char="•"/>
              <a:defRPr sz="1400"/>
            </a:lvl3pPr>
            <a:lvl4pPr marL="1524000" indent="-180975">
              <a:buClr>
                <a:schemeClr val="tx2"/>
              </a:buClr>
              <a:buSzPct val="140000"/>
              <a:buFont typeface="Arial" panose="020B0604020202020204" pitchFamily="34" charset="0"/>
              <a:buChar char="•"/>
              <a:defRPr sz="1200"/>
            </a:lvl4pPr>
            <a:lvl5pPr marL="1971675" indent="-176213">
              <a:buClr>
                <a:schemeClr val="tx2"/>
              </a:buClr>
              <a:buSzPct val="140000"/>
              <a:buFont typeface="Arial" panose="020B0604020202020204" pitchFamily="34" charset="0"/>
              <a:buChar char="•"/>
              <a:defRPr sz="1100"/>
            </a:lvl5pPr>
          </a:lstStyle>
          <a:p>
            <a:pPr lvl="0"/>
            <a:r>
              <a:rPr lang="it-IT" dirty="0"/>
              <a:t>Testo Calibri 18pt</a:t>
            </a:r>
          </a:p>
          <a:p>
            <a:pPr lvl="1"/>
            <a:r>
              <a:rPr lang="it-IT" dirty="0"/>
              <a:t>Secondo livello 16pt</a:t>
            </a:r>
          </a:p>
          <a:p>
            <a:pPr lvl="2"/>
            <a:r>
              <a:rPr lang="it-IT" dirty="0"/>
              <a:t>Terzo livello 14pt</a:t>
            </a:r>
          </a:p>
          <a:p>
            <a:pPr lvl="3"/>
            <a:r>
              <a:rPr lang="it-IT" dirty="0"/>
              <a:t>Quarto livello 12pt</a:t>
            </a:r>
          </a:p>
          <a:p>
            <a:pPr lvl="4"/>
            <a:r>
              <a:rPr lang="it-IT" dirty="0"/>
              <a:t>Quinto livello 11pt</a:t>
            </a:r>
          </a:p>
        </p:txBody>
      </p:sp>
      <p:sp>
        <p:nvSpPr>
          <p:cNvPr id="5"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8197475" y="5335410"/>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r>
              <a:rPr>
                <a:solidFill>
                  <a:srgbClr val="DC002E"/>
                </a:solidFill>
              </a:rPr>
              <a:t>23/04/2019</a:t>
            </a:r>
            <a:endParaRPr lang="en-GB" dirty="0">
              <a:solidFill>
                <a:srgbClr val="DC002E"/>
              </a:solidFill>
            </a:endParaRPr>
          </a:p>
        </p:txBody>
      </p:sp>
      <p:sp>
        <p:nvSpPr>
          <p:cNvPr id="6"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2339070" y="5459999"/>
            <a:ext cx="6349277"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a:solidFill>
                  <a:srgbClr val="717073"/>
                </a:solidFill>
              </a:rPr>
              <a:t>Coordinamento Territoriale Sicilia</a:t>
            </a:r>
            <a:endParaRPr lang="en-GB" dirty="0">
              <a:solidFill>
                <a:srgbClr val="717073"/>
              </a:solidFill>
            </a:endParaRPr>
          </a:p>
        </p:txBody>
      </p:sp>
    </p:spTree>
    <p:extLst>
      <p:ext uri="{BB962C8B-B14F-4D97-AF65-F5344CB8AC3E}">
        <p14:creationId xmlns:p14="http://schemas.microsoft.com/office/powerpoint/2010/main" val="3616337074"/>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_Titolo sott. e cont. con immagine">
    <p:spTree>
      <p:nvGrpSpPr>
        <p:cNvPr id="1" name=""/>
        <p:cNvGrpSpPr/>
        <p:nvPr/>
      </p:nvGrpSpPr>
      <p:grpSpPr>
        <a:xfrm>
          <a:off x="0" y="0"/>
          <a:ext cx="0" cy="0"/>
          <a:chOff x="0" y="0"/>
          <a:chExt cx="0" cy="0"/>
        </a:xfrm>
      </p:grpSpPr>
      <p:sp>
        <p:nvSpPr>
          <p:cNvPr id="8"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305529" y="2"/>
            <a:ext cx="8382465" cy="721973"/>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12"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305526" y="1297782"/>
            <a:ext cx="2447297" cy="3544094"/>
          </a:xfrm>
          <a:prstGeom prst="rect">
            <a:avLst/>
          </a:prstGeom>
        </p:spPr>
        <p:txBody>
          <a:bodyPr vert="horz" lIns="0" tIns="45720" rIns="91440" bIns="45720" rtlCol="0">
            <a:normAutofit/>
          </a:bodyPr>
          <a:lstStyle>
            <a:lvl1pPr>
              <a:spcBef>
                <a:spcPts val="1200"/>
              </a:spcBef>
              <a:defRPr lang="it-IT" sz="1800" smtClean="0">
                <a:solidFill>
                  <a:schemeClr val="tx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3"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305529" y="721974"/>
            <a:ext cx="8382465" cy="325778"/>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3" name="Segnaposto immagine 2">
            <a:extLst>
              <a:ext uri="{FF2B5EF4-FFF2-40B4-BE49-F238E27FC236}">
                <a16:creationId xmlns:a16="http://schemas.microsoft.com/office/drawing/2014/main" id="{3659AF68-753C-5E40-9289-006DB5C1620C}"/>
              </a:ext>
            </a:extLst>
          </p:cNvPr>
          <p:cNvSpPr>
            <a:spLocks noGrp="1"/>
          </p:cNvSpPr>
          <p:nvPr>
            <p:ph type="pic" sz="quarter" idx="14"/>
          </p:nvPr>
        </p:nvSpPr>
        <p:spPr>
          <a:xfrm>
            <a:off x="2895601" y="1293813"/>
            <a:ext cx="5792391" cy="3544094"/>
          </a:xfrm>
          <a:prstGeom prst="rect">
            <a:avLst/>
          </a:prstGeom>
        </p:spPr>
        <p:txBody>
          <a:bodyPr/>
          <a:lstStyle/>
          <a:p>
            <a:endParaRPr lang="it-IT" dirty="0"/>
          </a:p>
        </p:txBody>
      </p:sp>
      <p:sp>
        <p:nvSpPr>
          <p:cNvPr id="6"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8197475" y="5335410"/>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r>
              <a:rPr>
                <a:solidFill>
                  <a:srgbClr val="DC002E"/>
                </a:solidFill>
              </a:rPr>
              <a:t>23/04/2019</a:t>
            </a:r>
            <a:endParaRPr lang="en-GB" dirty="0">
              <a:solidFill>
                <a:srgbClr val="DC002E"/>
              </a:solidFill>
            </a:endParaRPr>
          </a:p>
        </p:txBody>
      </p:sp>
      <p:sp>
        <p:nvSpPr>
          <p:cNvPr id="7"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2339070" y="5459999"/>
            <a:ext cx="6349277"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a:solidFill>
                  <a:srgbClr val="717073"/>
                </a:solidFill>
              </a:rPr>
              <a:t>Coordinamento Territoriale Sicilia</a:t>
            </a:r>
            <a:endParaRPr lang="en-GB" dirty="0">
              <a:solidFill>
                <a:srgbClr val="717073"/>
              </a:solidFill>
            </a:endParaRPr>
          </a:p>
        </p:txBody>
      </p:sp>
    </p:spTree>
    <p:extLst>
      <p:ext uri="{BB962C8B-B14F-4D97-AF65-F5344CB8AC3E}">
        <p14:creationId xmlns:p14="http://schemas.microsoft.com/office/powerpoint/2010/main" val="36038874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7_Titolo sott. e cont. con immagine">
    <p:spTree>
      <p:nvGrpSpPr>
        <p:cNvPr id="1" name=""/>
        <p:cNvGrpSpPr/>
        <p:nvPr/>
      </p:nvGrpSpPr>
      <p:grpSpPr>
        <a:xfrm>
          <a:off x="0" y="0"/>
          <a:ext cx="0" cy="0"/>
          <a:chOff x="0" y="0"/>
          <a:chExt cx="0" cy="0"/>
        </a:xfrm>
      </p:grpSpPr>
      <p:sp>
        <p:nvSpPr>
          <p:cNvPr id="8"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305529" y="2"/>
            <a:ext cx="8382465" cy="721973"/>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13"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305529" y="721974"/>
            <a:ext cx="8382465" cy="325778"/>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4" name="Segnaposto contenuto 3"/>
          <p:cNvSpPr>
            <a:spLocks noGrp="1"/>
          </p:cNvSpPr>
          <p:nvPr>
            <p:ph sz="quarter" idx="14"/>
          </p:nvPr>
        </p:nvSpPr>
        <p:spPr>
          <a:xfrm>
            <a:off x="305992" y="1268083"/>
            <a:ext cx="4266009" cy="3569824"/>
          </a:xfrm>
        </p:spPr>
        <p:txBody>
          <a:bodyPr/>
          <a:lstStyle/>
          <a:p>
            <a:pPr lvl="0"/>
            <a:endParaRPr lang="it-IT" dirty="0"/>
          </a:p>
        </p:txBody>
      </p:sp>
      <p:sp>
        <p:nvSpPr>
          <p:cNvPr id="17" name="Segnaposto testo 16"/>
          <p:cNvSpPr>
            <a:spLocks noGrp="1"/>
          </p:cNvSpPr>
          <p:nvPr>
            <p:ph type="body" sz="quarter" idx="15" hasCustomPrompt="1"/>
          </p:nvPr>
        </p:nvSpPr>
        <p:spPr>
          <a:xfrm>
            <a:off x="4914903" y="1352750"/>
            <a:ext cx="3773091" cy="222846"/>
          </a:xfrm>
        </p:spPr>
        <p:txBody>
          <a:bodyPr/>
          <a:lstStyle>
            <a:lvl1pPr>
              <a:defRPr sz="1600" b="1" baseline="0">
                <a:solidFill>
                  <a:schemeClr val="tx2"/>
                </a:solidFill>
              </a:defRPr>
            </a:lvl1pPr>
          </a:lstStyle>
          <a:p>
            <a:pPr lvl="0"/>
            <a:r>
              <a:rPr lang="it-IT" dirty="0"/>
              <a:t>Titolo del testo 16pt rosso</a:t>
            </a:r>
          </a:p>
        </p:txBody>
      </p:sp>
      <p:sp>
        <p:nvSpPr>
          <p:cNvPr id="18" name="Segnaposto testo 16"/>
          <p:cNvSpPr>
            <a:spLocks noGrp="1"/>
          </p:cNvSpPr>
          <p:nvPr>
            <p:ph type="body" sz="quarter" idx="16" hasCustomPrompt="1"/>
          </p:nvPr>
        </p:nvSpPr>
        <p:spPr>
          <a:xfrm>
            <a:off x="4914903" y="1586179"/>
            <a:ext cx="3773091" cy="498739"/>
          </a:xfrm>
        </p:spPr>
        <p:txBody>
          <a:bodyPr/>
          <a:lstStyle>
            <a:lvl1pPr>
              <a:defRPr sz="1400" b="0" baseline="0"/>
            </a:lvl1pPr>
          </a:lstStyle>
          <a:p>
            <a:pPr lvl="0"/>
            <a:r>
              <a:rPr lang="it-IT" dirty="0"/>
              <a:t>Titolo del testo 14pt nero</a:t>
            </a:r>
          </a:p>
        </p:txBody>
      </p:sp>
      <p:sp>
        <p:nvSpPr>
          <p:cNvPr id="21" name="Segnaposto testo 16"/>
          <p:cNvSpPr>
            <a:spLocks noGrp="1"/>
          </p:cNvSpPr>
          <p:nvPr>
            <p:ph type="body" sz="quarter" idx="17" hasCustomPrompt="1"/>
          </p:nvPr>
        </p:nvSpPr>
        <p:spPr>
          <a:xfrm>
            <a:off x="4914903" y="2210001"/>
            <a:ext cx="3773091" cy="222846"/>
          </a:xfrm>
        </p:spPr>
        <p:txBody>
          <a:bodyPr/>
          <a:lstStyle>
            <a:lvl1pPr>
              <a:defRPr sz="1600" b="1" baseline="0">
                <a:solidFill>
                  <a:schemeClr val="tx2"/>
                </a:solidFill>
              </a:defRPr>
            </a:lvl1pPr>
          </a:lstStyle>
          <a:p>
            <a:pPr lvl="0"/>
            <a:r>
              <a:rPr lang="it-IT" dirty="0"/>
              <a:t>Titolo del testo 16pt rosso</a:t>
            </a:r>
          </a:p>
        </p:txBody>
      </p:sp>
      <p:sp>
        <p:nvSpPr>
          <p:cNvPr id="22" name="Segnaposto testo 16"/>
          <p:cNvSpPr>
            <a:spLocks noGrp="1"/>
          </p:cNvSpPr>
          <p:nvPr>
            <p:ph type="body" sz="quarter" idx="18" hasCustomPrompt="1"/>
          </p:nvPr>
        </p:nvSpPr>
        <p:spPr>
          <a:xfrm>
            <a:off x="4914903" y="2443429"/>
            <a:ext cx="3773091" cy="498739"/>
          </a:xfrm>
        </p:spPr>
        <p:txBody>
          <a:bodyPr/>
          <a:lstStyle>
            <a:lvl1pPr>
              <a:defRPr sz="1400" b="0" baseline="0"/>
            </a:lvl1pPr>
          </a:lstStyle>
          <a:p>
            <a:pPr lvl="0"/>
            <a:r>
              <a:rPr lang="it-IT" dirty="0"/>
              <a:t>Titolo del testo 14pt nero</a:t>
            </a:r>
          </a:p>
        </p:txBody>
      </p:sp>
      <p:sp>
        <p:nvSpPr>
          <p:cNvPr id="23" name="Segnaposto testo 16"/>
          <p:cNvSpPr>
            <a:spLocks noGrp="1"/>
          </p:cNvSpPr>
          <p:nvPr>
            <p:ph type="body" sz="quarter" idx="19" hasCustomPrompt="1"/>
          </p:nvPr>
        </p:nvSpPr>
        <p:spPr>
          <a:xfrm>
            <a:off x="4914903" y="3067251"/>
            <a:ext cx="3773091" cy="222846"/>
          </a:xfrm>
        </p:spPr>
        <p:txBody>
          <a:bodyPr/>
          <a:lstStyle>
            <a:lvl1pPr>
              <a:defRPr sz="1600" b="1" baseline="0">
                <a:solidFill>
                  <a:schemeClr val="tx2"/>
                </a:solidFill>
              </a:defRPr>
            </a:lvl1pPr>
          </a:lstStyle>
          <a:p>
            <a:pPr lvl="0"/>
            <a:r>
              <a:rPr lang="it-IT" dirty="0"/>
              <a:t>Titolo del testo 16pt rosso</a:t>
            </a:r>
          </a:p>
        </p:txBody>
      </p:sp>
      <p:sp>
        <p:nvSpPr>
          <p:cNvPr id="24" name="Segnaposto testo 16"/>
          <p:cNvSpPr>
            <a:spLocks noGrp="1"/>
          </p:cNvSpPr>
          <p:nvPr>
            <p:ph type="body" sz="quarter" idx="20" hasCustomPrompt="1"/>
          </p:nvPr>
        </p:nvSpPr>
        <p:spPr>
          <a:xfrm>
            <a:off x="4914903" y="3300679"/>
            <a:ext cx="3773091" cy="498739"/>
          </a:xfrm>
        </p:spPr>
        <p:txBody>
          <a:bodyPr/>
          <a:lstStyle>
            <a:lvl1pPr>
              <a:defRPr sz="1400" b="0" baseline="0"/>
            </a:lvl1pPr>
          </a:lstStyle>
          <a:p>
            <a:pPr lvl="0"/>
            <a:r>
              <a:rPr lang="it-IT" dirty="0"/>
              <a:t>Titolo del testo 14pt nero</a:t>
            </a:r>
          </a:p>
        </p:txBody>
      </p:sp>
      <p:sp>
        <p:nvSpPr>
          <p:cNvPr id="25" name="Segnaposto testo 16"/>
          <p:cNvSpPr>
            <a:spLocks noGrp="1"/>
          </p:cNvSpPr>
          <p:nvPr>
            <p:ph type="body" sz="quarter" idx="21" hasCustomPrompt="1"/>
          </p:nvPr>
        </p:nvSpPr>
        <p:spPr>
          <a:xfrm>
            <a:off x="4914903" y="3924501"/>
            <a:ext cx="3773091" cy="222846"/>
          </a:xfrm>
        </p:spPr>
        <p:txBody>
          <a:bodyPr/>
          <a:lstStyle>
            <a:lvl1pPr>
              <a:defRPr sz="1600" b="1" baseline="0">
                <a:solidFill>
                  <a:schemeClr val="tx2"/>
                </a:solidFill>
              </a:defRPr>
            </a:lvl1pPr>
          </a:lstStyle>
          <a:p>
            <a:pPr lvl="0"/>
            <a:r>
              <a:rPr lang="it-IT" dirty="0"/>
              <a:t>Titolo del testo 16pt rosso</a:t>
            </a:r>
          </a:p>
        </p:txBody>
      </p:sp>
      <p:sp>
        <p:nvSpPr>
          <p:cNvPr id="26" name="Segnaposto testo 16"/>
          <p:cNvSpPr>
            <a:spLocks noGrp="1"/>
          </p:cNvSpPr>
          <p:nvPr>
            <p:ph type="body" sz="quarter" idx="22" hasCustomPrompt="1"/>
          </p:nvPr>
        </p:nvSpPr>
        <p:spPr>
          <a:xfrm>
            <a:off x="4914903" y="4157929"/>
            <a:ext cx="3773091" cy="498739"/>
          </a:xfrm>
        </p:spPr>
        <p:txBody>
          <a:bodyPr/>
          <a:lstStyle>
            <a:lvl1pPr>
              <a:defRPr sz="1400" b="0" baseline="0"/>
            </a:lvl1pPr>
          </a:lstStyle>
          <a:p>
            <a:pPr lvl="0"/>
            <a:r>
              <a:rPr lang="it-IT" dirty="0"/>
              <a:t>Titolo del testo 14pt nero</a:t>
            </a:r>
          </a:p>
        </p:txBody>
      </p:sp>
      <p:sp>
        <p:nvSpPr>
          <p:cNvPr id="14"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8197475" y="5335410"/>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r>
              <a:rPr>
                <a:solidFill>
                  <a:srgbClr val="DC002E"/>
                </a:solidFill>
              </a:rPr>
              <a:t>23/04/2019</a:t>
            </a:r>
            <a:endParaRPr lang="en-GB" dirty="0">
              <a:solidFill>
                <a:srgbClr val="DC002E"/>
              </a:solidFill>
            </a:endParaRPr>
          </a:p>
        </p:txBody>
      </p:sp>
      <p:sp>
        <p:nvSpPr>
          <p:cNvPr id="15"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2339070" y="5459999"/>
            <a:ext cx="6349277"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a:solidFill>
                  <a:srgbClr val="717073"/>
                </a:solidFill>
              </a:rPr>
              <a:t>Coordinamento Territoriale Sicilia</a:t>
            </a:r>
            <a:endParaRPr lang="en-GB" dirty="0">
              <a:solidFill>
                <a:srgbClr val="717073"/>
              </a:solidFill>
            </a:endParaRPr>
          </a:p>
        </p:txBody>
      </p:sp>
    </p:spTree>
    <p:extLst>
      <p:ext uri="{BB962C8B-B14F-4D97-AF65-F5344CB8AC3E}">
        <p14:creationId xmlns:p14="http://schemas.microsoft.com/office/powerpoint/2010/main" val="16850178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7_FULL Immagine">
    <p:spTree>
      <p:nvGrpSpPr>
        <p:cNvPr id="1" name=""/>
        <p:cNvGrpSpPr/>
        <p:nvPr/>
      </p:nvGrpSpPr>
      <p:grpSpPr>
        <a:xfrm>
          <a:off x="0" y="0"/>
          <a:ext cx="0" cy="0"/>
          <a:chOff x="0" y="0"/>
          <a:chExt cx="0" cy="0"/>
        </a:xfrm>
      </p:grpSpPr>
      <p:sp>
        <p:nvSpPr>
          <p:cNvPr id="3" name="Segnaposto immagine 2">
            <a:extLst>
              <a:ext uri="{FF2B5EF4-FFF2-40B4-BE49-F238E27FC236}">
                <a16:creationId xmlns:a16="http://schemas.microsoft.com/office/drawing/2014/main" id="{3659AF68-753C-5E40-9289-006DB5C1620C}"/>
              </a:ext>
            </a:extLst>
          </p:cNvPr>
          <p:cNvSpPr>
            <a:spLocks noGrp="1"/>
          </p:cNvSpPr>
          <p:nvPr>
            <p:ph type="pic" sz="quarter" idx="14"/>
          </p:nvPr>
        </p:nvSpPr>
        <p:spPr>
          <a:xfrm>
            <a:off x="1" y="0"/>
            <a:ext cx="8786813" cy="5715000"/>
          </a:xfrm>
          <a:prstGeom prst="rect">
            <a:avLst/>
          </a:prstGeom>
          <a:solidFill>
            <a:schemeClr val="bg1"/>
          </a:solidFill>
        </p:spPr>
        <p:txBody>
          <a:bodyPr/>
          <a:lstStyle/>
          <a:p>
            <a:endParaRPr lang="it-IT"/>
          </a:p>
        </p:txBody>
      </p:sp>
    </p:spTree>
    <p:extLst>
      <p:ext uri="{BB962C8B-B14F-4D97-AF65-F5344CB8AC3E}">
        <p14:creationId xmlns:p14="http://schemas.microsoft.com/office/powerpoint/2010/main" val="42366109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Copertina Sezione">
    <p:spTree>
      <p:nvGrpSpPr>
        <p:cNvPr id="1" name=""/>
        <p:cNvGrpSpPr/>
        <p:nvPr/>
      </p:nvGrpSpPr>
      <p:grpSpPr>
        <a:xfrm>
          <a:off x="0" y="0"/>
          <a:ext cx="0" cy="0"/>
          <a:chOff x="0" y="0"/>
          <a:chExt cx="0" cy="0"/>
        </a:xfrm>
      </p:grpSpPr>
      <p:sp>
        <p:nvSpPr>
          <p:cNvPr id="24" name="Segnaposto immagine 2">
            <a:extLst>
              <a:ext uri="{FF2B5EF4-FFF2-40B4-BE49-F238E27FC236}">
                <a16:creationId xmlns:a16="http://schemas.microsoft.com/office/drawing/2014/main" id="{3659AF68-753C-5E40-9289-006DB5C1620C}"/>
              </a:ext>
            </a:extLst>
          </p:cNvPr>
          <p:cNvSpPr>
            <a:spLocks noGrp="1"/>
          </p:cNvSpPr>
          <p:nvPr>
            <p:ph type="pic" sz="quarter" idx="14"/>
          </p:nvPr>
        </p:nvSpPr>
        <p:spPr>
          <a:xfrm>
            <a:off x="0" y="0"/>
            <a:ext cx="8789334" cy="5715000"/>
          </a:xfrm>
          <a:prstGeom prst="rect">
            <a:avLst/>
          </a:prstGeom>
          <a:solidFill>
            <a:schemeClr val="bg1"/>
          </a:solidFill>
        </p:spPr>
        <p:txBody>
          <a:bodyPr/>
          <a:lstStyle/>
          <a:p>
            <a:endParaRPr lang="it-IT" dirty="0"/>
          </a:p>
        </p:txBody>
      </p:sp>
      <p:sp>
        <p:nvSpPr>
          <p:cNvPr id="19" name="Rettangolo 18">
            <a:extLst>
              <a:ext uri="{FF2B5EF4-FFF2-40B4-BE49-F238E27FC236}">
                <a16:creationId xmlns:a16="http://schemas.microsoft.com/office/drawing/2014/main" id="{CFDCDC1C-BD6A-492B-B81D-40AAD8317027}"/>
              </a:ext>
            </a:extLst>
          </p:cNvPr>
          <p:cNvSpPr/>
          <p:nvPr userDrawn="1"/>
        </p:nvSpPr>
        <p:spPr>
          <a:xfrm>
            <a:off x="8789334" y="0"/>
            <a:ext cx="354666" cy="5715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endParaRPr lang="it-IT" dirty="0">
              <a:solidFill>
                <a:srgbClr val="FFFFFF"/>
              </a:solidFill>
            </a:endParaRPr>
          </a:p>
        </p:txBody>
      </p:sp>
      <p:grpSp>
        <p:nvGrpSpPr>
          <p:cNvPr id="14" name="Group 4">
            <a:extLst>
              <a:ext uri="{FF2B5EF4-FFF2-40B4-BE49-F238E27FC236}">
                <a16:creationId xmlns:a16="http://schemas.microsoft.com/office/drawing/2014/main" id="{E4737D48-B2DB-4F53-BFC9-9F18751EDFC0}"/>
              </a:ext>
            </a:extLst>
          </p:cNvPr>
          <p:cNvGrpSpPr>
            <a:grpSpLocks noChangeAspect="1"/>
          </p:cNvGrpSpPr>
          <p:nvPr userDrawn="1"/>
        </p:nvGrpSpPr>
        <p:grpSpPr bwMode="auto">
          <a:xfrm>
            <a:off x="8840262" y="75356"/>
            <a:ext cx="259620" cy="195357"/>
            <a:chOff x="-560" y="-1287"/>
            <a:chExt cx="6379" cy="4320"/>
          </a:xfrm>
        </p:grpSpPr>
        <p:sp>
          <p:nvSpPr>
            <p:cNvPr id="15" name="AutoShape 3">
              <a:extLst>
                <a:ext uri="{FF2B5EF4-FFF2-40B4-BE49-F238E27FC236}">
                  <a16:creationId xmlns:a16="http://schemas.microsoft.com/office/drawing/2014/main" id="{525F0B45-3EF6-4A9D-A83E-CDB12E556535}"/>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400">
                <a:defRPr/>
              </a:pPr>
              <a:endParaRPr lang="it-IT" dirty="0">
                <a:solidFill>
                  <a:srgbClr val="000000"/>
                </a:solidFill>
              </a:endParaRPr>
            </a:p>
          </p:txBody>
        </p:sp>
        <p:sp>
          <p:nvSpPr>
            <p:cNvPr id="16" name="Rectangle 5">
              <a:extLst>
                <a:ext uri="{FF2B5EF4-FFF2-40B4-BE49-F238E27FC236}">
                  <a16:creationId xmlns:a16="http://schemas.microsoft.com/office/drawing/2014/main" id="{DB6A0205-9830-47FC-AFEF-1EA19F148D8C}"/>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400">
                <a:defRPr/>
              </a:pPr>
              <a:endParaRPr lang="it-IT" dirty="0">
                <a:solidFill>
                  <a:srgbClr val="000000"/>
                </a:solidFill>
              </a:endParaRPr>
            </a:p>
          </p:txBody>
        </p:sp>
        <p:sp>
          <p:nvSpPr>
            <p:cNvPr id="17" name="Freeform 6">
              <a:extLst>
                <a:ext uri="{FF2B5EF4-FFF2-40B4-BE49-F238E27FC236}">
                  <a16:creationId xmlns:a16="http://schemas.microsoft.com/office/drawing/2014/main" id="{A652E29C-2288-4037-A735-2C99372F7809}"/>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defRPr/>
              </a:pPr>
              <a:endParaRPr lang="it-IT" dirty="0">
                <a:solidFill>
                  <a:srgbClr val="000000"/>
                </a:solidFill>
              </a:endParaRPr>
            </a:p>
          </p:txBody>
        </p:sp>
        <p:sp>
          <p:nvSpPr>
            <p:cNvPr id="18" name="Freeform 7">
              <a:extLst>
                <a:ext uri="{FF2B5EF4-FFF2-40B4-BE49-F238E27FC236}">
                  <a16:creationId xmlns:a16="http://schemas.microsoft.com/office/drawing/2014/main" id="{3DEB9809-C89A-4A58-9A81-ABAF9CE315F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defRPr/>
              </a:pPr>
              <a:endParaRPr lang="it-IT" dirty="0">
                <a:solidFill>
                  <a:srgbClr val="000000"/>
                </a:solidFill>
              </a:endParaRPr>
            </a:p>
          </p:txBody>
        </p:sp>
        <p:sp>
          <p:nvSpPr>
            <p:cNvPr id="22" name="Freeform 8">
              <a:extLst>
                <a:ext uri="{FF2B5EF4-FFF2-40B4-BE49-F238E27FC236}">
                  <a16:creationId xmlns:a16="http://schemas.microsoft.com/office/drawing/2014/main" id="{E1355289-BE5F-41B1-954C-B78211E4669F}"/>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defRPr/>
              </a:pPr>
              <a:endParaRPr lang="it-IT" dirty="0">
                <a:solidFill>
                  <a:srgbClr val="000000"/>
                </a:solidFill>
              </a:endParaRPr>
            </a:p>
          </p:txBody>
        </p:sp>
        <p:sp>
          <p:nvSpPr>
            <p:cNvPr id="30" name="Freeform 9">
              <a:extLst>
                <a:ext uri="{FF2B5EF4-FFF2-40B4-BE49-F238E27FC236}">
                  <a16:creationId xmlns:a16="http://schemas.microsoft.com/office/drawing/2014/main" id="{8A815911-1EC8-4303-988F-6009E820B583}"/>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defRPr/>
              </a:pPr>
              <a:endParaRPr lang="it-IT" dirty="0">
                <a:solidFill>
                  <a:srgbClr val="000000"/>
                </a:solidFill>
              </a:endParaRPr>
            </a:p>
          </p:txBody>
        </p:sp>
      </p:grpSp>
      <p:sp>
        <p:nvSpPr>
          <p:cNvPr id="20" name="Titolo 1"/>
          <p:cNvSpPr>
            <a:spLocks noGrp="1"/>
          </p:cNvSpPr>
          <p:nvPr>
            <p:ph type="title" hasCustomPrompt="1"/>
          </p:nvPr>
        </p:nvSpPr>
        <p:spPr>
          <a:xfrm>
            <a:off x="305993" y="1490928"/>
            <a:ext cx="4073129" cy="2093076"/>
          </a:xfrm>
          <a:prstGeom prst="rect">
            <a:avLst/>
          </a:prstGeom>
        </p:spPr>
        <p:txBody>
          <a:bodyPr anchor="ctr" anchorCtr="0"/>
          <a:lstStyle>
            <a:lvl1pPr algn="r">
              <a:defRPr sz="5400">
                <a:solidFill>
                  <a:schemeClr val="bg1"/>
                </a:solidFill>
              </a:defRPr>
            </a:lvl1pPr>
          </a:lstStyle>
          <a:p>
            <a:r>
              <a:rPr lang="it-IT" dirty="0"/>
              <a:t>Copertina sezione - alt 2</a:t>
            </a:r>
          </a:p>
        </p:txBody>
      </p:sp>
      <p:sp>
        <p:nvSpPr>
          <p:cNvPr id="21" name="Segnaposto testo 2"/>
          <p:cNvSpPr>
            <a:spLocks noGrp="1"/>
          </p:cNvSpPr>
          <p:nvPr>
            <p:ph type="body" sz="quarter" idx="10" hasCustomPrompt="1"/>
          </p:nvPr>
        </p:nvSpPr>
        <p:spPr>
          <a:xfrm>
            <a:off x="305993" y="3625046"/>
            <a:ext cx="4073129" cy="487939"/>
          </a:xfrm>
          <a:prstGeom prst="rect">
            <a:avLst/>
          </a:prstGeom>
        </p:spPr>
        <p:txBody>
          <a:bodyPr anchor="ctr" anchorCtr="0"/>
          <a:lstStyle>
            <a:lvl1pPr algn="r">
              <a:defRPr sz="3200">
                <a:solidFill>
                  <a:schemeClr val="bg1"/>
                </a:solidFill>
              </a:defRPr>
            </a:lvl1pPr>
          </a:lstStyle>
          <a:p>
            <a:r>
              <a:rPr lang="it-IT" dirty="0"/>
              <a:t>Sottotitolo</a:t>
            </a:r>
          </a:p>
        </p:txBody>
      </p:sp>
    </p:spTree>
    <p:extLst>
      <p:ext uri="{BB962C8B-B14F-4D97-AF65-F5344CB8AC3E}">
        <p14:creationId xmlns:p14="http://schemas.microsoft.com/office/powerpoint/2010/main" val="24330537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8_FULL Immagine e Testo">
    <p:spTree>
      <p:nvGrpSpPr>
        <p:cNvPr id="1" name=""/>
        <p:cNvGrpSpPr/>
        <p:nvPr/>
      </p:nvGrpSpPr>
      <p:grpSpPr>
        <a:xfrm>
          <a:off x="0" y="0"/>
          <a:ext cx="0" cy="0"/>
          <a:chOff x="0" y="0"/>
          <a:chExt cx="0" cy="0"/>
        </a:xfrm>
      </p:grpSpPr>
      <p:sp>
        <p:nvSpPr>
          <p:cNvPr id="3" name="Segnaposto immagine 2">
            <a:extLst>
              <a:ext uri="{FF2B5EF4-FFF2-40B4-BE49-F238E27FC236}">
                <a16:creationId xmlns:a16="http://schemas.microsoft.com/office/drawing/2014/main" id="{3659AF68-753C-5E40-9289-006DB5C1620C}"/>
              </a:ext>
            </a:extLst>
          </p:cNvPr>
          <p:cNvSpPr>
            <a:spLocks noGrp="1"/>
          </p:cNvSpPr>
          <p:nvPr>
            <p:ph type="pic" sz="quarter" idx="14"/>
          </p:nvPr>
        </p:nvSpPr>
        <p:spPr>
          <a:xfrm>
            <a:off x="1" y="0"/>
            <a:ext cx="8786813" cy="5715000"/>
          </a:xfrm>
          <a:prstGeom prst="rect">
            <a:avLst/>
          </a:prstGeom>
          <a:solidFill>
            <a:schemeClr val="bg1"/>
          </a:solidFill>
        </p:spPr>
        <p:txBody>
          <a:bodyPr/>
          <a:lstStyle/>
          <a:p>
            <a:endParaRPr lang="it-IT" dirty="0"/>
          </a:p>
        </p:txBody>
      </p:sp>
      <p:sp>
        <p:nvSpPr>
          <p:cNvPr id="5" name="Segnaposto testo 5"/>
          <p:cNvSpPr>
            <a:spLocks noGrp="1"/>
          </p:cNvSpPr>
          <p:nvPr>
            <p:ph type="body" sz="quarter" idx="10" hasCustomPrompt="1"/>
          </p:nvPr>
        </p:nvSpPr>
        <p:spPr>
          <a:xfrm>
            <a:off x="305991" y="751419"/>
            <a:ext cx="8382000" cy="1693333"/>
          </a:xfrm>
        </p:spPr>
        <p:txBody>
          <a:bodyPr anchor="ctr" anchorCtr="0"/>
          <a:lstStyle>
            <a:lvl1pPr algn="ctr">
              <a:defRPr sz="12000" b="1">
                <a:solidFill>
                  <a:schemeClr val="bg1"/>
                </a:solidFill>
              </a:defRPr>
            </a:lvl1pPr>
          </a:lstStyle>
          <a:p>
            <a:pPr lvl="0"/>
            <a:r>
              <a:rPr lang="it-IT" dirty="0"/>
              <a:t>Inserire il testo</a:t>
            </a:r>
          </a:p>
        </p:txBody>
      </p:sp>
    </p:spTree>
    <p:extLst>
      <p:ext uri="{BB962C8B-B14F-4D97-AF65-F5344CB8AC3E}">
        <p14:creationId xmlns:p14="http://schemas.microsoft.com/office/powerpoint/2010/main" val="35729336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9_Titolo sott. con immagine">
    <p:spTree>
      <p:nvGrpSpPr>
        <p:cNvPr id="1" name=""/>
        <p:cNvGrpSpPr/>
        <p:nvPr/>
      </p:nvGrpSpPr>
      <p:grpSpPr>
        <a:xfrm>
          <a:off x="0" y="0"/>
          <a:ext cx="0" cy="0"/>
          <a:chOff x="0" y="0"/>
          <a:chExt cx="0" cy="0"/>
        </a:xfrm>
      </p:grpSpPr>
      <p:sp>
        <p:nvSpPr>
          <p:cNvPr id="12"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305529" y="1295798"/>
            <a:ext cx="8382465" cy="3544094"/>
          </a:xfrm>
          <a:prstGeom prst="rect">
            <a:avLst/>
          </a:prstGeom>
        </p:spPr>
        <p:txBody>
          <a:bodyPr vert="horz" lIns="0" tIns="45720" rIns="91440" bIns="45720" rtlCol="0">
            <a:normAutofit/>
          </a:bodyPr>
          <a:lstStyle>
            <a:lvl1pPr>
              <a:spcBef>
                <a:spcPts val="1200"/>
              </a:spcBef>
              <a:defRPr lang="it-IT" sz="1800" smtClean="0">
                <a:solidFill>
                  <a:schemeClr val="tx1"/>
                </a:solidFill>
              </a:defRPr>
            </a:lvl1pPr>
            <a:lvl2pPr>
              <a:defRPr lang="it-IT" smtClean="0"/>
            </a:lvl2pPr>
            <a:lvl3pPr>
              <a:defRPr lang="it-IT" smtClean="0"/>
            </a:lvl3pPr>
            <a:lvl4pPr>
              <a:defRPr lang="it-IT" smtClean="0"/>
            </a:lvl4pPr>
            <a:lvl5pPr>
              <a:defRPr lang="it-IT"/>
            </a:lvl5pPr>
          </a:lstStyle>
          <a:p>
            <a:pPr lvl="0"/>
            <a:r>
              <a:rPr lang="it-IT" dirty="0"/>
              <a:t>Contenuto multimediale</a:t>
            </a:r>
          </a:p>
        </p:txBody>
      </p:sp>
      <p:sp>
        <p:nvSpPr>
          <p:cNvPr id="13"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305529" y="721974"/>
            <a:ext cx="8382465" cy="325778"/>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14"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305529" y="2"/>
            <a:ext cx="8382465" cy="721973"/>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7"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8197475" y="5335410"/>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r>
              <a:rPr>
                <a:solidFill>
                  <a:srgbClr val="DC002E"/>
                </a:solidFill>
              </a:rPr>
              <a:t>23/04/2019</a:t>
            </a:r>
            <a:endParaRPr lang="en-GB" dirty="0">
              <a:solidFill>
                <a:srgbClr val="DC002E"/>
              </a:solidFill>
            </a:endParaRPr>
          </a:p>
        </p:txBody>
      </p:sp>
      <p:sp>
        <p:nvSpPr>
          <p:cNvPr id="8"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2339070" y="5459999"/>
            <a:ext cx="6349277"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a:solidFill>
                  <a:srgbClr val="717073"/>
                </a:solidFill>
              </a:rPr>
              <a:t>Coordinamento Territoriale Sicilia</a:t>
            </a:r>
            <a:endParaRPr lang="en-GB" dirty="0">
              <a:solidFill>
                <a:srgbClr val="717073"/>
              </a:solidFill>
            </a:endParaRPr>
          </a:p>
        </p:txBody>
      </p:sp>
    </p:spTree>
    <p:extLst>
      <p:ext uri="{BB962C8B-B14F-4D97-AF65-F5344CB8AC3E}">
        <p14:creationId xmlns:p14="http://schemas.microsoft.com/office/powerpoint/2010/main" val="2827094413"/>
      </p:ext>
    </p:extLst>
  </p:cSld>
  <p:clrMapOvr>
    <a:masterClrMapping/>
  </p:clrMapOvr>
  <p:extLst>
    <p:ext uri="{DCECCB84-F9BA-43D5-87BE-67443E8EF086}">
      <p15:sldGuideLst xmlns:p15="http://schemas.microsoft.com/office/powerpoint/2012/main">
        <p15:guide id="1" orient="horz" pos="55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0_Titolo Sottotitolo pt22 e contenuto">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305529" y="1300295"/>
            <a:ext cx="8382465" cy="3537614"/>
          </a:xfrm>
          <a:prstGeom prst="rect">
            <a:avLst/>
          </a:prstGeom>
        </p:spPr>
        <p:txBody>
          <a:bodyPr vert="horz" lIns="0" tIns="45720" rIns="91440" bIns="45720" rtlCol="0">
            <a:normAutofit/>
          </a:bodyPr>
          <a:lstStyle>
            <a:lvl1pPr>
              <a:spcBef>
                <a:spcPts val="1200"/>
              </a:spcBef>
              <a:defRPr lang="it-IT" sz="1800" smtClean="0">
                <a:solidFill>
                  <a:schemeClr val="tx1"/>
                </a:solidFill>
              </a:defRPr>
            </a:lvl1pPr>
            <a:lvl2pPr>
              <a:defRPr lang="it-IT" smtClean="0"/>
            </a:lvl2pPr>
            <a:lvl3pPr>
              <a:defRPr lang="it-IT" smtClean="0"/>
            </a:lvl3pPr>
            <a:lvl4pPr>
              <a:defRPr lang="it-IT" smtClean="0"/>
            </a:lvl4pPr>
            <a:lvl5pPr>
              <a:defRPr lang="it-IT"/>
            </a:lvl5pPr>
          </a:lstStyle>
          <a:p>
            <a:pPr lvl="0"/>
            <a:r>
              <a:rPr lang="it-IT" dirty="0"/>
              <a:t>Contenuto Calibri 18pt</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305529" y="721973"/>
            <a:ext cx="8382465" cy="312530"/>
          </a:xfrm>
          <a:prstGeom prst="rect">
            <a:avLst/>
          </a:prstGeom>
        </p:spPr>
        <p:txBody>
          <a:bodyPr vert="horz" lIns="0" tIns="45720" rIns="91440" bIns="45720" rtlCol="0">
            <a:noAutofit/>
          </a:bodyPr>
          <a:lstStyle>
            <a:lvl1pPr>
              <a:spcBef>
                <a:spcPts val="1200"/>
              </a:spcBef>
              <a:defRPr lang="it-IT" sz="22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2pt</a:t>
            </a:r>
          </a:p>
        </p:txBody>
      </p:sp>
      <p:sp>
        <p:nvSpPr>
          <p:cNvPr id="11"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305529" y="2"/>
            <a:ext cx="8382465" cy="721973"/>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5"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8197475" y="5335410"/>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r>
              <a:rPr>
                <a:solidFill>
                  <a:srgbClr val="DC002E"/>
                </a:solidFill>
              </a:rPr>
              <a:t>23/04/2019</a:t>
            </a:r>
            <a:endParaRPr lang="en-GB" dirty="0">
              <a:solidFill>
                <a:srgbClr val="DC002E"/>
              </a:solidFill>
            </a:endParaRPr>
          </a:p>
        </p:txBody>
      </p:sp>
      <p:sp>
        <p:nvSpPr>
          <p:cNvPr id="6"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2339070" y="5459999"/>
            <a:ext cx="6349277"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a:solidFill>
                  <a:srgbClr val="717073"/>
                </a:solidFill>
              </a:rPr>
              <a:t>Coordinamento Territoriale Sicilia</a:t>
            </a:r>
            <a:endParaRPr lang="en-GB" dirty="0">
              <a:solidFill>
                <a:srgbClr val="717073"/>
              </a:solidFill>
            </a:endParaRPr>
          </a:p>
        </p:txBody>
      </p:sp>
    </p:spTree>
    <p:extLst>
      <p:ext uri="{BB962C8B-B14F-4D97-AF65-F5344CB8AC3E}">
        <p14:creationId xmlns:p14="http://schemas.microsoft.com/office/powerpoint/2010/main" val="67031604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1_Vuota">
    <p:spTree>
      <p:nvGrpSpPr>
        <p:cNvPr id="1" name=""/>
        <p:cNvGrpSpPr/>
        <p:nvPr/>
      </p:nvGrpSpPr>
      <p:grpSpPr>
        <a:xfrm>
          <a:off x="0" y="0"/>
          <a:ext cx="0" cy="0"/>
          <a:chOff x="0" y="0"/>
          <a:chExt cx="0" cy="0"/>
        </a:xfrm>
      </p:grpSpPr>
      <p:sp>
        <p:nvSpPr>
          <p:cNvPr id="2"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8197475" y="5335410"/>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r>
              <a:rPr>
                <a:solidFill>
                  <a:srgbClr val="DC002E"/>
                </a:solidFill>
              </a:rPr>
              <a:t>23/04/2019</a:t>
            </a:r>
            <a:endParaRPr lang="en-GB" dirty="0">
              <a:solidFill>
                <a:srgbClr val="DC002E"/>
              </a:solidFill>
            </a:endParaRPr>
          </a:p>
        </p:txBody>
      </p:sp>
      <p:sp>
        <p:nvSpPr>
          <p:cNvPr id="3"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2339070" y="5459999"/>
            <a:ext cx="6349277"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a:solidFill>
                  <a:srgbClr val="717073"/>
                </a:solidFill>
              </a:rPr>
              <a:t>Coordinamento Territoriale Sicilia</a:t>
            </a:r>
            <a:endParaRPr lang="en-GB" dirty="0">
              <a:solidFill>
                <a:srgbClr val="717073"/>
              </a:solidFill>
            </a:endParaRPr>
          </a:p>
        </p:txBody>
      </p:sp>
    </p:spTree>
    <p:extLst>
      <p:ext uri="{BB962C8B-B14F-4D97-AF65-F5344CB8AC3E}">
        <p14:creationId xmlns:p14="http://schemas.microsoft.com/office/powerpoint/2010/main" val="189620678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olo e agenda">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305526" y="1157326"/>
            <a:ext cx="2717902" cy="472509"/>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8"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305526" y="1629835"/>
            <a:ext cx="2717902" cy="2251919"/>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22" name="Segnaposto contenuto 2">
            <a:extLst>
              <a:ext uri="{FF2B5EF4-FFF2-40B4-BE49-F238E27FC236}">
                <a16:creationId xmlns:a16="http://schemas.microsoft.com/office/drawing/2014/main" id="{6D2B416D-7B49-44B1-B69F-DA365E602485}"/>
              </a:ext>
            </a:extLst>
          </p:cNvPr>
          <p:cNvSpPr>
            <a:spLocks noGrp="1"/>
          </p:cNvSpPr>
          <p:nvPr>
            <p:ph idx="14" hasCustomPrompt="1"/>
          </p:nvPr>
        </p:nvSpPr>
        <p:spPr>
          <a:xfrm>
            <a:off x="3137808" y="1157326"/>
            <a:ext cx="2717902" cy="472509"/>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5" hasCustomPrompt="1"/>
          </p:nvPr>
        </p:nvSpPr>
        <p:spPr>
          <a:xfrm>
            <a:off x="3137808" y="1629835"/>
            <a:ext cx="2717902" cy="2251919"/>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1" name="Segnaposto contenuto 2">
            <a:extLst>
              <a:ext uri="{FF2B5EF4-FFF2-40B4-BE49-F238E27FC236}">
                <a16:creationId xmlns:a16="http://schemas.microsoft.com/office/drawing/2014/main" id="{6D2B416D-7B49-44B1-B69F-DA365E602485}"/>
              </a:ext>
            </a:extLst>
          </p:cNvPr>
          <p:cNvSpPr>
            <a:spLocks noGrp="1"/>
          </p:cNvSpPr>
          <p:nvPr>
            <p:ph idx="16" hasCustomPrompt="1"/>
          </p:nvPr>
        </p:nvSpPr>
        <p:spPr>
          <a:xfrm>
            <a:off x="5970090" y="1157326"/>
            <a:ext cx="2717902" cy="472509"/>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2" name="Segnaposto contenuto 2">
            <a:extLst>
              <a:ext uri="{FF2B5EF4-FFF2-40B4-BE49-F238E27FC236}">
                <a16:creationId xmlns:a16="http://schemas.microsoft.com/office/drawing/2014/main" id="{6D2B416D-7B49-44B1-B69F-DA365E602485}"/>
              </a:ext>
            </a:extLst>
          </p:cNvPr>
          <p:cNvSpPr>
            <a:spLocks noGrp="1"/>
          </p:cNvSpPr>
          <p:nvPr>
            <p:ph idx="17" hasCustomPrompt="1"/>
          </p:nvPr>
        </p:nvSpPr>
        <p:spPr>
          <a:xfrm>
            <a:off x="5970090" y="1629835"/>
            <a:ext cx="2717902" cy="2251919"/>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13"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305529" y="2"/>
            <a:ext cx="8382465" cy="721973"/>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9"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8197475" y="5335410"/>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r>
              <a:rPr>
                <a:solidFill>
                  <a:srgbClr val="DC002E"/>
                </a:solidFill>
              </a:rPr>
              <a:t>23/04/2019</a:t>
            </a:r>
            <a:endParaRPr lang="en-GB" dirty="0">
              <a:solidFill>
                <a:srgbClr val="DC002E"/>
              </a:solidFill>
            </a:endParaRPr>
          </a:p>
        </p:txBody>
      </p:sp>
      <p:sp>
        <p:nvSpPr>
          <p:cNvPr id="10"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2339070" y="5459999"/>
            <a:ext cx="6349277"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a:solidFill>
                  <a:srgbClr val="717073"/>
                </a:solidFill>
              </a:rPr>
              <a:t>Coordinamento Territoriale Sicilia</a:t>
            </a:r>
            <a:endParaRPr lang="en-GB" dirty="0">
              <a:solidFill>
                <a:srgbClr val="717073"/>
              </a:solidFill>
            </a:endParaRPr>
          </a:p>
        </p:txBody>
      </p:sp>
    </p:spTree>
    <p:extLst>
      <p:ext uri="{BB962C8B-B14F-4D97-AF65-F5344CB8AC3E}">
        <p14:creationId xmlns:p14="http://schemas.microsoft.com/office/powerpoint/2010/main" val="33895290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Titolo e agenda">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305526" y="1157326"/>
            <a:ext cx="2717902" cy="472509"/>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8"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305526" y="1629834"/>
            <a:ext cx="2717902" cy="73915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22" name="Segnaposto contenuto 2">
            <a:extLst>
              <a:ext uri="{FF2B5EF4-FFF2-40B4-BE49-F238E27FC236}">
                <a16:creationId xmlns:a16="http://schemas.microsoft.com/office/drawing/2014/main" id="{6D2B416D-7B49-44B1-B69F-DA365E602485}"/>
              </a:ext>
            </a:extLst>
          </p:cNvPr>
          <p:cNvSpPr>
            <a:spLocks noGrp="1"/>
          </p:cNvSpPr>
          <p:nvPr>
            <p:ph idx="14" hasCustomPrompt="1"/>
          </p:nvPr>
        </p:nvSpPr>
        <p:spPr>
          <a:xfrm>
            <a:off x="3137808" y="1157326"/>
            <a:ext cx="2717902" cy="472509"/>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5" hasCustomPrompt="1"/>
          </p:nvPr>
        </p:nvSpPr>
        <p:spPr>
          <a:xfrm>
            <a:off x="3137808" y="1629834"/>
            <a:ext cx="2717902" cy="73915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1" name="Segnaposto contenuto 2">
            <a:extLst>
              <a:ext uri="{FF2B5EF4-FFF2-40B4-BE49-F238E27FC236}">
                <a16:creationId xmlns:a16="http://schemas.microsoft.com/office/drawing/2014/main" id="{6D2B416D-7B49-44B1-B69F-DA365E602485}"/>
              </a:ext>
            </a:extLst>
          </p:cNvPr>
          <p:cNvSpPr>
            <a:spLocks noGrp="1"/>
          </p:cNvSpPr>
          <p:nvPr>
            <p:ph idx="16" hasCustomPrompt="1"/>
          </p:nvPr>
        </p:nvSpPr>
        <p:spPr>
          <a:xfrm>
            <a:off x="5970090" y="1157326"/>
            <a:ext cx="2717902" cy="472509"/>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2" name="Segnaposto contenuto 2">
            <a:extLst>
              <a:ext uri="{FF2B5EF4-FFF2-40B4-BE49-F238E27FC236}">
                <a16:creationId xmlns:a16="http://schemas.microsoft.com/office/drawing/2014/main" id="{6D2B416D-7B49-44B1-B69F-DA365E602485}"/>
              </a:ext>
            </a:extLst>
          </p:cNvPr>
          <p:cNvSpPr>
            <a:spLocks noGrp="1"/>
          </p:cNvSpPr>
          <p:nvPr>
            <p:ph idx="17" hasCustomPrompt="1"/>
          </p:nvPr>
        </p:nvSpPr>
        <p:spPr>
          <a:xfrm>
            <a:off x="5970090" y="1629834"/>
            <a:ext cx="2717902" cy="73915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13"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305529" y="2"/>
            <a:ext cx="8382465" cy="721973"/>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9"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8197475" y="5335410"/>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r>
              <a:rPr>
                <a:solidFill>
                  <a:srgbClr val="DC002E"/>
                </a:solidFill>
              </a:rPr>
              <a:t>23/04/2019</a:t>
            </a:r>
            <a:endParaRPr lang="en-GB" dirty="0">
              <a:solidFill>
                <a:srgbClr val="DC002E"/>
              </a:solidFill>
            </a:endParaRPr>
          </a:p>
        </p:txBody>
      </p:sp>
      <p:sp>
        <p:nvSpPr>
          <p:cNvPr id="10"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2339070" y="5459999"/>
            <a:ext cx="6349277"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a:solidFill>
                  <a:srgbClr val="717073"/>
                </a:solidFill>
              </a:rPr>
              <a:t>Coordinamento Territoriale Sicilia</a:t>
            </a:r>
            <a:endParaRPr lang="en-GB" dirty="0">
              <a:solidFill>
                <a:srgbClr val="717073"/>
              </a:solidFill>
            </a:endParaRPr>
          </a:p>
        </p:txBody>
      </p:sp>
      <p:sp>
        <p:nvSpPr>
          <p:cNvPr id="11" name="Segnaposto contenuto 2">
            <a:extLst>
              <a:ext uri="{FF2B5EF4-FFF2-40B4-BE49-F238E27FC236}">
                <a16:creationId xmlns:a16="http://schemas.microsoft.com/office/drawing/2014/main" id="{6D2B416D-7B49-44B1-B69F-DA365E602485}"/>
              </a:ext>
            </a:extLst>
          </p:cNvPr>
          <p:cNvSpPr>
            <a:spLocks noGrp="1"/>
          </p:cNvSpPr>
          <p:nvPr>
            <p:ph idx="18" hasCustomPrompt="1"/>
          </p:nvPr>
        </p:nvSpPr>
        <p:spPr>
          <a:xfrm>
            <a:off x="305526" y="2857501"/>
            <a:ext cx="2717902" cy="472509"/>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2" name="Segnaposto contenuto 2">
            <a:extLst>
              <a:ext uri="{FF2B5EF4-FFF2-40B4-BE49-F238E27FC236}">
                <a16:creationId xmlns:a16="http://schemas.microsoft.com/office/drawing/2014/main" id="{6D2B416D-7B49-44B1-B69F-DA365E602485}"/>
              </a:ext>
            </a:extLst>
          </p:cNvPr>
          <p:cNvSpPr>
            <a:spLocks noGrp="1"/>
          </p:cNvSpPr>
          <p:nvPr>
            <p:ph idx="19" hasCustomPrompt="1"/>
          </p:nvPr>
        </p:nvSpPr>
        <p:spPr>
          <a:xfrm>
            <a:off x="305526" y="3330009"/>
            <a:ext cx="2717902" cy="73915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14" name="Segnaposto contenuto 2">
            <a:extLst>
              <a:ext uri="{FF2B5EF4-FFF2-40B4-BE49-F238E27FC236}">
                <a16:creationId xmlns:a16="http://schemas.microsoft.com/office/drawing/2014/main" id="{6D2B416D-7B49-44B1-B69F-DA365E602485}"/>
              </a:ext>
            </a:extLst>
          </p:cNvPr>
          <p:cNvSpPr>
            <a:spLocks noGrp="1"/>
          </p:cNvSpPr>
          <p:nvPr>
            <p:ph idx="20" hasCustomPrompt="1"/>
          </p:nvPr>
        </p:nvSpPr>
        <p:spPr>
          <a:xfrm>
            <a:off x="3137808" y="2857501"/>
            <a:ext cx="2717902" cy="472509"/>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5" name="Segnaposto contenuto 2">
            <a:extLst>
              <a:ext uri="{FF2B5EF4-FFF2-40B4-BE49-F238E27FC236}">
                <a16:creationId xmlns:a16="http://schemas.microsoft.com/office/drawing/2014/main" id="{6D2B416D-7B49-44B1-B69F-DA365E602485}"/>
              </a:ext>
            </a:extLst>
          </p:cNvPr>
          <p:cNvSpPr>
            <a:spLocks noGrp="1"/>
          </p:cNvSpPr>
          <p:nvPr>
            <p:ph idx="21" hasCustomPrompt="1"/>
          </p:nvPr>
        </p:nvSpPr>
        <p:spPr>
          <a:xfrm>
            <a:off x="3137808" y="3330009"/>
            <a:ext cx="2717902" cy="73915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16" name="Segnaposto contenuto 2">
            <a:extLst>
              <a:ext uri="{FF2B5EF4-FFF2-40B4-BE49-F238E27FC236}">
                <a16:creationId xmlns:a16="http://schemas.microsoft.com/office/drawing/2014/main" id="{6D2B416D-7B49-44B1-B69F-DA365E602485}"/>
              </a:ext>
            </a:extLst>
          </p:cNvPr>
          <p:cNvSpPr>
            <a:spLocks noGrp="1"/>
          </p:cNvSpPr>
          <p:nvPr>
            <p:ph idx="22" hasCustomPrompt="1"/>
          </p:nvPr>
        </p:nvSpPr>
        <p:spPr>
          <a:xfrm>
            <a:off x="5970090" y="2857501"/>
            <a:ext cx="2717902" cy="472509"/>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7" name="Segnaposto contenuto 2">
            <a:extLst>
              <a:ext uri="{FF2B5EF4-FFF2-40B4-BE49-F238E27FC236}">
                <a16:creationId xmlns:a16="http://schemas.microsoft.com/office/drawing/2014/main" id="{6D2B416D-7B49-44B1-B69F-DA365E602485}"/>
              </a:ext>
            </a:extLst>
          </p:cNvPr>
          <p:cNvSpPr>
            <a:spLocks noGrp="1"/>
          </p:cNvSpPr>
          <p:nvPr>
            <p:ph idx="23" hasCustomPrompt="1"/>
          </p:nvPr>
        </p:nvSpPr>
        <p:spPr>
          <a:xfrm>
            <a:off x="5970090" y="3330009"/>
            <a:ext cx="2717902" cy="73915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Tree>
    <p:extLst>
      <p:ext uri="{BB962C8B-B14F-4D97-AF65-F5344CB8AC3E}">
        <p14:creationId xmlns:p14="http://schemas.microsoft.com/office/powerpoint/2010/main" val="38034294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Titolo e agenda">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305526" y="1157326"/>
            <a:ext cx="2717902" cy="333603"/>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8"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305526" y="1490929"/>
            <a:ext cx="2717902" cy="642673"/>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22" name="Segnaposto contenuto 2">
            <a:extLst>
              <a:ext uri="{FF2B5EF4-FFF2-40B4-BE49-F238E27FC236}">
                <a16:creationId xmlns:a16="http://schemas.microsoft.com/office/drawing/2014/main" id="{6D2B416D-7B49-44B1-B69F-DA365E602485}"/>
              </a:ext>
            </a:extLst>
          </p:cNvPr>
          <p:cNvSpPr>
            <a:spLocks noGrp="1"/>
          </p:cNvSpPr>
          <p:nvPr>
            <p:ph idx="14" hasCustomPrompt="1"/>
          </p:nvPr>
        </p:nvSpPr>
        <p:spPr>
          <a:xfrm>
            <a:off x="3137808" y="1157326"/>
            <a:ext cx="2717902" cy="333603"/>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5" hasCustomPrompt="1"/>
          </p:nvPr>
        </p:nvSpPr>
        <p:spPr>
          <a:xfrm>
            <a:off x="3137808" y="1490929"/>
            <a:ext cx="2717902" cy="642673"/>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1" name="Segnaposto contenuto 2">
            <a:extLst>
              <a:ext uri="{FF2B5EF4-FFF2-40B4-BE49-F238E27FC236}">
                <a16:creationId xmlns:a16="http://schemas.microsoft.com/office/drawing/2014/main" id="{6D2B416D-7B49-44B1-B69F-DA365E602485}"/>
              </a:ext>
            </a:extLst>
          </p:cNvPr>
          <p:cNvSpPr>
            <a:spLocks noGrp="1"/>
          </p:cNvSpPr>
          <p:nvPr>
            <p:ph idx="16" hasCustomPrompt="1"/>
          </p:nvPr>
        </p:nvSpPr>
        <p:spPr>
          <a:xfrm>
            <a:off x="5970090" y="1157326"/>
            <a:ext cx="2717902" cy="333603"/>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2" name="Segnaposto contenuto 2">
            <a:extLst>
              <a:ext uri="{FF2B5EF4-FFF2-40B4-BE49-F238E27FC236}">
                <a16:creationId xmlns:a16="http://schemas.microsoft.com/office/drawing/2014/main" id="{6D2B416D-7B49-44B1-B69F-DA365E602485}"/>
              </a:ext>
            </a:extLst>
          </p:cNvPr>
          <p:cNvSpPr>
            <a:spLocks noGrp="1"/>
          </p:cNvSpPr>
          <p:nvPr>
            <p:ph idx="17" hasCustomPrompt="1"/>
          </p:nvPr>
        </p:nvSpPr>
        <p:spPr>
          <a:xfrm>
            <a:off x="5970090" y="1490929"/>
            <a:ext cx="2717902" cy="642673"/>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13"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305529" y="2"/>
            <a:ext cx="8382465" cy="721973"/>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9"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8197475" y="5335410"/>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r>
              <a:rPr>
                <a:solidFill>
                  <a:srgbClr val="DC002E"/>
                </a:solidFill>
              </a:rPr>
              <a:t>23/04/2019</a:t>
            </a:r>
            <a:endParaRPr lang="en-GB" dirty="0">
              <a:solidFill>
                <a:srgbClr val="DC002E"/>
              </a:solidFill>
            </a:endParaRPr>
          </a:p>
        </p:txBody>
      </p:sp>
      <p:sp>
        <p:nvSpPr>
          <p:cNvPr id="10"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2339070" y="5459999"/>
            <a:ext cx="6349277"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a:solidFill>
                  <a:srgbClr val="717073"/>
                </a:solidFill>
              </a:rPr>
              <a:t>Coordinamento Territoriale Sicilia</a:t>
            </a:r>
            <a:endParaRPr lang="en-GB" dirty="0">
              <a:solidFill>
                <a:srgbClr val="717073"/>
              </a:solidFill>
            </a:endParaRPr>
          </a:p>
        </p:txBody>
      </p:sp>
      <p:sp>
        <p:nvSpPr>
          <p:cNvPr id="26" name="Segnaposto contenuto 2">
            <a:extLst>
              <a:ext uri="{FF2B5EF4-FFF2-40B4-BE49-F238E27FC236}">
                <a16:creationId xmlns:a16="http://schemas.microsoft.com/office/drawing/2014/main" id="{6D2B416D-7B49-44B1-B69F-DA365E602485}"/>
              </a:ext>
            </a:extLst>
          </p:cNvPr>
          <p:cNvSpPr>
            <a:spLocks noGrp="1"/>
          </p:cNvSpPr>
          <p:nvPr>
            <p:ph idx="18" hasCustomPrompt="1"/>
          </p:nvPr>
        </p:nvSpPr>
        <p:spPr>
          <a:xfrm>
            <a:off x="305526" y="2321718"/>
            <a:ext cx="2717902" cy="333603"/>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27" name="Segnaposto contenuto 2">
            <a:extLst>
              <a:ext uri="{FF2B5EF4-FFF2-40B4-BE49-F238E27FC236}">
                <a16:creationId xmlns:a16="http://schemas.microsoft.com/office/drawing/2014/main" id="{6D2B416D-7B49-44B1-B69F-DA365E602485}"/>
              </a:ext>
            </a:extLst>
          </p:cNvPr>
          <p:cNvSpPr>
            <a:spLocks noGrp="1"/>
          </p:cNvSpPr>
          <p:nvPr>
            <p:ph idx="19" hasCustomPrompt="1"/>
          </p:nvPr>
        </p:nvSpPr>
        <p:spPr>
          <a:xfrm>
            <a:off x="305526" y="2655322"/>
            <a:ext cx="2717902" cy="642673"/>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28" name="Segnaposto contenuto 2">
            <a:extLst>
              <a:ext uri="{FF2B5EF4-FFF2-40B4-BE49-F238E27FC236}">
                <a16:creationId xmlns:a16="http://schemas.microsoft.com/office/drawing/2014/main" id="{6D2B416D-7B49-44B1-B69F-DA365E602485}"/>
              </a:ext>
            </a:extLst>
          </p:cNvPr>
          <p:cNvSpPr>
            <a:spLocks noGrp="1"/>
          </p:cNvSpPr>
          <p:nvPr>
            <p:ph idx="20" hasCustomPrompt="1"/>
          </p:nvPr>
        </p:nvSpPr>
        <p:spPr>
          <a:xfrm>
            <a:off x="3137808" y="2321718"/>
            <a:ext cx="2717902" cy="333603"/>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29" name="Segnaposto contenuto 2">
            <a:extLst>
              <a:ext uri="{FF2B5EF4-FFF2-40B4-BE49-F238E27FC236}">
                <a16:creationId xmlns:a16="http://schemas.microsoft.com/office/drawing/2014/main" id="{6D2B416D-7B49-44B1-B69F-DA365E602485}"/>
              </a:ext>
            </a:extLst>
          </p:cNvPr>
          <p:cNvSpPr>
            <a:spLocks noGrp="1"/>
          </p:cNvSpPr>
          <p:nvPr>
            <p:ph idx="21" hasCustomPrompt="1"/>
          </p:nvPr>
        </p:nvSpPr>
        <p:spPr>
          <a:xfrm>
            <a:off x="3137808" y="2655322"/>
            <a:ext cx="2717902" cy="642673"/>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3" name="Segnaposto contenuto 2">
            <a:extLst>
              <a:ext uri="{FF2B5EF4-FFF2-40B4-BE49-F238E27FC236}">
                <a16:creationId xmlns:a16="http://schemas.microsoft.com/office/drawing/2014/main" id="{6D2B416D-7B49-44B1-B69F-DA365E602485}"/>
              </a:ext>
            </a:extLst>
          </p:cNvPr>
          <p:cNvSpPr>
            <a:spLocks noGrp="1"/>
          </p:cNvSpPr>
          <p:nvPr>
            <p:ph idx="22" hasCustomPrompt="1"/>
          </p:nvPr>
        </p:nvSpPr>
        <p:spPr>
          <a:xfrm>
            <a:off x="5970090" y="2321718"/>
            <a:ext cx="2717902" cy="333603"/>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4" name="Segnaposto contenuto 2">
            <a:extLst>
              <a:ext uri="{FF2B5EF4-FFF2-40B4-BE49-F238E27FC236}">
                <a16:creationId xmlns:a16="http://schemas.microsoft.com/office/drawing/2014/main" id="{6D2B416D-7B49-44B1-B69F-DA365E602485}"/>
              </a:ext>
            </a:extLst>
          </p:cNvPr>
          <p:cNvSpPr>
            <a:spLocks noGrp="1"/>
          </p:cNvSpPr>
          <p:nvPr>
            <p:ph idx="23" hasCustomPrompt="1"/>
          </p:nvPr>
        </p:nvSpPr>
        <p:spPr>
          <a:xfrm>
            <a:off x="5970090" y="2655322"/>
            <a:ext cx="2717902" cy="642673"/>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5" name="Segnaposto contenuto 2">
            <a:extLst>
              <a:ext uri="{FF2B5EF4-FFF2-40B4-BE49-F238E27FC236}">
                <a16:creationId xmlns:a16="http://schemas.microsoft.com/office/drawing/2014/main" id="{6D2B416D-7B49-44B1-B69F-DA365E602485}"/>
              </a:ext>
            </a:extLst>
          </p:cNvPr>
          <p:cNvSpPr>
            <a:spLocks noGrp="1"/>
          </p:cNvSpPr>
          <p:nvPr>
            <p:ph idx="24" hasCustomPrompt="1"/>
          </p:nvPr>
        </p:nvSpPr>
        <p:spPr>
          <a:xfrm>
            <a:off x="305526" y="3482166"/>
            <a:ext cx="2717902" cy="333603"/>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6" name="Segnaposto contenuto 2">
            <a:extLst>
              <a:ext uri="{FF2B5EF4-FFF2-40B4-BE49-F238E27FC236}">
                <a16:creationId xmlns:a16="http://schemas.microsoft.com/office/drawing/2014/main" id="{6D2B416D-7B49-44B1-B69F-DA365E602485}"/>
              </a:ext>
            </a:extLst>
          </p:cNvPr>
          <p:cNvSpPr>
            <a:spLocks noGrp="1"/>
          </p:cNvSpPr>
          <p:nvPr>
            <p:ph idx="25" hasCustomPrompt="1"/>
          </p:nvPr>
        </p:nvSpPr>
        <p:spPr>
          <a:xfrm>
            <a:off x="305526" y="3815771"/>
            <a:ext cx="2717902" cy="642673"/>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7" name="Segnaposto contenuto 2">
            <a:extLst>
              <a:ext uri="{FF2B5EF4-FFF2-40B4-BE49-F238E27FC236}">
                <a16:creationId xmlns:a16="http://schemas.microsoft.com/office/drawing/2014/main" id="{6D2B416D-7B49-44B1-B69F-DA365E602485}"/>
              </a:ext>
            </a:extLst>
          </p:cNvPr>
          <p:cNvSpPr>
            <a:spLocks noGrp="1"/>
          </p:cNvSpPr>
          <p:nvPr>
            <p:ph idx="26" hasCustomPrompt="1"/>
          </p:nvPr>
        </p:nvSpPr>
        <p:spPr>
          <a:xfrm>
            <a:off x="3137808" y="3482166"/>
            <a:ext cx="2717902" cy="333603"/>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8" name="Segnaposto contenuto 2">
            <a:extLst>
              <a:ext uri="{FF2B5EF4-FFF2-40B4-BE49-F238E27FC236}">
                <a16:creationId xmlns:a16="http://schemas.microsoft.com/office/drawing/2014/main" id="{6D2B416D-7B49-44B1-B69F-DA365E602485}"/>
              </a:ext>
            </a:extLst>
          </p:cNvPr>
          <p:cNvSpPr>
            <a:spLocks noGrp="1"/>
          </p:cNvSpPr>
          <p:nvPr>
            <p:ph idx="27" hasCustomPrompt="1"/>
          </p:nvPr>
        </p:nvSpPr>
        <p:spPr>
          <a:xfrm>
            <a:off x="3137808" y="3815771"/>
            <a:ext cx="2717902" cy="642673"/>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9" name="Segnaposto contenuto 2">
            <a:extLst>
              <a:ext uri="{FF2B5EF4-FFF2-40B4-BE49-F238E27FC236}">
                <a16:creationId xmlns:a16="http://schemas.microsoft.com/office/drawing/2014/main" id="{6D2B416D-7B49-44B1-B69F-DA365E602485}"/>
              </a:ext>
            </a:extLst>
          </p:cNvPr>
          <p:cNvSpPr>
            <a:spLocks noGrp="1"/>
          </p:cNvSpPr>
          <p:nvPr>
            <p:ph idx="28" hasCustomPrompt="1"/>
          </p:nvPr>
        </p:nvSpPr>
        <p:spPr>
          <a:xfrm>
            <a:off x="5970090" y="3482166"/>
            <a:ext cx="2717902" cy="333603"/>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40" name="Segnaposto contenuto 2">
            <a:extLst>
              <a:ext uri="{FF2B5EF4-FFF2-40B4-BE49-F238E27FC236}">
                <a16:creationId xmlns:a16="http://schemas.microsoft.com/office/drawing/2014/main" id="{6D2B416D-7B49-44B1-B69F-DA365E602485}"/>
              </a:ext>
            </a:extLst>
          </p:cNvPr>
          <p:cNvSpPr>
            <a:spLocks noGrp="1"/>
          </p:cNvSpPr>
          <p:nvPr>
            <p:ph idx="29" hasCustomPrompt="1"/>
          </p:nvPr>
        </p:nvSpPr>
        <p:spPr>
          <a:xfrm>
            <a:off x="5970090" y="3815771"/>
            <a:ext cx="2717902" cy="642673"/>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Tree>
    <p:extLst>
      <p:ext uri="{BB962C8B-B14F-4D97-AF65-F5344CB8AC3E}">
        <p14:creationId xmlns:p14="http://schemas.microsoft.com/office/powerpoint/2010/main" val="371218240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ROSSO1_Titolo Sottotitolo e contenuto">
    <p:spTree>
      <p:nvGrpSpPr>
        <p:cNvPr id="1" name=""/>
        <p:cNvGrpSpPr/>
        <p:nvPr/>
      </p:nvGrpSpPr>
      <p:grpSpPr>
        <a:xfrm>
          <a:off x="0" y="0"/>
          <a:ext cx="0" cy="0"/>
          <a:chOff x="0" y="0"/>
          <a:chExt cx="0" cy="0"/>
        </a:xfrm>
      </p:grpSpPr>
      <p:grpSp>
        <p:nvGrpSpPr>
          <p:cNvPr id="4" name="Gruppo 3"/>
          <p:cNvGrpSpPr/>
          <p:nvPr userDrawn="1"/>
        </p:nvGrpSpPr>
        <p:grpSpPr>
          <a:xfrm>
            <a:off x="0" y="0"/>
            <a:ext cx="9144000" cy="5715000"/>
            <a:chOff x="0" y="0"/>
            <a:chExt cx="12192000" cy="6858000"/>
          </a:xfrm>
        </p:grpSpPr>
        <p:sp>
          <p:nvSpPr>
            <p:cNvPr id="2" name="Rettangolo 1"/>
            <p:cNvSpPr/>
            <p:nvPr userDrawn="1"/>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it-IT">
                <a:solidFill>
                  <a:srgbClr val="FFFFFF"/>
                </a:solidFill>
              </a:endParaRPr>
            </a:p>
          </p:txBody>
        </p:sp>
        <p:sp>
          <p:nvSpPr>
            <p:cNvPr id="22" name="Rettangolo 21">
              <a:extLst>
                <a:ext uri="{FF2B5EF4-FFF2-40B4-BE49-F238E27FC236}">
                  <a16:creationId xmlns:a16="http://schemas.microsoft.com/office/drawing/2014/main" id="{7466584B-8BD1-48B2-BD0C-DC7DD5380BEF}"/>
                </a:ext>
              </a:extLst>
            </p:cNvPr>
            <p:cNvSpPr/>
            <p:nvPr userDrawn="1"/>
          </p:nvSpPr>
          <p:spPr>
            <a:xfrm>
              <a:off x="11718170" y="0"/>
              <a:ext cx="47288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it-IT">
                <a:solidFill>
                  <a:srgbClr val="FFFFFF"/>
                </a:solidFill>
              </a:endParaRPr>
            </a:p>
          </p:txBody>
        </p:sp>
        <p:grpSp>
          <p:nvGrpSpPr>
            <p:cNvPr id="23"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11786074" y="90427"/>
              <a:ext cx="346160" cy="234428"/>
              <a:chOff x="-560" y="-1287"/>
              <a:chExt cx="6379" cy="4320"/>
            </a:xfrm>
          </p:grpSpPr>
          <p:sp>
            <p:nvSpPr>
              <p:cNvPr id="24"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400"/>
                <a:endParaRPr lang="it-IT">
                  <a:solidFill>
                    <a:srgbClr val="000000"/>
                  </a:solidFill>
                </a:endParaRPr>
              </a:p>
            </p:txBody>
          </p:sp>
          <p:sp>
            <p:nvSpPr>
              <p:cNvPr id="25"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400"/>
                <a:endParaRPr lang="it-IT">
                  <a:solidFill>
                    <a:srgbClr val="000000"/>
                  </a:solidFill>
                </a:endParaRPr>
              </a:p>
            </p:txBody>
          </p:sp>
          <p:sp>
            <p:nvSpPr>
              <p:cNvPr id="26"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it-IT">
                  <a:solidFill>
                    <a:srgbClr val="000000"/>
                  </a:solidFill>
                </a:endParaRPr>
              </a:p>
            </p:txBody>
          </p:sp>
          <p:sp>
            <p:nvSpPr>
              <p:cNvPr id="27"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it-IT">
                  <a:solidFill>
                    <a:srgbClr val="000000"/>
                  </a:solidFill>
                </a:endParaRPr>
              </a:p>
            </p:txBody>
          </p:sp>
          <p:sp>
            <p:nvSpPr>
              <p:cNvPr id="28"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it-IT">
                  <a:solidFill>
                    <a:srgbClr val="000000"/>
                  </a:solidFill>
                </a:endParaRPr>
              </a:p>
            </p:txBody>
          </p:sp>
          <p:sp>
            <p:nvSpPr>
              <p:cNvPr id="29"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it-IT">
                  <a:solidFill>
                    <a:srgbClr val="000000"/>
                  </a:solidFill>
                </a:endParaRPr>
              </a:p>
            </p:txBody>
          </p:sp>
        </p:grpSp>
      </p:grpSp>
      <p:sp>
        <p:nvSpPr>
          <p:cNvPr id="17"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305529" y="2"/>
            <a:ext cx="8382465" cy="721973"/>
          </a:xfrm>
          <a:prstGeom prst="rect">
            <a:avLst/>
          </a:prstGeom>
        </p:spPr>
        <p:txBody>
          <a:bodyPr vert="horz" lIns="0" tIns="45720" rIns="91440" bIns="45720" rtlCol="0" anchor="b">
            <a:noAutofit/>
          </a:bodyPr>
          <a:lstStyle>
            <a:lvl1pPr>
              <a:defRPr lang="it-IT">
                <a:solidFill>
                  <a:schemeClr val="bg1"/>
                </a:solidFill>
              </a:defRPr>
            </a:lvl1pPr>
          </a:lstStyle>
          <a:p>
            <a:pPr lvl="0"/>
            <a:r>
              <a:rPr lang="it-IT" dirty="0"/>
              <a:t>Titolo Calibri 28pt </a:t>
            </a:r>
          </a:p>
        </p:txBody>
      </p:sp>
      <p:sp>
        <p:nvSpPr>
          <p:cNvPr id="19"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305529" y="721974"/>
            <a:ext cx="8382465" cy="325778"/>
          </a:xfrm>
          <a:prstGeom prst="rect">
            <a:avLst/>
          </a:prstGeom>
        </p:spPr>
        <p:txBody>
          <a:bodyPr vert="horz" lIns="0" tIns="45720" rIns="91440" bIns="45720" rtlCol="0">
            <a:normAutofit/>
          </a:bodyPr>
          <a:lstStyle>
            <a:lvl1pPr>
              <a:spcBef>
                <a:spcPts val="1200"/>
              </a:spcBef>
              <a:defRPr lang="it-IT" sz="20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Sottotitolo Calibri 22pt</a:t>
            </a:r>
          </a:p>
        </p:txBody>
      </p:sp>
      <p:sp>
        <p:nvSpPr>
          <p:cNvPr id="3" name="Segnaposto testo 2">
            <a:extLst>
              <a:ext uri="{FF2B5EF4-FFF2-40B4-BE49-F238E27FC236}">
                <a16:creationId xmlns:a16="http://schemas.microsoft.com/office/drawing/2014/main" id="{6197E883-74D9-DD49-9664-52FC49ABA788}"/>
              </a:ext>
            </a:extLst>
          </p:cNvPr>
          <p:cNvSpPr>
            <a:spLocks noGrp="1"/>
          </p:cNvSpPr>
          <p:nvPr>
            <p:ph type="body" sz="quarter" idx="14" hasCustomPrompt="1"/>
          </p:nvPr>
        </p:nvSpPr>
        <p:spPr>
          <a:xfrm>
            <a:off x="305991" y="1267356"/>
            <a:ext cx="8382000" cy="3570553"/>
          </a:xfrm>
          <a:prstGeom prst="rect">
            <a:avLst/>
          </a:prstGeom>
        </p:spPr>
        <p:txBody>
          <a:bodyPr/>
          <a:lstStyle>
            <a:lvl1pPr>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dirty="0"/>
              <a:t>Calibri 20pt</a:t>
            </a:r>
          </a:p>
          <a:p>
            <a:pPr lvl="1"/>
            <a:r>
              <a:rPr lang="it-IT" dirty="0"/>
              <a:t>Secondo livello 18pt</a:t>
            </a:r>
          </a:p>
          <a:p>
            <a:pPr lvl="2"/>
            <a:r>
              <a:rPr lang="it-IT" dirty="0"/>
              <a:t>Terzo livello 16pt</a:t>
            </a:r>
          </a:p>
          <a:p>
            <a:pPr lvl="3"/>
            <a:r>
              <a:rPr lang="it-IT" dirty="0"/>
              <a:t>Quarto livello 14pt</a:t>
            </a:r>
          </a:p>
          <a:p>
            <a:pPr lvl="4"/>
            <a:r>
              <a:rPr lang="it-IT" dirty="0"/>
              <a:t>Quinto livello 12pt</a:t>
            </a:r>
          </a:p>
        </p:txBody>
      </p:sp>
      <p:sp>
        <p:nvSpPr>
          <p:cNvPr id="21"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8788628" y="5413257"/>
            <a:ext cx="354666" cy="192644"/>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fld id="{B9D7DBFB-DCE9-42BC-A361-A0671D12ADFC}" type="slidenum">
              <a:rPr lang="it-IT">
                <a:solidFill>
                  <a:srgbClr val="DC002E"/>
                </a:solidFill>
              </a:rPr>
              <a:pPr defTabSz="1219170"/>
              <a:t>‹N›</a:t>
            </a:fld>
            <a:endParaRPr lang="it-IT" dirty="0">
              <a:solidFill>
                <a:srgbClr val="DC002E"/>
              </a:solidFill>
            </a:endParaRPr>
          </a:p>
        </p:txBody>
      </p:sp>
      <p:sp>
        <p:nvSpPr>
          <p:cNvPr id="30"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8197475" y="5335410"/>
            <a:ext cx="490519" cy="123111"/>
          </a:xfrm>
          <a:prstGeom prst="rect">
            <a:avLst/>
          </a:prstGeom>
          <a:noFill/>
          <a:effectLst/>
        </p:spPr>
        <p:txBody>
          <a:bodyPr wrap="none" lIns="0" tIns="0" rIns="0" bIns="0" rtlCol="0" anchor="ctr">
            <a:spAutoFit/>
          </a:bodyPr>
          <a:lstStyle>
            <a:lvl1pPr algn="r">
              <a:defRPr lang="it-IT" sz="800" smtClean="0">
                <a:solidFill>
                  <a:schemeClr val="bg1"/>
                </a:solidFill>
                <a:effectLst/>
              </a:defRPr>
            </a:lvl1pPr>
          </a:lstStyle>
          <a:p>
            <a:pPr defTabSz="1219170"/>
            <a:r>
              <a:rPr>
                <a:solidFill>
                  <a:srgbClr val="FFFFFF"/>
                </a:solidFill>
              </a:rPr>
              <a:t>23/04/2019</a:t>
            </a:r>
            <a:endParaRPr dirty="0">
              <a:solidFill>
                <a:srgbClr val="FFFFFF"/>
              </a:solidFill>
            </a:endParaRPr>
          </a:p>
        </p:txBody>
      </p:sp>
      <p:sp>
        <p:nvSpPr>
          <p:cNvPr id="31"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2339070" y="5459999"/>
            <a:ext cx="6349277" cy="123111"/>
          </a:xfrm>
          <a:prstGeom prst="rect">
            <a:avLst/>
          </a:prstGeom>
          <a:noFill/>
        </p:spPr>
        <p:txBody>
          <a:bodyPr wrap="square" lIns="0" tIns="0" rIns="0" bIns="0" rtlCol="0">
            <a:spAutoFit/>
          </a:bodyPr>
          <a:lstStyle>
            <a:lvl1pPr>
              <a:defRPr lang="it-IT" sz="800" i="0">
                <a:solidFill>
                  <a:schemeClr val="bg1"/>
                </a:solidFill>
              </a:defRPr>
            </a:lvl1pPr>
          </a:lstStyle>
          <a:p>
            <a:pPr algn="r" defTabSz="1219170"/>
            <a:r>
              <a:rPr>
                <a:solidFill>
                  <a:srgbClr val="FFFFFF"/>
                </a:solidFill>
              </a:rPr>
              <a:t>Coordinamento Territoriale Sicilia</a:t>
            </a:r>
            <a:endParaRPr lang="en-GB" dirty="0">
              <a:solidFill>
                <a:srgbClr val="FFFFFF"/>
              </a:solidFill>
            </a:endParaRPr>
          </a:p>
        </p:txBody>
      </p:sp>
      <p:pic>
        <p:nvPicPr>
          <p:cNvPr id="20" name="Immagine 1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05993" y="5097929"/>
            <a:ext cx="711341" cy="447737"/>
          </a:xfrm>
          <a:prstGeom prst="rect">
            <a:avLst/>
          </a:prstGeom>
        </p:spPr>
      </p:pic>
    </p:spTree>
    <p:extLst>
      <p:ext uri="{BB962C8B-B14F-4D97-AF65-F5344CB8AC3E}">
        <p14:creationId xmlns:p14="http://schemas.microsoft.com/office/powerpoint/2010/main" val="1866153491"/>
      </p:ext>
    </p:extLst>
  </p:cSld>
  <p:clrMapOvr>
    <a:masterClrMapping/>
  </p:clrMapOvr>
  <p:extLst>
    <p:ext uri="{DCECCB84-F9BA-43D5-87BE-67443E8EF086}">
      <p15:sldGuideLst xmlns:p15="http://schemas.microsoft.com/office/powerpoint/2012/main">
        <p15:guide id="1" orient="horz" pos="958"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ROSSO1_COPY HEAD">
    <p:spTree>
      <p:nvGrpSpPr>
        <p:cNvPr id="1" name=""/>
        <p:cNvGrpSpPr/>
        <p:nvPr/>
      </p:nvGrpSpPr>
      <p:grpSpPr>
        <a:xfrm>
          <a:off x="0" y="0"/>
          <a:ext cx="0" cy="0"/>
          <a:chOff x="0" y="0"/>
          <a:chExt cx="0" cy="0"/>
        </a:xfrm>
      </p:grpSpPr>
      <p:sp>
        <p:nvSpPr>
          <p:cNvPr id="2" name="Rettangolo 1"/>
          <p:cNvSpPr/>
          <p:nvPr userDrawn="1"/>
        </p:nvSpPr>
        <p:spPr>
          <a:xfrm>
            <a:off x="0" y="0"/>
            <a:ext cx="9144000" cy="5715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it-IT" sz="12000" dirty="0">
              <a:solidFill>
                <a:srgbClr val="FFFFFF"/>
              </a:solidFill>
            </a:endParaRPr>
          </a:p>
        </p:txBody>
      </p:sp>
      <p:sp>
        <p:nvSpPr>
          <p:cNvPr id="22" name="Rettangolo 21">
            <a:extLst>
              <a:ext uri="{FF2B5EF4-FFF2-40B4-BE49-F238E27FC236}">
                <a16:creationId xmlns:a16="http://schemas.microsoft.com/office/drawing/2014/main" id="{7466584B-8BD1-48B2-BD0C-DC7DD5380BEF}"/>
              </a:ext>
            </a:extLst>
          </p:cNvPr>
          <p:cNvSpPr/>
          <p:nvPr userDrawn="1"/>
        </p:nvSpPr>
        <p:spPr>
          <a:xfrm>
            <a:off x="8788628" y="0"/>
            <a:ext cx="354666" cy="571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it-IT">
              <a:solidFill>
                <a:srgbClr val="FFFFFF"/>
              </a:solidFill>
            </a:endParaRPr>
          </a:p>
        </p:txBody>
      </p:sp>
      <p:grpSp>
        <p:nvGrpSpPr>
          <p:cNvPr id="23"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8839556" y="75356"/>
            <a:ext cx="259620" cy="195357"/>
            <a:chOff x="-560" y="-1287"/>
            <a:chExt cx="6379" cy="4320"/>
          </a:xfrm>
        </p:grpSpPr>
        <p:sp>
          <p:nvSpPr>
            <p:cNvPr id="24"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400"/>
              <a:endParaRPr lang="it-IT">
                <a:solidFill>
                  <a:srgbClr val="000000"/>
                </a:solidFill>
              </a:endParaRPr>
            </a:p>
          </p:txBody>
        </p:sp>
        <p:sp>
          <p:nvSpPr>
            <p:cNvPr id="25"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400"/>
              <a:endParaRPr lang="it-IT">
                <a:solidFill>
                  <a:srgbClr val="000000"/>
                </a:solidFill>
              </a:endParaRPr>
            </a:p>
          </p:txBody>
        </p:sp>
        <p:sp>
          <p:nvSpPr>
            <p:cNvPr id="26"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it-IT">
                <a:solidFill>
                  <a:srgbClr val="000000"/>
                </a:solidFill>
              </a:endParaRPr>
            </a:p>
          </p:txBody>
        </p:sp>
        <p:sp>
          <p:nvSpPr>
            <p:cNvPr id="27"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it-IT">
                <a:solidFill>
                  <a:srgbClr val="000000"/>
                </a:solidFill>
              </a:endParaRPr>
            </a:p>
          </p:txBody>
        </p:sp>
        <p:sp>
          <p:nvSpPr>
            <p:cNvPr id="28"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it-IT">
                <a:solidFill>
                  <a:srgbClr val="000000"/>
                </a:solidFill>
              </a:endParaRPr>
            </a:p>
          </p:txBody>
        </p:sp>
        <p:sp>
          <p:nvSpPr>
            <p:cNvPr id="29"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it-IT">
                <a:solidFill>
                  <a:srgbClr val="000000"/>
                </a:solidFill>
              </a:endParaRPr>
            </a:p>
          </p:txBody>
        </p:sp>
      </p:grpSp>
      <p:sp>
        <p:nvSpPr>
          <p:cNvPr id="21"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8788628" y="5413257"/>
            <a:ext cx="354666" cy="192644"/>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fld id="{B9D7DBFB-DCE9-42BC-A361-A0671D12ADFC}" type="slidenum">
              <a:rPr lang="it-IT">
                <a:solidFill>
                  <a:srgbClr val="DC002E"/>
                </a:solidFill>
              </a:rPr>
              <a:pPr defTabSz="1219170"/>
              <a:t>‹N›</a:t>
            </a:fld>
            <a:endParaRPr lang="it-IT" dirty="0">
              <a:solidFill>
                <a:srgbClr val="DC002E"/>
              </a:solidFill>
            </a:endParaRPr>
          </a:p>
        </p:txBody>
      </p:sp>
      <p:sp>
        <p:nvSpPr>
          <p:cNvPr id="6" name="Segnaposto testo 5"/>
          <p:cNvSpPr>
            <a:spLocks noGrp="1"/>
          </p:cNvSpPr>
          <p:nvPr>
            <p:ph type="body" sz="quarter" idx="10" hasCustomPrompt="1"/>
          </p:nvPr>
        </p:nvSpPr>
        <p:spPr>
          <a:xfrm>
            <a:off x="305991" y="751419"/>
            <a:ext cx="8382000" cy="4086491"/>
          </a:xfrm>
        </p:spPr>
        <p:txBody>
          <a:bodyPr anchor="ctr" anchorCtr="0"/>
          <a:lstStyle>
            <a:lvl1pPr algn="ctr">
              <a:defRPr sz="12000" b="1">
                <a:solidFill>
                  <a:schemeClr val="bg1"/>
                </a:solidFill>
              </a:defRPr>
            </a:lvl1pPr>
          </a:lstStyle>
          <a:p>
            <a:pPr lvl="0"/>
            <a:r>
              <a:rPr lang="it-IT" dirty="0"/>
              <a:t>Inserire il testo</a:t>
            </a:r>
          </a:p>
        </p:txBody>
      </p:sp>
      <p:sp>
        <p:nvSpPr>
          <p:cNvPr id="16"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8197475" y="5335410"/>
            <a:ext cx="490519" cy="123111"/>
          </a:xfrm>
          <a:prstGeom prst="rect">
            <a:avLst/>
          </a:prstGeom>
          <a:noFill/>
          <a:effectLst/>
        </p:spPr>
        <p:txBody>
          <a:bodyPr wrap="none" lIns="0" tIns="0" rIns="0" bIns="0" rtlCol="0" anchor="ctr">
            <a:spAutoFit/>
          </a:bodyPr>
          <a:lstStyle>
            <a:lvl1pPr algn="r">
              <a:defRPr lang="it-IT" sz="800" smtClean="0">
                <a:solidFill>
                  <a:schemeClr val="bg1"/>
                </a:solidFill>
                <a:effectLst/>
              </a:defRPr>
            </a:lvl1pPr>
          </a:lstStyle>
          <a:p>
            <a:pPr defTabSz="1219170"/>
            <a:r>
              <a:rPr>
                <a:solidFill>
                  <a:srgbClr val="FFFFFF"/>
                </a:solidFill>
              </a:rPr>
              <a:t>23/04/2019</a:t>
            </a:r>
            <a:endParaRPr dirty="0">
              <a:solidFill>
                <a:srgbClr val="FFFFFF"/>
              </a:solidFill>
            </a:endParaRPr>
          </a:p>
        </p:txBody>
      </p:sp>
      <p:sp>
        <p:nvSpPr>
          <p:cNvPr id="17"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2339070" y="5459999"/>
            <a:ext cx="6349277" cy="123111"/>
          </a:xfrm>
          <a:prstGeom prst="rect">
            <a:avLst/>
          </a:prstGeom>
          <a:noFill/>
        </p:spPr>
        <p:txBody>
          <a:bodyPr wrap="square" lIns="0" tIns="0" rIns="0" bIns="0" rtlCol="0">
            <a:spAutoFit/>
          </a:bodyPr>
          <a:lstStyle>
            <a:lvl1pPr>
              <a:defRPr lang="it-IT" sz="800" i="0">
                <a:solidFill>
                  <a:schemeClr val="bg1"/>
                </a:solidFill>
              </a:defRPr>
            </a:lvl1pPr>
          </a:lstStyle>
          <a:p>
            <a:pPr algn="r" defTabSz="1219170"/>
            <a:r>
              <a:rPr>
                <a:solidFill>
                  <a:srgbClr val="FFFFFF"/>
                </a:solidFill>
              </a:rPr>
              <a:t>Coordinamento Territoriale Sicilia</a:t>
            </a:r>
            <a:endParaRPr lang="en-GB" dirty="0">
              <a:solidFill>
                <a:srgbClr val="FFFFFF"/>
              </a:solidFill>
            </a:endParaRPr>
          </a:p>
        </p:txBody>
      </p:sp>
      <p:pic>
        <p:nvPicPr>
          <p:cNvPr id="18" name="Immagine 1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05993" y="5097929"/>
            <a:ext cx="711341" cy="447737"/>
          </a:xfrm>
          <a:prstGeom prst="rect">
            <a:avLst/>
          </a:prstGeom>
        </p:spPr>
      </p:pic>
    </p:spTree>
    <p:extLst>
      <p:ext uri="{BB962C8B-B14F-4D97-AF65-F5344CB8AC3E}">
        <p14:creationId xmlns:p14="http://schemas.microsoft.com/office/powerpoint/2010/main" val="4237484089"/>
      </p:ext>
    </p:extLst>
  </p:cSld>
  <p:clrMapOvr>
    <a:masterClrMapping/>
  </p:clrMapOvr>
  <p:extLst>
    <p:ext uri="{DCECCB84-F9BA-43D5-87BE-67443E8EF086}">
      <p15:sldGuideLst xmlns:p15="http://schemas.microsoft.com/office/powerpoint/2012/main">
        <p15:guide id="1" orient="horz" pos="95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Copertina">
    <p:spTree>
      <p:nvGrpSpPr>
        <p:cNvPr id="1" name=""/>
        <p:cNvGrpSpPr/>
        <p:nvPr/>
      </p:nvGrpSpPr>
      <p:grpSpPr>
        <a:xfrm>
          <a:off x="0" y="0"/>
          <a:ext cx="0" cy="0"/>
          <a:chOff x="0" y="0"/>
          <a:chExt cx="0" cy="0"/>
        </a:xfrm>
      </p:grpSpPr>
      <p:sp>
        <p:nvSpPr>
          <p:cNvPr id="19" name="Rettangolo 18">
            <a:extLst>
              <a:ext uri="{FF2B5EF4-FFF2-40B4-BE49-F238E27FC236}">
                <a16:creationId xmlns:a16="http://schemas.microsoft.com/office/drawing/2014/main" id="{CFDCDC1C-BD6A-492B-B81D-40AAD8317027}"/>
              </a:ext>
            </a:extLst>
          </p:cNvPr>
          <p:cNvSpPr/>
          <p:nvPr userDrawn="1"/>
        </p:nvSpPr>
        <p:spPr>
          <a:xfrm>
            <a:off x="8789334" y="0"/>
            <a:ext cx="354666" cy="5715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endParaRPr lang="it-IT">
              <a:solidFill>
                <a:srgbClr val="FFFFFF"/>
              </a:solidFill>
            </a:endParaRPr>
          </a:p>
        </p:txBody>
      </p:sp>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2998279" y="900862"/>
            <a:ext cx="5493338" cy="782504"/>
          </a:xfrm>
          <a:prstGeom prst="rect">
            <a:avLst/>
          </a:prstGeom>
          <a:noFill/>
          <a:effectLst/>
        </p:spPr>
        <p:txBody>
          <a:bodyPr vert="horz" wrap="square" lIns="0" tIns="45720" rIns="0" bIns="144000" rtlCol="0" anchor="b">
            <a:spAutoFit/>
          </a:bodyPr>
          <a:lstStyle>
            <a:lvl1pPr algn="r">
              <a:lnSpc>
                <a:spcPct val="80000"/>
              </a:lnSpc>
              <a:defRPr lang="it-IT" sz="4800"/>
            </a:lvl1pPr>
          </a:lstStyle>
          <a:p>
            <a:pPr lvl="0"/>
            <a:r>
              <a:rPr lang="it-IT" dirty="0"/>
              <a:t>COPERTINA </a:t>
            </a:r>
          </a:p>
        </p:txBody>
      </p:sp>
      <p:grpSp>
        <p:nvGrpSpPr>
          <p:cNvPr id="14" name="Group 4">
            <a:extLst>
              <a:ext uri="{FF2B5EF4-FFF2-40B4-BE49-F238E27FC236}">
                <a16:creationId xmlns:a16="http://schemas.microsoft.com/office/drawing/2014/main" id="{E4737D48-B2DB-4F53-BFC9-9F18751EDFC0}"/>
              </a:ext>
            </a:extLst>
          </p:cNvPr>
          <p:cNvGrpSpPr>
            <a:grpSpLocks noChangeAspect="1"/>
          </p:cNvGrpSpPr>
          <p:nvPr userDrawn="1"/>
        </p:nvGrpSpPr>
        <p:grpSpPr bwMode="auto">
          <a:xfrm>
            <a:off x="8840262" y="75356"/>
            <a:ext cx="259620" cy="195357"/>
            <a:chOff x="-560" y="-1287"/>
            <a:chExt cx="6379" cy="4320"/>
          </a:xfrm>
        </p:grpSpPr>
        <p:sp>
          <p:nvSpPr>
            <p:cNvPr id="15" name="AutoShape 3">
              <a:extLst>
                <a:ext uri="{FF2B5EF4-FFF2-40B4-BE49-F238E27FC236}">
                  <a16:creationId xmlns:a16="http://schemas.microsoft.com/office/drawing/2014/main" id="{525F0B45-3EF6-4A9D-A83E-CDB12E556535}"/>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400">
                <a:defRPr/>
              </a:pPr>
              <a:endParaRPr lang="it-IT">
                <a:solidFill>
                  <a:srgbClr val="000000"/>
                </a:solidFill>
              </a:endParaRPr>
            </a:p>
          </p:txBody>
        </p:sp>
        <p:sp>
          <p:nvSpPr>
            <p:cNvPr id="16" name="Rectangle 5">
              <a:extLst>
                <a:ext uri="{FF2B5EF4-FFF2-40B4-BE49-F238E27FC236}">
                  <a16:creationId xmlns:a16="http://schemas.microsoft.com/office/drawing/2014/main" id="{DB6A0205-9830-47FC-AFEF-1EA19F148D8C}"/>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400">
                <a:defRPr/>
              </a:pPr>
              <a:endParaRPr lang="it-IT">
                <a:solidFill>
                  <a:srgbClr val="000000"/>
                </a:solidFill>
              </a:endParaRPr>
            </a:p>
          </p:txBody>
        </p:sp>
        <p:sp>
          <p:nvSpPr>
            <p:cNvPr id="17" name="Freeform 6">
              <a:extLst>
                <a:ext uri="{FF2B5EF4-FFF2-40B4-BE49-F238E27FC236}">
                  <a16:creationId xmlns:a16="http://schemas.microsoft.com/office/drawing/2014/main" id="{A652E29C-2288-4037-A735-2C99372F7809}"/>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defRPr/>
              </a:pPr>
              <a:endParaRPr lang="it-IT">
                <a:solidFill>
                  <a:srgbClr val="000000"/>
                </a:solidFill>
              </a:endParaRPr>
            </a:p>
          </p:txBody>
        </p:sp>
        <p:sp>
          <p:nvSpPr>
            <p:cNvPr id="18" name="Freeform 7">
              <a:extLst>
                <a:ext uri="{FF2B5EF4-FFF2-40B4-BE49-F238E27FC236}">
                  <a16:creationId xmlns:a16="http://schemas.microsoft.com/office/drawing/2014/main" id="{3DEB9809-C89A-4A58-9A81-ABAF9CE315F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defRPr/>
              </a:pPr>
              <a:endParaRPr lang="it-IT">
                <a:solidFill>
                  <a:srgbClr val="000000"/>
                </a:solidFill>
              </a:endParaRPr>
            </a:p>
          </p:txBody>
        </p:sp>
        <p:sp>
          <p:nvSpPr>
            <p:cNvPr id="22" name="Freeform 8">
              <a:extLst>
                <a:ext uri="{FF2B5EF4-FFF2-40B4-BE49-F238E27FC236}">
                  <a16:creationId xmlns:a16="http://schemas.microsoft.com/office/drawing/2014/main" id="{E1355289-BE5F-41B1-954C-B78211E4669F}"/>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defRPr/>
              </a:pPr>
              <a:endParaRPr lang="it-IT">
                <a:solidFill>
                  <a:srgbClr val="000000"/>
                </a:solidFill>
              </a:endParaRPr>
            </a:p>
          </p:txBody>
        </p:sp>
        <p:sp>
          <p:nvSpPr>
            <p:cNvPr id="30" name="Freeform 9">
              <a:extLst>
                <a:ext uri="{FF2B5EF4-FFF2-40B4-BE49-F238E27FC236}">
                  <a16:creationId xmlns:a16="http://schemas.microsoft.com/office/drawing/2014/main" id="{8A815911-1EC8-4303-988F-6009E820B583}"/>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defRPr/>
              </a:pPr>
              <a:endParaRPr lang="it-IT">
                <a:solidFill>
                  <a:srgbClr val="000000"/>
                </a:solidFill>
              </a:endParaRPr>
            </a:p>
          </p:txBody>
        </p:sp>
      </p:grpSp>
      <p:sp>
        <p:nvSpPr>
          <p:cNvPr id="13" name="Segnaposto testo 3"/>
          <p:cNvSpPr>
            <a:spLocks noGrp="1"/>
          </p:cNvSpPr>
          <p:nvPr>
            <p:ph type="body" sz="quarter" idx="10" hasCustomPrompt="1"/>
          </p:nvPr>
        </p:nvSpPr>
        <p:spPr>
          <a:xfrm>
            <a:off x="4608127" y="1689608"/>
            <a:ext cx="3889117" cy="634771"/>
          </a:xfrm>
          <a:prstGeom prst="rect">
            <a:avLst/>
          </a:prstGeom>
          <a:noFill/>
          <a:effectLst/>
        </p:spPr>
        <p:txBody>
          <a:bodyPr vert="horz" wrap="square" lIns="0" tIns="45720" rIns="0" bIns="144000" rtlCol="0" anchor="t">
            <a:spAutoFit/>
          </a:bodyPr>
          <a:lstStyle>
            <a:lvl1pPr algn="r">
              <a:defRPr lang="it-IT" sz="3200" b="0" dirty="0">
                <a:solidFill>
                  <a:schemeClr val="bg1"/>
                </a:solidFill>
                <a:latin typeface="+mj-lt"/>
                <a:ea typeface="+mj-ea"/>
                <a:cs typeface="+mj-cs"/>
              </a:defRPr>
            </a:lvl1pPr>
          </a:lstStyle>
          <a:p>
            <a:pPr lvl="0" algn="r">
              <a:spcBef>
                <a:spcPct val="0"/>
              </a:spcBef>
            </a:pPr>
            <a:r>
              <a:rPr lang="it-IT" dirty="0"/>
              <a:t>Sottotitolo </a:t>
            </a:r>
          </a:p>
        </p:txBody>
      </p:sp>
      <p:sp>
        <p:nvSpPr>
          <p:cNvPr id="4" name="Segnaposto testo 3"/>
          <p:cNvSpPr>
            <a:spLocks noGrp="1"/>
          </p:cNvSpPr>
          <p:nvPr>
            <p:ph type="body" sz="quarter" idx="11" hasCustomPrompt="1"/>
          </p:nvPr>
        </p:nvSpPr>
        <p:spPr>
          <a:xfrm>
            <a:off x="305992" y="4450767"/>
            <a:ext cx="1165160" cy="268723"/>
          </a:xfrm>
          <a:prstGeom prst="rect">
            <a:avLst/>
          </a:prstGeom>
        </p:spPr>
        <p:txBody>
          <a:bodyPr lIns="0" rIns="0"/>
          <a:lstStyle>
            <a:lvl1pPr algn="l">
              <a:defRPr sz="1400" b="1" baseline="0">
                <a:solidFill>
                  <a:schemeClr val="bg1"/>
                </a:solidFill>
              </a:defRPr>
            </a:lvl1pPr>
          </a:lstStyle>
          <a:p>
            <a:pPr lvl="0"/>
            <a:r>
              <a:rPr lang="it-IT" dirty="0"/>
              <a:t>00 Mese 0000</a:t>
            </a:r>
          </a:p>
        </p:txBody>
      </p:sp>
      <p:pic>
        <p:nvPicPr>
          <p:cNvPr id="20" name="Immagine 1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05996" y="4989534"/>
            <a:ext cx="883553" cy="556133"/>
          </a:xfrm>
          <a:prstGeom prst="rect">
            <a:avLst/>
          </a:prstGeom>
        </p:spPr>
      </p:pic>
    </p:spTree>
    <p:extLst>
      <p:ext uri="{BB962C8B-B14F-4D97-AF65-F5344CB8AC3E}">
        <p14:creationId xmlns:p14="http://schemas.microsoft.com/office/powerpoint/2010/main" val="29114281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Copertina Sottosezione">
    <p:bg>
      <p:bgPr>
        <a:solidFill>
          <a:schemeClr val="bg1">
            <a:lumMod val="75000"/>
          </a:schemeClr>
        </a:solidFill>
        <a:effectLst/>
      </p:bgPr>
    </p:bg>
    <p:spTree>
      <p:nvGrpSpPr>
        <p:cNvPr id="1" name=""/>
        <p:cNvGrpSpPr/>
        <p:nvPr/>
      </p:nvGrpSpPr>
      <p:grpSpPr>
        <a:xfrm>
          <a:off x="0" y="0"/>
          <a:ext cx="0" cy="0"/>
          <a:chOff x="0" y="0"/>
          <a:chExt cx="0" cy="0"/>
        </a:xfrm>
      </p:grpSpPr>
      <p:sp>
        <p:nvSpPr>
          <p:cNvPr id="19" name="Rettangolo 18">
            <a:extLst>
              <a:ext uri="{FF2B5EF4-FFF2-40B4-BE49-F238E27FC236}">
                <a16:creationId xmlns:a16="http://schemas.microsoft.com/office/drawing/2014/main" id="{CFDCDC1C-BD6A-492B-B81D-40AAD8317027}"/>
              </a:ext>
            </a:extLst>
          </p:cNvPr>
          <p:cNvSpPr/>
          <p:nvPr userDrawn="1"/>
        </p:nvSpPr>
        <p:spPr>
          <a:xfrm>
            <a:off x="8789334" y="0"/>
            <a:ext cx="354666" cy="5715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it-IT">
              <a:solidFill>
                <a:srgbClr val="FFFFFF"/>
              </a:solidFill>
            </a:endParaRPr>
          </a:p>
        </p:txBody>
      </p:sp>
      <p:grpSp>
        <p:nvGrpSpPr>
          <p:cNvPr id="14" name="Group 4">
            <a:extLst>
              <a:ext uri="{FF2B5EF4-FFF2-40B4-BE49-F238E27FC236}">
                <a16:creationId xmlns:a16="http://schemas.microsoft.com/office/drawing/2014/main" id="{E4737D48-B2DB-4F53-BFC9-9F18751EDFC0}"/>
              </a:ext>
            </a:extLst>
          </p:cNvPr>
          <p:cNvGrpSpPr>
            <a:grpSpLocks noChangeAspect="1"/>
          </p:cNvGrpSpPr>
          <p:nvPr userDrawn="1"/>
        </p:nvGrpSpPr>
        <p:grpSpPr bwMode="auto">
          <a:xfrm>
            <a:off x="8840262" y="75356"/>
            <a:ext cx="259620" cy="195357"/>
            <a:chOff x="-560" y="-1287"/>
            <a:chExt cx="6379" cy="4320"/>
          </a:xfrm>
        </p:grpSpPr>
        <p:sp>
          <p:nvSpPr>
            <p:cNvPr id="15" name="AutoShape 3">
              <a:extLst>
                <a:ext uri="{FF2B5EF4-FFF2-40B4-BE49-F238E27FC236}">
                  <a16:creationId xmlns:a16="http://schemas.microsoft.com/office/drawing/2014/main" id="{525F0B45-3EF6-4A9D-A83E-CDB12E556535}"/>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400"/>
              <a:endParaRPr lang="it-IT">
                <a:solidFill>
                  <a:srgbClr val="000000"/>
                </a:solidFill>
              </a:endParaRPr>
            </a:p>
          </p:txBody>
        </p:sp>
        <p:sp>
          <p:nvSpPr>
            <p:cNvPr id="16" name="Rectangle 5">
              <a:extLst>
                <a:ext uri="{FF2B5EF4-FFF2-40B4-BE49-F238E27FC236}">
                  <a16:creationId xmlns:a16="http://schemas.microsoft.com/office/drawing/2014/main" id="{DB6A0205-9830-47FC-AFEF-1EA19F148D8C}"/>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400"/>
              <a:endParaRPr lang="it-IT">
                <a:solidFill>
                  <a:srgbClr val="000000"/>
                </a:solidFill>
              </a:endParaRPr>
            </a:p>
          </p:txBody>
        </p:sp>
        <p:sp>
          <p:nvSpPr>
            <p:cNvPr id="17" name="Freeform 6">
              <a:extLst>
                <a:ext uri="{FF2B5EF4-FFF2-40B4-BE49-F238E27FC236}">
                  <a16:creationId xmlns:a16="http://schemas.microsoft.com/office/drawing/2014/main" id="{A652E29C-2288-4037-A735-2C99372F7809}"/>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it-IT">
                <a:solidFill>
                  <a:srgbClr val="000000"/>
                </a:solidFill>
              </a:endParaRPr>
            </a:p>
          </p:txBody>
        </p:sp>
        <p:sp>
          <p:nvSpPr>
            <p:cNvPr id="18" name="Freeform 7">
              <a:extLst>
                <a:ext uri="{FF2B5EF4-FFF2-40B4-BE49-F238E27FC236}">
                  <a16:creationId xmlns:a16="http://schemas.microsoft.com/office/drawing/2014/main" id="{3DEB9809-C89A-4A58-9A81-ABAF9CE315F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it-IT">
                <a:solidFill>
                  <a:srgbClr val="000000"/>
                </a:solidFill>
              </a:endParaRPr>
            </a:p>
          </p:txBody>
        </p:sp>
        <p:sp>
          <p:nvSpPr>
            <p:cNvPr id="22" name="Freeform 8">
              <a:extLst>
                <a:ext uri="{FF2B5EF4-FFF2-40B4-BE49-F238E27FC236}">
                  <a16:creationId xmlns:a16="http://schemas.microsoft.com/office/drawing/2014/main" id="{E1355289-BE5F-41B1-954C-B78211E4669F}"/>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it-IT">
                <a:solidFill>
                  <a:srgbClr val="000000"/>
                </a:solidFill>
              </a:endParaRPr>
            </a:p>
          </p:txBody>
        </p:sp>
        <p:sp>
          <p:nvSpPr>
            <p:cNvPr id="30" name="Freeform 9">
              <a:extLst>
                <a:ext uri="{FF2B5EF4-FFF2-40B4-BE49-F238E27FC236}">
                  <a16:creationId xmlns:a16="http://schemas.microsoft.com/office/drawing/2014/main" id="{8A815911-1EC8-4303-988F-6009E820B583}"/>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it-IT">
                <a:solidFill>
                  <a:srgbClr val="000000"/>
                </a:solidFill>
              </a:endParaRPr>
            </a:p>
          </p:txBody>
        </p:sp>
      </p:grpSp>
      <p:sp>
        <p:nvSpPr>
          <p:cNvPr id="13" name="Segnaposto testo 3"/>
          <p:cNvSpPr>
            <a:spLocks noGrp="1"/>
          </p:cNvSpPr>
          <p:nvPr>
            <p:ph type="body" sz="quarter" idx="10" hasCustomPrompt="1"/>
          </p:nvPr>
        </p:nvSpPr>
        <p:spPr>
          <a:xfrm>
            <a:off x="4602506" y="1577569"/>
            <a:ext cx="3889117" cy="634771"/>
          </a:xfrm>
          <a:prstGeom prst="rect">
            <a:avLst/>
          </a:prstGeom>
          <a:noFill/>
          <a:effectLst/>
        </p:spPr>
        <p:txBody>
          <a:bodyPr vert="horz" wrap="square" lIns="0" tIns="45720" rIns="0" bIns="144000" rtlCol="0" anchor="b">
            <a:spAutoFit/>
          </a:bodyPr>
          <a:lstStyle>
            <a:lvl1pPr algn="r">
              <a:defRPr lang="it-IT" sz="3200" b="0" dirty="0">
                <a:solidFill>
                  <a:schemeClr val="bg1"/>
                </a:solidFill>
                <a:latin typeface="+mj-lt"/>
                <a:ea typeface="+mj-ea"/>
                <a:cs typeface="+mj-cs"/>
              </a:defRPr>
            </a:lvl1pPr>
          </a:lstStyle>
          <a:p>
            <a:pPr lvl="0" algn="r">
              <a:spcBef>
                <a:spcPct val="0"/>
              </a:spcBef>
            </a:pPr>
            <a:r>
              <a:rPr lang="it-IT" dirty="0"/>
              <a:t>Sottotitolo</a:t>
            </a:r>
          </a:p>
        </p:txBody>
      </p:sp>
      <p:sp>
        <p:nvSpPr>
          <p:cNvPr id="21"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2998279" y="309928"/>
            <a:ext cx="5493338" cy="1373435"/>
          </a:xfrm>
          <a:prstGeom prst="rect">
            <a:avLst/>
          </a:prstGeom>
          <a:noFill/>
          <a:effectLst/>
        </p:spPr>
        <p:txBody>
          <a:bodyPr vert="horz" wrap="square" lIns="0" tIns="45720" rIns="0" bIns="144000" rtlCol="0" anchor="b">
            <a:spAutoFit/>
          </a:bodyPr>
          <a:lstStyle>
            <a:lvl1pPr algn="r">
              <a:lnSpc>
                <a:spcPct val="80000"/>
              </a:lnSpc>
              <a:defRPr lang="it-IT" sz="4800"/>
            </a:lvl1pPr>
          </a:lstStyle>
          <a:p>
            <a:pPr lvl="0"/>
            <a:r>
              <a:rPr lang="it-IT" dirty="0"/>
              <a:t>Copertina sezione - alt 1</a:t>
            </a:r>
          </a:p>
        </p:txBody>
      </p:sp>
    </p:spTree>
    <p:extLst>
      <p:ext uri="{BB962C8B-B14F-4D97-AF65-F5344CB8AC3E}">
        <p14:creationId xmlns:p14="http://schemas.microsoft.com/office/powerpoint/2010/main" val="66814100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olo e contenuto">
    <p:spTree>
      <p:nvGrpSpPr>
        <p:cNvPr id="1" name=""/>
        <p:cNvGrpSpPr/>
        <p:nvPr/>
      </p:nvGrpSpPr>
      <p:grpSpPr>
        <a:xfrm>
          <a:off x="0" y="0"/>
          <a:ext cx="0" cy="0"/>
          <a:chOff x="0" y="0"/>
          <a:chExt cx="0" cy="0"/>
        </a:xfrm>
      </p:grpSpPr>
      <p:pic>
        <p:nvPicPr>
          <p:cNvPr id="19" name="Immagine 1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4000" cy="5715001"/>
          </a:xfrm>
          <a:prstGeom prst="rect">
            <a:avLst/>
          </a:prstGeom>
        </p:spPr>
      </p:pic>
      <p:sp>
        <p:nvSpPr>
          <p:cNvPr id="7" name="Rettangolo 6">
            <a:extLst>
              <a:ext uri="{FF2B5EF4-FFF2-40B4-BE49-F238E27FC236}">
                <a16:creationId xmlns:a16="http://schemas.microsoft.com/office/drawing/2014/main" id="{7466584B-8BD1-48B2-BD0C-DC7DD5380BEF}"/>
              </a:ext>
            </a:extLst>
          </p:cNvPr>
          <p:cNvSpPr/>
          <p:nvPr userDrawn="1"/>
        </p:nvSpPr>
        <p:spPr>
          <a:xfrm>
            <a:off x="8789334" y="0"/>
            <a:ext cx="354666" cy="5715000"/>
          </a:xfrm>
          <a:prstGeom prst="rect">
            <a:avLst/>
          </a:prstGeom>
          <a:solidFill>
            <a:srgbClr val="DC00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it-IT" sz="1350" dirty="0">
              <a:solidFill>
                <a:srgbClr val="FFFFFF"/>
              </a:solidFill>
            </a:endParaRPr>
          </a:p>
        </p:txBody>
      </p:sp>
      <p:grpSp>
        <p:nvGrpSpPr>
          <p:cNvPr id="8"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8840262" y="75356"/>
            <a:ext cx="259620" cy="195357"/>
            <a:chOff x="-560" y="-1287"/>
            <a:chExt cx="6379" cy="4320"/>
          </a:xfrm>
        </p:grpSpPr>
        <p:sp>
          <p:nvSpPr>
            <p:cNvPr id="9"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685783"/>
              <a:endParaRPr lang="it-IT" sz="1350" dirty="0">
                <a:solidFill>
                  <a:srgbClr val="000000"/>
                </a:solidFill>
              </a:endParaRPr>
            </a:p>
          </p:txBody>
        </p:sp>
        <p:sp>
          <p:nvSpPr>
            <p:cNvPr id="10"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685783"/>
              <a:endParaRPr lang="it-IT" sz="1350" dirty="0">
                <a:solidFill>
                  <a:srgbClr val="000000"/>
                </a:solidFill>
              </a:endParaRPr>
            </a:p>
          </p:txBody>
        </p:sp>
        <p:sp>
          <p:nvSpPr>
            <p:cNvPr id="11"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685783"/>
              <a:endParaRPr lang="it-IT" sz="1350" dirty="0">
                <a:solidFill>
                  <a:srgbClr val="000000"/>
                </a:solidFill>
              </a:endParaRPr>
            </a:p>
          </p:txBody>
        </p:sp>
        <p:sp>
          <p:nvSpPr>
            <p:cNvPr id="12"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685783"/>
              <a:endParaRPr lang="it-IT" sz="1350" dirty="0">
                <a:solidFill>
                  <a:srgbClr val="000000"/>
                </a:solidFill>
              </a:endParaRPr>
            </a:p>
          </p:txBody>
        </p:sp>
        <p:sp>
          <p:nvSpPr>
            <p:cNvPr id="13"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685783"/>
              <a:endParaRPr lang="it-IT" sz="1350" dirty="0">
                <a:solidFill>
                  <a:srgbClr val="000000"/>
                </a:solidFill>
              </a:endParaRPr>
            </a:p>
          </p:txBody>
        </p:sp>
        <p:sp>
          <p:nvSpPr>
            <p:cNvPr id="14"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685783"/>
              <a:endParaRPr lang="it-IT" sz="1350" dirty="0">
                <a:solidFill>
                  <a:srgbClr val="000000"/>
                </a:solidFill>
              </a:endParaRPr>
            </a:p>
          </p:txBody>
        </p:sp>
      </p:grpSp>
      <p:sp>
        <p:nvSpPr>
          <p:cNvPr id="15"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8788628" y="5413256"/>
            <a:ext cx="354666" cy="192644"/>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5"/>
            <a:fld id="{B9D7DBFB-DCE9-42BC-A361-A0671D12ADFC}" type="slidenum">
              <a:rPr lang="it-IT" sz="750">
                <a:solidFill>
                  <a:srgbClr val="FFFFFF"/>
                </a:solidFill>
              </a:rPr>
              <a:pPr defTabSz="914355"/>
              <a:t>‹N›</a:t>
            </a:fld>
            <a:endParaRPr lang="it-IT" sz="750" dirty="0">
              <a:solidFill>
                <a:srgbClr val="FFFFFF"/>
              </a:solidFill>
            </a:endParaRPr>
          </a:p>
        </p:txBody>
      </p:sp>
      <p:sp>
        <p:nvSpPr>
          <p:cNvPr id="16"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7779088" y="5350800"/>
            <a:ext cx="908903" cy="92333"/>
          </a:xfrm>
          <a:prstGeom prst="rect">
            <a:avLst/>
          </a:prstGeom>
          <a:solidFill>
            <a:schemeClr val="bg1"/>
          </a:solidFill>
          <a:effectLst/>
        </p:spPr>
        <p:txBody>
          <a:bodyPr wrap="none" lIns="0" tIns="0" rIns="0" bIns="0" rtlCol="0" anchor="ctr">
            <a:spAutoFit/>
          </a:bodyPr>
          <a:lstStyle>
            <a:lvl1pPr algn="r">
              <a:defRPr lang="it-IT" sz="600" smtClean="0">
                <a:solidFill>
                  <a:schemeClr val="tx2"/>
                </a:solidFill>
                <a:effectLst/>
              </a:defRPr>
            </a:lvl1pPr>
          </a:lstStyle>
          <a:p>
            <a:pPr defTabSz="914355"/>
            <a:r>
              <a:rPr lang="it-IT">
                <a:solidFill>
                  <a:srgbClr val="DC002E"/>
                </a:solidFill>
              </a:rPr>
              <a:t>Formato data GG/MM/AAAA</a:t>
            </a:r>
            <a:endParaRPr lang="it-IT" dirty="0">
              <a:solidFill>
                <a:srgbClr val="DC002E"/>
              </a:solidFill>
            </a:endParaRPr>
          </a:p>
        </p:txBody>
      </p:sp>
      <p:sp>
        <p:nvSpPr>
          <p:cNvPr id="17"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2339069" y="5459998"/>
            <a:ext cx="6349277" cy="92333"/>
          </a:xfrm>
          <a:prstGeom prst="rect">
            <a:avLst/>
          </a:prstGeom>
          <a:noFill/>
        </p:spPr>
        <p:txBody>
          <a:bodyPr wrap="square" lIns="0" tIns="0" rIns="0" bIns="0" rtlCol="0">
            <a:spAutoFit/>
          </a:bodyPr>
          <a:lstStyle>
            <a:lvl1pPr>
              <a:defRPr lang="it-IT" sz="600" i="0">
                <a:solidFill>
                  <a:schemeClr val="bg2"/>
                </a:solidFill>
              </a:defRPr>
            </a:lvl1pPr>
          </a:lstStyle>
          <a:p>
            <a:pPr algn="r" defTabSz="914355"/>
            <a:r>
              <a:rPr lang="en-GB">
                <a:solidFill>
                  <a:srgbClr val="717073"/>
                </a:solidFill>
              </a:rPr>
              <a:t>Titolo presentazione   </a:t>
            </a:r>
            <a:r>
              <a:rPr lang="en-GB">
                <a:solidFill>
                  <a:srgbClr val="DC002E"/>
                </a:solidFill>
              </a:rPr>
              <a:t>I</a:t>
            </a:r>
            <a:r>
              <a:rPr lang="en-GB">
                <a:solidFill>
                  <a:srgbClr val="717073"/>
                </a:solidFill>
              </a:rPr>
              <a:t>   Nome relatore</a:t>
            </a:r>
            <a:endParaRPr lang="en-GB" dirty="0">
              <a:solidFill>
                <a:srgbClr val="717073"/>
              </a:solidFill>
            </a:endParaRPr>
          </a:p>
        </p:txBody>
      </p:sp>
      <p:pic>
        <p:nvPicPr>
          <p:cNvPr id="18" name="Immagine 17"/>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05992" y="5097930"/>
            <a:ext cx="711341" cy="447738"/>
          </a:xfrm>
          <a:prstGeom prst="rect">
            <a:avLst/>
          </a:prstGeom>
        </p:spPr>
      </p:pic>
    </p:spTree>
    <p:extLst>
      <p:ext uri="{BB962C8B-B14F-4D97-AF65-F5344CB8AC3E}">
        <p14:creationId xmlns:p14="http://schemas.microsoft.com/office/powerpoint/2010/main" val="300789256"/>
      </p:ext>
    </p:extLst>
  </p:cSld>
  <p:clrMapOvr>
    <a:masterClrMapping/>
  </p:clrMapOvr>
  <p:transition spd="slow">
    <p:wipe/>
  </p:transition>
  <p:hf hdr="0" ftr="0"/>
</p:sldLayout>
</file>

<file path=ppt/slideLayouts/slideLayout31.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2" name="Header 1"/>
          <p:cNvSpPr>
            <a:spLocks noGrp="1"/>
          </p:cNvSpPr>
          <p:nvPr>
            <p:ph type="title"/>
          </p:nvPr>
        </p:nvSpPr>
        <p:spPr>
          <a:xfrm>
            <a:off x="283250" y="356446"/>
            <a:ext cx="5098494" cy="1425786"/>
          </a:xfrm>
        </p:spPr>
        <p:txBody>
          <a:bodyPr/>
          <a:lstStyle/>
          <a:p>
            <a:r>
              <a:rPr lang="en-US" noProof="0"/>
              <a:t>Title</a:t>
            </a:r>
          </a:p>
        </p:txBody>
      </p:sp>
      <p:sp>
        <p:nvSpPr>
          <p:cNvPr id="3" name="Text 2"/>
          <p:cNvSpPr>
            <a:spLocks noGrp="1"/>
          </p:cNvSpPr>
          <p:nvPr>
            <p:ph type="body" idx="1"/>
          </p:nvPr>
        </p:nvSpPr>
        <p:spPr>
          <a:xfrm>
            <a:off x="283250" y="2049568"/>
            <a:ext cx="5098494" cy="5881370"/>
          </a:xfrm>
        </p:spPr>
        <p:txBody>
          <a:bodyPr/>
          <a:lstStyle/>
          <a:p>
            <a:pPr lvl="0"/>
            <a:r>
              <a:rPr lang="en-US" noProof="0"/>
              <a:t>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Holder 4"/>
          <p:cNvSpPr>
            <a:spLocks noGrp="1" noChangeArrowheads="1"/>
          </p:cNvSpPr>
          <p:nvPr>
            <p:ph type="ftr" sz="quarter" idx="10"/>
          </p:nvPr>
        </p:nvSpPr>
        <p:spPr/>
        <p:txBody>
          <a:bodyPr/>
          <a:lstStyle>
            <a:lvl1pPr>
              <a:defRPr/>
            </a:lvl1pPr>
          </a:lstStyle>
          <a:p>
            <a:pPr>
              <a:defRPr/>
            </a:pPr>
            <a:endParaRPr lang="it-IT" altLang="it-IT"/>
          </a:p>
        </p:txBody>
      </p:sp>
      <p:sp>
        <p:nvSpPr>
          <p:cNvPr id="5" name="Holder 5"/>
          <p:cNvSpPr>
            <a:spLocks noGrp="1" noChangeArrowheads="1"/>
          </p:cNvSpPr>
          <p:nvPr>
            <p:ph type="dt" sz="half" idx="11"/>
          </p:nvPr>
        </p:nvSpPr>
        <p:spPr>
          <a:xfrm>
            <a:off x="8248771" y="5335410"/>
            <a:ext cx="439223" cy="123111"/>
          </a:xfrm>
        </p:spPr>
        <p:txBody>
          <a:bodyPr/>
          <a:lstStyle>
            <a:lvl1pPr>
              <a:defRPr/>
            </a:lvl1pPr>
          </a:lstStyle>
          <a:p>
            <a:pPr>
              <a:defRPr/>
            </a:pPr>
            <a:fld id="{5AD0283A-7CE2-4034-ABE5-56968787D47E}" type="datetime1">
              <a:rPr lang="en-US" altLang="it-IT"/>
              <a:pPr>
                <a:defRPr/>
              </a:pPr>
              <a:t>10/3/2022</a:t>
            </a:fld>
            <a:endParaRPr lang="en-US" altLang="it-IT"/>
          </a:p>
        </p:txBody>
      </p:sp>
      <p:sp>
        <p:nvSpPr>
          <p:cNvPr id="6" name="Holder 6"/>
          <p:cNvSpPr>
            <a:spLocks noGrp="1"/>
          </p:cNvSpPr>
          <p:nvPr>
            <p:ph type="sldNum" sz="quarter" idx="12"/>
          </p:nvPr>
        </p:nvSpPr>
        <p:spPr>
          <a:xfrm>
            <a:off x="4079082" y="8286750"/>
            <a:ext cx="1302544" cy="445823"/>
          </a:xfrm>
          <a:prstGeom prst="rect">
            <a:avLst/>
          </a:prstGeom>
        </p:spPr>
        <p:txBody>
          <a:bodyPr/>
          <a:lstStyle>
            <a:lvl1pPr>
              <a:defRPr smtClean="0"/>
            </a:lvl1pPr>
          </a:lstStyle>
          <a:p>
            <a:pPr>
              <a:defRPr/>
            </a:pPr>
            <a:fld id="{6BA68CAB-D47F-4882-8260-1AA348F36B18}" type="slidenum">
              <a:rPr lang="ru-RU" altLang="it-IT"/>
              <a:pPr>
                <a:defRPr/>
              </a:pPr>
              <a:t>‹N›</a:t>
            </a:fld>
            <a:endParaRPr lang="ru-RU" altLang="it-IT"/>
          </a:p>
        </p:txBody>
      </p:sp>
    </p:spTree>
    <p:extLst>
      <p:ext uri="{BB962C8B-B14F-4D97-AF65-F5344CB8AC3E}">
        <p14:creationId xmlns:p14="http://schemas.microsoft.com/office/powerpoint/2010/main" val="950398710"/>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olo Sott. e contenuto testo 20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305526" y="0"/>
            <a:ext cx="8382465" cy="721973"/>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305526" y="721973"/>
            <a:ext cx="8382465" cy="325778"/>
          </a:xfrm>
          <a:prstGeom prst="rect">
            <a:avLst/>
          </a:prstGeom>
        </p:spPr>
        <p:txBody>
          <a:bodyPr vert="horz" lIns="0" tIns="45720" rIns="91440" bIns="45720" rtlCol="0">
            <a:normAutofit/>
          </a:bodyPr>
          <a:lstStyle>
            <a:lvl1pPr>
              <a:spcBef>
                <a:spcPts val="900"/>
              </a:spcBef>
              <a:defRPr lang="it-IT" sz="15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11"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305526" y="1314979"/>
            <a:ext cx="8382466" cy="3522928"/>
          </a:xfrm>
          <a:prstGeom prst="rect">
            <a:avLst/>
          </a:prstGeom>
        </p:spPr>
        <p:txBody>
          <a:bodyPr/>
          <a:lstStyle>
            <a:lvl1pPr marL="0" indent="0">
              <a:buClr>
                <a:schemeClr val="tx2"/>
              </a:buClr>
              <a:buSzPct val="140000"/>
              <a:buFontTx/>
              <a:buNone/>
              <a:defRPr sz="1500"/>
            </a:lvl1pPr>
            <a:lvl2pPr marL="339328" indent="0">
              <a:buClr>
                <a:schemeClr val="tx2"/>
              </a:buClr>
              <a:buSzPct val="140000"/>
              <a:buFontTx/>
              <a:buNone/>
              <a:defRPr sz="1350"/>
            </a:lvl2pPr>
            <a:lvl3pPr marL="671513" indent="0">
              <a:buClr>
                <a:schemeClr val="tx2"/>
              </a:buClr>
              <a:buSzPct val="140000"/>
              <a:buFontTx/>
              <a:buNone/>
              <a:defRPr sz="1200"/>
            </a:lvl3pPr>
            <a:lvl4pPr marL="1007269" indent="0">
              <a:buClr>
                <a:schemeClr val="tx2"/>
              </a:buClr>
              <a:buSzPct val="140000"/>
              <a:buFontTx/>
              <a:buNone/>
              <a:defRPr sz="1050"/>
            </a:lvl4pPr>
            <a:lvl5pPr marL="1346597" indent="0">
              <a:buClr>
                <a:schemeClr val="tx2"/>
              </a:buClr>
              <a:buSzPct val="140000"/>
              <a:buFontTx/>
              <a:buNone/>
              <a:defRPr sz="900"/>
            </a:lvl5pPr>
          </a:lstStyle>
          <a:p>
            <a:pPr lvl="0"/>
            <a:r>
              <a:rPr lang="it-IT" dirty="0"/>
              <a:t>Testo Calibri 20pt</a:t>
            </a:r>
          </a:p>
          <a:p>
            <a:pPr lvl="1"/>
            <a:r>
              <a:rPr lang="it-IT" dirty="0"/>
              <a:t>Secondo livello 18pt</a:t>
            </a:r>
          </a:p>
          <a:p>
            <a:pPr lvl="2"/>
            <a:r>
              <a:rPr lang="it-IT" dirty="0"/>
              <a:t>Terzo livello 16pt</a:t>
            </a:r>
          </a:p>
          <a:p>
            <a:pPr lvl="3"/>
            <a:r>
              <a:rPr lang="it-IT" dirty="0"/>
              <a:t>Quarto livello 14pt</a:t>
            </a:r>
          </a:p>
          <a:p>
            <a:pPr lvl="4"/>
            <a:r>
              <a:rPr lang="it-IT" dirty="0"/>
              <a:t>Quinto livello 12pt</a:t>
            </a:r>
          </a:p>
        </p:txBody>
      </p:sp>
      <p:sp>
        <p:nvSpPr>
          <p:cNvPr id="9"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8184647" y="5350798"/>
            <a:ext cx="503344" cy="92333"/>
          </a:xfrm>
          <a:prstGeom prst="rect">
            <a:avLst/>
          </a:prstGeom>
          <a:solidFill>
            <a:schemeClr val="bg1"/>
          </a:solidFill>
          <a:effectLst/>
        </p:spPr>
        <p:txBody>
          <a:bodyPr wrap="none" lIns="0" tIns="0" rIns="0" bIns="0" rtlCol="0" anchor="ctr">
            <a:spAutoFit/>
          </a:bodyPr>
          <a:lstStyle>
            <a:lvl1pPr algn="r">
              <a:defRPr lang="it-IT" sz="600" smtClean="0">
                <a:solidFill>
                  <a:schemeClr val="tx2"/>
                </a:solidFill>
                <a:effectLst/>
              </a:defRPr>
            </a:lvl1pPr>
          </a:lstStyle>
          <a:p>
            <a:pPr defTabSz="914378"/>
            <a:r>
              <a:rPr lang="it-IT">
                <a:solidFill>
                  <a:srgbClr val="DC002E"/>
                </a:solidFill>
              </a:rPr>
              <a:t>27 ottobre 2020</a:t>
            </a:r>
            <a:endParaRPr lang="it-IT" dirty="0">
              <a:solidFill>
                <a:srgbClr val="DC002E"/>
              </a:solidFill>
            </a:endParaRPr>
          </a:p>
        </p:txBody>
      </p:sp>
      <p:sp>
        <p:nvSpPr>
          <p:cNvPr id="10"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2339068" y="5459996"/>
            <a:ext cx="6349277" cy="92333"/>
          </a:xfrm>
          <a:prstGeom prst="rect">
            <a:avLst/>
          </a:prstGeom>
          <a:noFill/>
        </p:spPr>
        <p:txBody>
          <a:bodyPr wrap="square" lIns="0" tIns="0" rIns="0" bIns="0" rtlCol="0">
            <a:spAutoFit/>
          </a:bodyPr>
          <a:lstStyle>
            <a:lvl1pPr>
              <a:defRPr lang="it-IT" sz="600" i="0">
                <a:solidFill>
                  <a:schemeClr val="bg2"/>
                </a:solidFill>
              </a:defRPr>
            </a:lvl1pPr>
          </a:lstStyle>
          <a:p>
            <a:pPr algn="r" defTabSz="914378"/>
            <a:endParaRPr lang="en-GB" dirty="0">
              <a:solidFill>
                <a:srgbClr val="717073"/>
              </a:solidFill>
            </a:endParaRPr>
          </a:p>
        </p:txBody>
      </p:sp>
    </p:spTree>
    <p:extLst>
      <p:ext uri="{BB962C8B-B14F-4D97-AF65-F5344CB8AC3E}">
        <p14:creationId xmlns:p14="http://schemas.microsoft.com/office/powerpoint/2010/main" val="2004149945"/>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Titolo Sott. e contenuto testo Bullet Point 20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305526" y="0"/>
            <a:ext cx="8382465" cy="721973"/>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305526" y="721973"/>
            <a:ext cx="8382465" cy="325778"/>
          </a:xfrm>
          <a:prstGeom prst="rect">
            <a:avLst/>
          </a:prstGeom>
        </p:spPr>
        <p:txBody>
          <a:bodyPr vert="horz" lIns="0" tIns="45720" rIns="91440" bIns="45720" rtlCol="0">
            <a:normAutofit/>
          </a:bodyPr>
          <a:lstStyle>
            <a:lvl1pPr>
              <a:spcBef>
                <a:spcPts val="900"/>
              </a:spcBef>
              <a:defRPr lang="it-IT" sz="15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5"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305526" y="1314979"/>
            <a:ext cx="8382465" cy="3522928"/>
          </a:xfrm>
          <a:prstGeom prst="rect">
            <a:avLst/>
          </a:prstGeom>
        </p:spPr>
        <p:txBody>
          <a:bodyPr/>
          <a:lstStyle>
            <a:lvl1pPr marL="136922" indent="-136922">
              <a:buClr>
                <a:schemeClr val="tx2"/>
              </a:buClr>
              <a:buSzPct val="140000"/>
              <a:buFont typeface="Arial" panose="020B0604020202020204" pitchFamily="34" charset="0"/>
              <a:buChar char="•"/>
              <a:defRPr sz="1500"/>
            </a:lvl1pPr>
            <a:lvl2pPr marL="471488" indent="-132160">
              <a:buClr>
                <a:schemeClr val="tx2"/>
              </a:buClr>
              <a:buSzPct val="140000"/>
              <a:buFont typeface="Arial" panose="020B0604020202020204" pitchFamily="34" charset="0"/>
              <a:buChar char="•"/>
              <a:defRPr sz="1350"/>
            </a:lvl2pPr>
            <a:lvl3pPr marL="807244" indent="-135731">
              <a:buClr>
                <a:schemeClr val="tx2"/>
              </a:buClr>
              <a:buSzPct val="140000"/>
              <a:buFont typeface="Arial" panose="020B0604020202020204" pitchFamily="34" charset="0"/>
              <a:buChar char="•"/>
              <a:defRPr sz="1200"/>
            </a:lvl3pPr>
            <a:lvl4pPr marL="1143000" indent="-135731">
              <a:buClr>
                <a:schemeClr val="tx2"/>
              </a:buClr>
              <a:buSzPct val="140000"/>
              <a:buFont typeface="Arial" panose="020B0604020202020204" pitchFamily="34" charset="0"/>
              <a:buChar char="•"/>
              <a:defRPr sz="1050"/>
            </a:lvl4pPr>
            <a:lvl5pPr marL="1478756" indent="-132160">
              <a:buClr>
                <a:schemeClr val="tx2"/>
              </a:buClr>
              <a:buSzPct val="140000"/>
              <a:buFont typeface="Arial" panose="020B0604020202020204" pitchFamily="34" charset="0"/>
              <a:buChar char="•"/>
              <a:defRPr sz="900"/>
            </a:lvl5pPr>
          </a:lstStyle>
          <a:p>
            <a:pPr lvl="0"/>
            <a:r>
              <a:rPr lang="it-IT" dirty="0"/>
              <a:t>Testo Calibri 20pt</a:t>
            </a:r>
          </a:p>
          <a:p>
            <a:pPr lvl="1"/>
            <a:r>
              <a:rPr lang="it-IT" dirty="0"/>
              <a:t>Secondo livello 18pt</a:t>
            </a:r>
          </a:p>
          <a:p>
            <a:pPr lvl="2"/>
            <a:r>
              <a:rPr lang="it-IT" dirty="0"/>
              <a:t>Terzo livello 16pt</a:t>
            </a:r>
          </a:p>
          <a:p>
            <a:pPr lvl="3"/>
            <a:r>
              <a:rPr lang="it-IT" dirty="0"/>
              <a:t>Quarto livello 14pt</a:t>
            </a:r>
          </a:p>
          <a:p>
            <a:pPr lvl="4"/>
            <a:r>
              <a:rPr lang="it-IT" dirty="0"/>
              <a:t>Quinto livello 12pt</a:t>
            </a:r>
          </a:p>
        </p:txBody>
      </p:sp>
      <p:sp>
        <p:nvSpPr>
          <p:cNvPr id="6"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8184647" y="5350798"/>
            <a:ext cx="503344" cy="92333"/>
          </a:xfrm>
          <a:prstGeom prst="rect">
            <a:avLst/>
          </a:prstGeom>
          <a:solidFill>
            <a:schemeClr val="bg1"/>
          </a:solidFill>
          <a:effectLst/>
        </p:spPr>
        <p:txBody>
          <a:bodyPr wrap="none" lIns="0" tIns="0" rIns="0" bIns="0" rtlCol="0" anchor="ctr">
            <a:spAutoFit/>
          </a:bodyPr>
          <a:lstStyle>
            <a:lvl1pPr algn="r">
              <a:defRPr lang="it-IT" sz="600" smtClean="0">
                <a:solidFill>
                  <a:schemeClr val="tx2"/>
                </a:solidFill>
                <a:effectLst/>
              </a:defRPr>
            </a:lvl1pPr>
          </a:lstStyle>
          <a:p>
            <a:pPr defTabSz="914378"/>
            <a:r>
              <a:rPr lang="it-IT">
                <a:solidFill>
                  <a:srgbClr val="DC002E"/>
                </a:solidFill>
              </a:rPr>
              <a:t>27 ottobre 2020</a:t>
            </a:r>
            <a:endParaRPr lang="it-IT" dirty="0">
              <a:solidFill>
                <a:srgbClr val="DC002E"/>
              </a:solidFill>
            </a:endParaRPr>
          </a:p>
        </p:txBody>
      </p:sp>
      <p:sp>
        <p:nvSpPr>
          <p:cNvPr id="7"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2339068" y="5459996"/>
            <a:ext cx="6349277" cy="92333"/>
          </a:xfrm>
          <a:prstGeom prst="rect">
            <a:avLst/>
          </a:prstGeom>
          <a:noFill/>
        </p:spPr>
        <p:txBody>
          <a:bodyPr wrap="square" lIns="0" tIns="0" rIns="0" bIns="0" rtlCol="0">
            <a:spAutoFit/>
          </a:bodyPr>
          <a:lstStyle>
            <a:lvl1pPr>
              <a:defRPr lang="it-IT" sz="600" i="0">
                <a:solidFill>
                  <a:schemeClr val="bg2"/>
                </a:solidFill>
              </a:defRPr>
            </a:lvl1pPr>
          </a:lstStyle>
          <a:p>
            <a:pPr algn="r" defTabSz="914378"/>
            <a:endParaRPr lang="en-GB" dirty="0">
              <a:solidFill>
                <a:srgbClr val="717073"/>
              </a:solidFill>
            </a:endParaRPr>
          </a:p>
        </p:txBody>
      </p:sp>
    </p:spTree>
    <p:extLst>
      <p:ext uri="{BB962C8B-B14F-4D97-AF65-F5344CB8AC3E}">
        <p14:creationId xmlns:p14="http://schemas.microsoft.com/office/powerpoint/2010/main" val="3434910689"/>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Titolo e contenuto testo 20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305526" y="0"/>
            <a:ext cx="8382465" cy="721973"/>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11"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305526" y="1000125"/>
            <a:ext cx="8382466" cy="3837783"/>
          </a:xfrm>
          <a:prstGeom prst="rect">
            <a:avLst/>
          </a:prstGeom>
        </p:spPr>
        <p:txBody>
          <a:bodyPr/>
          <a:lstStyle>
            <a:lvl1pPr marL="0" indent="0">
              <a:buClr>
                <a:schemeClr val="tx2"/>
              </a:buClr>
              <a:buSzPct val="140000"/>
              <a:buFontTx/>
              <a:buNone/>
              <a:defRPr sz="1500"/>
            </a:lvl1pPr>
            <a:lvl2pPr marL="339328" indent="0">
              <a:buClr>
                <a:schemeClr val="tx2"/>
              </a:buClr>
              <a:buSzPct val="140000"/>
              <a:buFontTx/>
              <a:buNone/>
              <a:defRPr sz="1350"/>
            </a:lvl2pPr>
            <a:lvl3pPr marL="671513" indent="0">
              <a:buClr>
                <a:schemeClr val="tx2"/>
              </a:buClr>
              <a:buSzPct val="140000"/>
              <a:buFontTx/>
              <a:buNone/>
              <a:defRPr sz="1200"/>
            </a:lvl3pPr>
            <a:lvl4pPr marL="1007269" indent="0">
              <a:buClr>
                <a:schemeClr val="tx2"/>
              </a:buClr>
              <a:buSzPct val="140000"/>
              <a:buFontTx/>
              <a:buNone/>
              <a:defRPr sz="1050"/>
            </a:lvl4pPr>
            <a:lvl5pPr marL="1346597" indent="0">
              <a:buClr>
                <a:schemeClr val="tx2"/>
              </a:buClr>
              <a:buSzPct val="140000"/>
              <a:buFontTx/>
              <a:buNone/>
              <a:defRPr sz="900"/>
            </a:lvl5pPr>
          </a:lstStyle>
          <a:p>
            <a:pPr lvl="0"/>
            <a:r>
              <a:rPr lang="it-IT" dirty="0"/>
              <a:t>Testo Calibri 20pt</a:t>
            </a:r>
          </a:p>
          <a:p>
            <a:pPr lvl="1"/>
            <a:r>
              <a:rPr lang="it-IT" dirty="0"/>
              <a:t>Secondo livello 18pt</a:t>
            </a:r>
          </a:p>
          <a:p>
            <a:pPr lvl="2"/>
            <a:r>
              <a:rPr lang="it-IT" dirty="0"/>
              <a:t>Terzo livello 16pt</a:t>
            </a:r>
          </a:p>
          <a:p>
            <a:pPr lvl="3"/>
            <a:r>
              <a:rPr lang="it-IT" dirty="0"/>
              <a:t>Quarto livello 14pt</a:t>
            </a:r>
          </a:p>
          <a:p>
            <a:pPr lvl="4"/>
            <a:r>
              <a:rPr lang="it-IT" dirty="0"/>
              <a:t>Quinto livello 12pt</a:t>
            </a:r>
          </a:p>
        </p:txBody>
      </p:sp>
      <p:sp>
        <p:nvSpPr>
          <p:cNvPr id="9"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8184647" y="5350798"/>
            <a:ext cx="503344" cy="92333"/>
          </a:xfrm>
          <a:prstGeom prst="rect">
            <a:avLst/>
          </a:prstGeom>
          <a:solidFill>
            <a:schemeClr val="bg1"/>
          </a:solidFill>
          <a:effectLst/>
        </p:spPr>
        <p:txBody>
          <a:bodyPr wrap="none" lIns="0" tIns="0" rIns="0" bIns="0" rtlCol="0" anchor="ctr">
            <a:spAutoFit/>
          </a:bodyPr>
          <a:lstStyle>
            <a:lvl1pPr algn="r">
              <a:defRPr lang="it-IT" sz="600" smtClean="0">
                <a:solidFill>
                  <a:schemeClr val="tx2"/>
                </a:solidFill>
                <a:effectLst/>
              </a:defRPr>
            </a:lvl1pPr>
          </a:lstStyle>
          <a:p>
            <a:pPr defTabSz="914378"/>
            <a:r>
              <a:rPr lang="it-IT">
                <a:solidFill>
                  <a:srgbClr val="DC002E"/>
                </a:solidFill>
              </a:rPr>
              <a:t>27 ottobre 2020</a:t>
            </a:r>
            <a:endParaRPr lang="it-IT" dirty="0">
              <a:solidFill>
                <a:srgbClr val="DC002E"/>
              </a:solidFill>
            </a:endParaRPr>
          </a:p>
        </p:txBody>
      </p:sp>
      <p:sp>
        <p:nvSpPr>
          <p:cNvPr id="10"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2339068" y="5459996"/>
            <a:ext cx="6349277" cy="92333"/>
          </a:xfrm>
          <a:prstGeom prst="rect">
            <a:avLst/>
          </a:prstGeom>
          <a:noFill/>
        </p:spPr>
        <p:txBody>
          <a:bodyPr wrap="square" lIns="0" tIns="0" rIns="0" bIns="0" rtlCol="0">
            <a:spAutoFit/>
          </a:bodyPr>
          <a:lstStyle>
            <a:lvl1pPr>
              <a:defRPr lang="it-IT" sz="600" i="0">
                <a:solidFill>
                  <a:schemeClr val="bg2"/>
                </a:solidFill>
              </a:defRPr>
            </a:lvl1pPr>
          </a:lstStyle>
          <a:p>
            <a:pPr algn="r" defTabSz="914378"/>
            <a:endParaRPr lang="en-GB" dirty="0">
              <a:solidFill>
                <a:srgbClr val="717073"/>
              </a:solidFill>
            </a:endParaRPr>
          </a:p>
        </p:txBody>
      </p:sp>
    </p:spTree>
    <p:extLst>
      <p:ext uri="{BB962C8B-B14F-4D97-AF65-F5344CB8AC3E}">
        <p14:creationId xmlns:p14="http://schemas.microsoft.com/office/powerpoint/2010/main" val="537001879"/>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Titolo Sott. ">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305526" y="0"/>
            <a:ext cx="8382465" cy="721973"/>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305526" y="721973"/>
            <a:ext cx="8382465" cy="325778"/>
          </a:xfrm>
          <a:prstGeom prst="rect">
            <a:avLst/>
          </a:prstGeom>
        </p:spPr>
        <p:txBody>
          <a:bodyPr vert="horz" lIns="0" tIns="45720" rIns="91440" bIns="45720" rtlCol="0">
            <a:normAutofit/>
          </a:bodyPr>
          <a:lstStyle>
            <a:lvl1pPr>
              <a:spcBef>
                <a:spcPts val="900"/>
              </a:spcBef>
              <a:defRPr lang="it-IT" sz="15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4"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8184647" y="5350798"/>
            <a:ext cx="503344" cy="92333"/>
          </a:xfrm>
          <a:prstGeom prst="rect">
            <a:avLst/>
          </a:prstGeom>
          <a:solidFill>
            <a:schemeClr val="bg1"/>
          </a:solidFill>
          <a:effectLst/>
        </p:spPr>
        <p:txBody>
          <a:bodyPr wrap="none" lIns="0" tIns="0" rIns="0" bIns="0" rtlCol="0" anchor="ctr">
            <a:spAutoFit/>
          </a:bodyPr>
          <a:lstStyle>
            <a:lvl1pPr algn="r">
              <a:defRPr lang="it-IT" sz="600" smtClean="0">
                <a:solidFill>
                  <a:schemeClr val="tx2"/>
                </a:solidFill>
                <a:effectLst/>
              </a:defRPr>
            </a:lvl1pPr>
          </a:lstStyle>
          <a:p>
            <a:pPr defTabSz="914378"/>
            <a:r>
              <a:rPr lang="it-IT">
                <a:solidFill>
                  <a:srgbClr val="DC002E"/>
                </a:solidFill>
              </a:rPr>
              <a:t>27 ottobre 2020</a:t>
            </a:r>
            <a:endParaRPr lang="it-IT" dirty="0">
              <a:solidFill>
                <a:srgbClr val="DC002E"/>
              </a:solidFill>
            </a:endParaRPr>
          </a:p>
        </p:txBody>
      </p:sp>
      <p:sp>
        <p:nvSpPr>
          <p:cNvPr id="5"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2339068" y="5459996"/>
            <a:ext cx="6349277" cy="92333"/>
          </a:xfrm>
          <a:prstGeom prst="rect">
            <a:avLst/>
          </a:prstGeom>
          <a:noFill/>
        </p:spPr>
        <p:txBody>
          <a:bodyPr wrap="square" lIns="0" tIns="0" rIns="0" bIns="0" rtlCol="0">
            <a:spAutoFit/>
          </a:bodyPr>
          <a:lstStyle>
            <a:lvl1pPr>
              <a:defRPr lang="it-IT" sz="600" i="0">
                <a:solidFill>
                  <a:schemeClr val="bg2"/>
                </a:solidFill>
              </a:defRPr>
            </a:lvl1pPr>
          </a:lstStyle>
          <a:p>
            <a:pPr algn="r" defTabSz="914378"/>
            <a:endParaRPr lang="en-GB" dirty="0">
              <a:solidFill>
                <a:srgbClr val="717073"/>
              </a:solidFill>
            </a:endParaRPr>
          </a:p>
        </p:txBody>
      </p:sp>
    </p:spTree>
    <p:extLst>
      <p:ext uri="{BB962C8B-B14F-4D97-AF65-F5344CB8AC3E}">
        <p14:creationId xmlns:p14="http://schemas.microsoft.com/office/powerpoint/2010/main" val="1447711508"/>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_Titolo Sott. e contenuto testo 18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305526" y="0"/>
            <a:ext cx="8382465" cy="721973"/>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305526" y="721973"/>
            <a:ext cx="8382465" cy="325778"/>
          </a:xfrm>
          <a:prstGeom prst="rect">
            <a:avLst/>
          </a:prstGeom>
        </p:spPr>
        <p:txBody>
          <a:bodyPr vert="horz" lIns="0" tIns="45720" rIns="91440" bIns="45720" rtlCol="0">
            <a:normAutofit/>
          </a:bodyPr>
          <a:lstStyle>
            <a:lvl1pPr>
              <a:spcBef>
                <a:spcPts val="900"/>
              </a:spcBef>
              <a:defRPr lang="it-IT" sz="15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12"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305526" y="1334821"/>
            <a:ext cx="8382465" cy="3570553"/>
          </a:xfrm>
          <a:prstGeom prst="rect">
            <a:avLst/>
          </a:prstGeom>
        </p:spPr>
        <p:txBody>
          <a:bodyPr/>
          <a:lstStyle>
            <a:lvl1pPr marL="0" indent="0">
              <a:buClr>
                <a:schemeClr val="tx2"/>
              </a:buClr>
              <a:buSzPct val="140000"/>
              <a:buFontTx/>
              <a:buNone/>
              <a:defRPr sz="1350"/>
            </a:lvl1pPr>
            <a:lvl2pPr marL="339328" indent="0">
              <a:buClr>
                <a:schemeClr val="tx2"/>
              </a:buClr>
              <a:buSzPct val="140000"/>
              <a:buFontTx/>
              <a:buNone/>
              <a:defRPr sz="1200"/>
            </a:lvl2pPr>
            <a:lvl3pPr marL="671513" indent="0">
              <a:buClr>
                <a:schemeClr val="tx2"/>
              </a:buClr>
              <a:buSzPct val="140000"/>
              <a:buFontTx/>
              <a:buNone/>
              <a:defRPr sz="1050"/>
            </a:lvl3pPr>
            <a:lvl4pPr marL="1007269" indent="0">
              <a:buClr>
                <a:schemeClr val="tx2"/>
              </a:buClr>
              <a:buSzPct val="140000"/>
              <a:buFontTx/>
              <a:buNone/>
              <a:defRPr sz="900"/>
            </a:lvl4pPr>
            <a:lvl5pPr marL="1346597" indent="0">
              <a:buClr>
                <a:schemeClr val="tx2"/>
              </a:buClr>
              <a:buSzPct val="140000"/>
              <a:buFontTx/>
              <a:buNone/>
              <a:defRPr sz="825"/>
            </a:lvl5pPr>
          </a:lstStyle>
          <a:p>
            <a:pPr lvl="0"/>
            <a:r>
              <a:rPr lang="it-IT" dirty="0"/>
              <a:t>Testo Calibri 18pt</a:t>
            </a:r>
          </a:p>
          <a:p>
            <a:pPr lvl="1"/>
            <a:r>
              <a:rPr lang="it-IT" dirty="0"/>
              <a:t>Secondo livello 16pt</a:t>
            </a:r>
          </a:p>
          <a:p>
            <a:pPr lvl="2"/>
            <a:r>
              <a:rPr lang="it-IT" dirty="0"/>
              <a:t>Terzo livello 14pt</a:t>
            </a:r>
          </a:p>
          <a:p>
            <a:pPr lvl="3"/>
            <a:r>
              <a:rPr lang="it-IT" dirty="0"/>
              <a:t>Quarto livello 12pt</a:t>
            </a:r>
          </a:p>
          <a:p>
            <a:pPr lvl="4"/>
            <a:r>
              <a:rPr lang="it-IT" dirty="0"/>
              <a:t>Quinto livello 11pt</a:t>
            </a:r>
          </a:p>
        </p:txBody>
      </p:sp>
      <p:sp>
        <p:nvSpPr>
          <p:cNvPr id="5"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8184647" y="5350798"/>
            <a:ext cx="503344" cy="92333"/>
          </a:xfrm>
          <a:prstGeom prst="rect">
            <a:avLst/>
          </a:prstGeom>
          <a:solidFill>
            <a:schemeClr val="bg1"/>
          </a:solidFill>
          <a:effectLst/>
        </p:spPr>
        <p:txBody>
          <a:bodyPr wrap="none" lIns="0" tIns="0" rIns="0" bIns="0" rtlCol="0" anchor="ctr">
            <a:spAutoFit/>
          </a:bodyPr>
          <a:lstStyle>
            <a:lvl1pPr algn="r">
              <a:defRPr lang="it-IT" sz="600" smtClean="0">
                <a:solidFill>
                  <a:schemeClr val="tx2"/>
                </a:solidFill>
                <a:effectLst/>
              </a:defRPr>
            </a:lvl1pPr>
          </a:lstStyle>
          <a:p>
            <a:pPr defTabSz="914378"/>
            <a:r>
              <a:rPr lang="it-IT">
                <a:solidFill>
                  <a:srgbClr val="DC002E"/>
                </a:solidFill>
              </a:rPr>
              <a:t>27 ottobre 2020</a:t>
            </a:r>
            <a:endParaRPr lang="it-IT" dirty="0">
              <a:solidFill>
                <a:srgbClr val="DC002E"/>
              </a:solidFill>
            </a:endParaRPr>
          </a:p>
        </p:txBody>
      </p:sp>
      <p:sp>
        <p:nvSpPr>
          <p:cNvPr id="6"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2339068" y="5459996"/>
            <a:ext cx="6349277" cy="92333"/>
          </a:xfrm>
          <a:prstGeom prst="rect">
            <a:avLst/>
          </a:prstGeom>
          <a:noFill/>
        </p:spPr>
        <p:txBody>
          <a:bodyPr wrap="square" lIns="0" tIns="0" rIns="0" bIns="0" rtlCol="0">
            <a:spAutoFit/>
          </a:bodyPr>
          <a:lstStyle>
            <a:lvl1pPr>
              <a:defRPr lang="it-IT" sz="600" i="0">
                <a:solidFill>
                  <a:schemeClr val="bg2"/>
                </a:solidFill>
              </a:defRPr>
            </a:lvl1pPr>
          </a:lstStyle>
          <a:p>
            <a:pPr algn="r" defTabSz="914378"/>
            <a:endParaRPr lang="en-GB" dirty="0">
              <a:solidFill>
                <a:srgbClr val="717073"/>
              </a:solidFill>
            </a:endParaRPr>
          </a:p>
        </p:txBody>
      </p:sp>
    </p:spTree>
    <p:extLst>
      <p:ext uri="{BB962C8B-B14F-4D97-AF65-F5344CB8AC3E}">
        <p14:creationId xmlns:p14="http://schemas.microsoft.com/office/powerpoint/2010/main" val="3857348798"/>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_Titolo Sott. e contenuto testo Bullet Point 18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305526" y="0"/>
            <a:ext cx="8382465" cy="721973"/>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305526" y="721973"/>
            <a:ext cx="8382465" cy="325778"/>
          </a:xfrm>
          <a:prstGeom prst="rect">
            <a:avLst/>
          </a:prstGeom>
        </p:spPr>
        <p:txBody>
          <a:bodyPr vert="horz" lIns="0" tIns="45720" rIns="91440" bIns="45720" rtlCol="0">
            <a:normAutofit/>
          </a:bodyPr>
          <a:lstStyle>
            <a:lvl1pPr>
              <a:spcBef>
                <a:spcPts val="900"/>
              </a:spcBef>
              <a:defRPr lang="it-IT" sz="15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11"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305526" y="1334821"/>
            <a:ext cx="8382465" cy="3503086"/>
          </a:xfrm>
          <a:prstGeom prst="rect">
            <a:avLst/>
          </a:prstGeom>
        </p:spPr>
        <p:txBody>
          <a:bodyPr/>
          <a:lstStyle>
            <a:lvl1pPr marL="136922" indent="-136922">
              <a:buClr>
                <a:schemeClr val="tx2"/>
              </a:buClr>
              <a:buSzPct val="140000"/>
              <a:buFont typeface="Arial" panose="020B0604020202020204" pitchFamily="34" charset="0"/>
              <a:buChar char="•"/>
              <a:defRPr sz="1350"/>
            </a:lvl1pPr>
            <a:lvl2pPr marL="471488" indent="-132160">
              <a:buClr>
                <a:schemeClr val="tx2"/>
              </a:buClr>
              <a:buSzPct val="140000"/>
              <a:buFont typeface="Arial" panose="020B0604020202020204" pitchFamily="34" charset="0"/>
              <a:buChar char="•"/>
              <a:defRPr sz="1200"/>
            </a:lvl2pPr>
            <a:lvl3pPr marL="807244" indent="-135731">
              <a:buClr>
                <a:schemeClr val="tx2"/>
              </a:buClr>
              <a:buSzPct val="140000"/>
              <a:buFont typeface="Arial" panose="020B0604020202020204" pitchFamily="34" charset="0"/>
              <a:buChar char="•"/>
              <a:defRPr sz="1050"/>
            </a:lvl3pPr>
            <a:lvl4pPr marL="1143000" indent="-135731">
              <a:buClr>
                <a:schemeClr val="tx2"/>
              </a:buClr>
              <a:buSzPct val="140000"/>
              <a:buFont typeface="Arial" panose="020B0604020202020204" pitchFamily="34" charset="0"/>
              <a:buChar char="•"/>
              <a:defRPr sz="900"/>
            </a:lvl4pPr>
            <a:lvl5pPr marL="1478756" indent="-132160">
              <a:buClr>
                <a:schemeClr val="tx2"/>
              </a:buClr>
              <a:buSzPct val="140000"/>
              <a:buFont typeface="Arial" panose="020B0604020202020204" pitchFamily="34" charset="0"/>
              <a:buChar char="•"/>
              <a:defRPr sz="825"/>
            </a:lvl5pPr>
          </a:lstStyle>
          <a:p>
            <a:pPr lvl="0"/>
            <a:r>
              <a:rPr lang="it-IT" dirty="0"/>
              <a:t>Testo Calibri 18pt</a:t>
            </a:r>
          </a:p>
          <a:p>
            <a:pPr lvl="1"/>
            <a:r>
              <a:rPr lang="it-IT" dirty="0"/>
              <a:t>Secondo livello 16pt</a:t>
            </a:r>
          </a:p>
          <a:p>
            <a:pPr lvl="2"/>
            <a:r>
              <a:rPr lang="it-IT" dirty="0"/>
              <a:t>Terzo livello 14pt</a:t>
            </a:r>
          </a:p>
          <a:p>
            <a:pPr lvl="3"/>
            <a:r>
              <a:rPr lang="it-IT" dirty="0"/>
              <a:t>Quarto livello 12pt</a:t>
            </a:r>
          </a:p>
          <a:p>
            <a:pPr lvl="4"/>
            <a:r>
              <a:rPr lang="it-IT" dirty="0"/>
              <a:t>Quinto livello 11pt</a:t>
            </a:r>
          </a:p>
        </p:txBody>
      </p:sp>
      <p:sp>
        <p:nvSpPr>
          <p:cNvPr id="5"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8184647" y="5350798"/>
            <a:ext cx="503344" cy="92333"/>
          </a:xfrm>
          <a:prstGeom prst="rect">
            <a:avLst/>
          </a:prstGeom>
          <a:solidFill>
            <a:schemeClr val="bg1"/>
          </a:solidFill>
          <a:effectLst/>
        </p:spPr>
        <p:txBody>
          <a:bodyPr wrap="none" lIns="0" tIns="0" rIns="0" bIns="0" rtlCol="0" anchor="ctr">
            <a:spAutoFit/>
          </a:bodyPr>
          <a:lstStyle>
            <a:lvl1pPr algn="r">
              <a:defRPr lang="it-IT" sz="600" smtClean="0">
                <a:solidFill>
                  <a:schemeClr val="tx2"/>
                </a:solidFill>
                <a:effectLst/>
              </a:defRPr>
            </a:lvl1pPr>
          </a:lstStyle>
          <a:p>
            <a:pPr defTabSz="914378"/>
            <a:r>
              <a:rPr lang="it-IT">
                <a:solidFill>
                  <a:srgbClr val="DC002E"/>
                </a:solidFill>
              </a:rPr>
              <a:t>27 ottobre 2020</a:t>
            </a:r>
            <a:endParaRPr lang="it-IT" dirty="0">
              <a:solidFill>
                <a:srgbClr val="DC002E"/>
              </a:solidFill>
            </a:endParaRPr>
          </a:p>
        </p:txBody>
      </p:sp>
      <p:sp>
        <p:nvSpPr>
          <p:cNvPr id="6"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2339068" y="5459996"/>
            <a:ext cx="6349277" cy="92333"/>
          </a:xfrm>
          <a:prstGeom prst="rect">
            <a:avLst/>
          </a:prstGeom>
          <a:noFill/>
        </p:spPr>
        <p:txBody>
          <a:bodyPr wrap="square" lIns="0" tIns="0" rIns="0" bIns="0" rtlCol="0">
            <a:spAutoFit/>
          </a:bodyPr>
          <a:lstStyle>
            <a:lvl1pPr>
              <a:defRPr lang="it-IT" sz="600" i="0">
                <a:solidFill>
                  <a:schemeClr val="bg2"/>
                </a:solidFill>
              </a:defRPr>
            </a:lvl1pPr>
          </a:lstStyle>
          <a:p>
            <a:pPr algn="r" defTabSz="914378"/>
            <a:endParaRPr lang="en-GB" dirty="0">
              <a:solidFill>
                <a:srgbClr val="717073"/>
              </a:solidFill>
            </a:endParaRPr>
          </a:p>
        </p:txBody>
      </p:sp>
    </p:spTree>
    <p:extLst>
      <p:ext uri="{BB962C8B-B14F-4D97-AF65-F5344CB8AC3E}">
        <p14:creationId xmlns:p14="http://schemas.microsoft.com/office/powerpoint/2010/main" val="2706580485"/>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6_Titolo sott. e cont. con immagine">
    <p:spTree>
      <p:nvGrpSpPr>
        <p:cNvPr id="1" name=""/>
        <p:cNvGrpSpPr/>
        <p:nvPr/>
      </p:nvGrpSpPr>
      <p:grpSpPr>
        <a:xfrm>
          <a:off x="0" y="0"/>
          <a:ext cx="0" cy="0"/>
          <a:chOff x="0" y="0"/>
          <a:chExt cx="0" cy="0"/>
        </a:xfrm>
      </p:grpSpPr>
      <p:sp>
        <p:nvSpPr>
          <p:cNvPr id="8"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305526" y="0"/>
            <a:ext cx="8382465" cy="721973"/>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12"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305527" y="1297781"/>
            <a:ext cx="2447297" cy="3544094"/>
          </a:xfrm>
          <a:prstGeom prst="rect">
            <a:avLst/>
          </a:prstGeom>
        </p:spPr>
        <p:txBody>
          <a:bodyPr vert="horz" lIns="0" tIns="45720" rIns="91440" bIns="45720" rtlCol="0">
            <a:normAutofit/>
          </a:bodyPr>
          <a:lstStyle>
            <a:lvl1pPr>
              <a:spcBef>
                <a:spcPts val="900"/>
              </a:spcBef>
              <a:defRPr lang="it-IT" sz="1350" smtClean="0">
                <a:solidFill>
                  <a:schemeClr val="tx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3"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305526" y="721973"/>
            <a:ext cx="8382465" cy="325778"/>
          </a:xfrm>
          <a:prstGeom prst="rect">
            <a:avLst/>
          </a:prstGeom>
        </p:spPr>
        <p:txBody>
          <a:bodyPr vert="horz" lIns="0" tIns="45720" rIns="91440" bIns="45720" rtlCol="0">
            <a:normAutofit/>
          </a:bodyPr>
          <a:lstStyle>
            <a:lvl1pPr>
              <a:spcBef>
                <a:spcPts val="900"/>
              </a:spcBef>
              <a:defRPr lang="it-IT" sz="15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3" name="Segnaposto immagine 2">
            <a:extLst>
              <a:ext uri="{FF2B5EF4-FFF2-40B4-BE49-F238E27FC236}">
                <a16:creationId xmlns:a16="http://schemas.microsoft.com/office/drawing/2014/main" id="{3659AF68-753C-5E40-9289-006DB5C1620C}"/>
              </a:ext>
            </a:extLst>
          </p:cNvPr>
          <p:cNvSpPr>
            <a:spLocks noGrp="1"/>
          </p:cNvSpPr>
          <p:nvPr>
            <p:ph type="pic" sz="quarter" idx="14"/>
          </p:nvPr>
        </p:nvSpPr>
        <p:spPr>
          <a:xfrm>
            <a:off x="2895600" y="1293813"/>
            <a:ext cx="5792391" cy="3544094"/>
          </a:xfrm>
          <a:prstGeom prst="rect">
            <a:avLst/>
          </a:prstGeom>
        </p:spPr>
        <p:txBody>
          <a:bodyPr/>
          <a:lstStyle/>
          <a:p>
            <a:endParaRPr lang="it-IT" dirty="0"/>
          </a:p>
        </p:txBody>
      </p:sp>
      <p:sp>
        <p:nvSpPr>
          <p:cNvPr id="6"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8184647" y="5350798"/>
            <a:ext cx="503344" cy="92333"/>
          </a:xfrm>
          <a:prstGeom prst="rect">
            <a:avLst/>
          </a:prstGeom>
          <a:solidFill>
            <a:schemeClr val="bg1"/>
          </a:solidFill>
          <a:effectLst/>
        </p:spPr>
        <p:txBody>
          <a:bodyPr wrap="none" lIns="0" tIns="0" rIns="0" bIns="0" rtlCol="0" anchor="ctr">
            <a:spAutoFit/>
          </a:bodyPr>
          <a:lstStyle>
            <a:lvl1pPr algn="r">
              <a:defRPr lang="it-IT" sz="600" smtClean="0">
                <a:solidFill>
                  <a:schemeClr val="tx2"/>
                </a:solidFill>
                <a:effectLst/>
              </a:defRPr>
            </a:lvl1pPr>
          </a:lstStyle>
          <a:p>
            <a:pPr defTabSz="914378"/>
            <a:r>
              <a:rPr lang="it-IT">
                <a:solidFill>
                  <a:srgbClr val="DC002E"/>
                </a:solidFill>
              </a:rPr>
              <a:t>27 ottobre 2020</a:t>
            </a:r>
            <a:endParaRPr lang="it-IT" dirty="0">
              <a:solidFill>
                <a:srgbClr val="DC002E"/>
              </a:solidFill>
            </a:endParaRPr>
          </a:p>
        </p:txBody>
      </p:sp>
      <p:sp>
        <p:nvSpPr>
          <p:cNvPr id="7"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2339068" y="5459996"/>
            <a:ext cx="6349277" cy="92333"/>
          </a:xfrm>
          <a:prstGeom prst="rect">
            <a:avLst/>
          </a:prstGeom>
          <a:noFill/>
        </p:spPr>
        <p:txBody>
          <a:bodyPr wrap="square" lIns="0" tIns="0" rIns="0" bIns="0" rtlCol="0">
            <a:spAutoFit/>
          </a:bodyPr>
          <a:lstStyle>
            <a:lvl1pPr>
              <a:defRPr lang="it-IT" sz="600" i="0">
                <a:solidFill>
                  <a:schemeClr val="bg2"/>
                </a:solidFill>
              </a:defRPr>
            </a:lvl1pPr>
          </a:lstStyle>
          <a:p>
            <a:pPr algn="r" defTabSz="914378"/>
            <a:endParaRPr lang="en-GB" dirty="0">
              <a:solidFill>
                <a:srgbClr val="717073"/>
              </a:solidFill>
            </a:endParaRPr>
          </a:p>
        </p:txBody>
      </p:sp>
    </p:spTree>
    <p:extLst>
      <p:ext uri="{BB962C8B-B14F-4D97-AF65-F5344CB8AC3E}">
        <p14:creationId xmlns:p14="http://schemas.microsoft.com/office/powerpoint/2010/main" val="32101359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7_Titolo sott. e cont. con immagine">
    <p:spTree>
      <p:nvGrpSpPr>
        <p:cNvPr id="1" name=""/>
        <p:cNvGrpSpPr/>
        <p:nvPr/>
      </p:nvGrpSpPr>
      <p:grpSpPr>
        <a:xfrm>
          <a:off x="0" y="0"/>
          <a:ext cx="0" cy="0"/>
          <a:chOff x="0" y="0"/>
          <a:chExt cx="0" cy="0"/>
        </a:xfrm>
      </p:grpSpPr>
      <p:sp>
        <p:nvSpPr>
          <p:cNvPr id="8"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305526" y="0"/>
            <a:ext cx="8382465" cy="721973"/>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13"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305526" y="721973"/>
            <a:ext cx="8382465" cy="325778"/>
          </a:xfrm>
          <a:prstGeom prst="rect">
            <a:avLst/>
          </a:prstGeom>
        </p:spPr>
        <p:txBody>
          <a:bodyPr vert="horz" lIns="0" tIns="45720" rIns="91440" bIns="45720" rtlCol="0">
            <a:normAutofit/>
          </a:bodyPr>
          <a:lstStyle>
            <a:lvl1pPr>
              <a:spcBef>
                <a:spcPts val="900"/>
              </a:spcBef>
              <a:defRPr lang="it-IT" sz="15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4" name="Segnaposto contenuto 3"/>
          <p:cNvSpPr>
            <a:spLocks noGrp="1"/>
          </p:cNvSpPr>
          <p:nvPr>
            <p:ph sz="quarter" idx="14"/>
          </p:nvPr>
        </p:nvSpPr>
        <p:spPr>
          <a:xfrm>
            <a:off x="305991" y="1268083"/>
            <a:ext cx="4266009" cy="3569824"/>
          </a:xfrm>
        </p:spPr>
        <p:txBody>
          <a:bodyPr/>
          <a:lstStyle/>
          <a:p>
            <a:pPr lvl="0"/>
            <a:endParaRPr lang="it-IT" dirty="0"/>
          </a:p>
        </p:txBody>
      </p:sp>
      <p:sp>
        <p:nvSpPr>
          <p:cNvPr id="17" name="Segnaposto testo 16"/>
          <p:cNvSpPr>
            <a:spLocks noGrp="1"/>
          </p:cNvSpPr>
          <p:nvPr>
            <p:ph type="body" sz="quarter" idx="15" hasCustomPrompt="1"/>
          </p:nvPr>
        </p:nvSpPr>
        <p:spPr>
          <a:xfrm>
            <a:off x="4914900" y="1352750"/>
            <a:ext cx="3773091" cy="222845"/>
          </a:xfrm>
        </p:spPr>
        <p:txBody>
          <a:bodyPr/>
          <a:lstStyle>
            <a:lvl1pPr>
              <a:defRPr sz="1200" b="1" baseline="0">
                <a:solidFill>
                  <a:schemeClr val="tx2"/>
                </a:solidFill>
              </a:defRPr>
            </a:lvl1pPr>
          </a:lstStyle>
          <a:p>
            <a:pPr lvl="0"/>
            <a:r>
              <a:rPr lang="it-IT" dirty="0"/>
              <a:t>Titolo del testo 16pt rosso</a:t>
            </a:r>
          </a:p>
        </p:txBody>
      </p:sp>
      <p:sp>
        <p:nvSpPr>
          <p:cNvPr id="18" name="Segnaposto testo 16"/>
          <p:cNvSpPr>
            <a:spLocks noGrp="1"/>
          </p:cNvSpPr>
          <p:nvPr>
            <p:ph type="body" sz="quarter" idx="16" hasCustomPrompt="1"/>
          </p:nvPr>
        </p:nvSpPr>
        <p:spPr>
          <a:xfrm>
            <a:off x="4914900" y="1586179"/>
            <a:ext cx="3773091" cy="498738"/>
          </a:xfrm>
        </p:spPr>
        <p:txBody>
          <a:bodyPr/>
          <a:lstStyle>
            <a:lvl1pPr>
              <a:defRPr sz="1050" b="0" baseline="0"/>
            </a:lvl1pPr>
          </a:lstStyle>
          <a:p>
            <a:pPr lvl="0"/>
            <a:r>
              <a:rPr lang="it-IT" dirty="0"/>
              <a:t>Titolo del testo 14pt nero</a:t>
            </a:r>
          </a:p>
        </p:txBody>
      </p:sp>
      <p:sp>
        <p:nvSpPr>
          <p:cNvPr id="21" name="Segnaposto testo 16"/>
          <p:cNvSpPr>
            <a:spLocks noGrp="1"/>
          </p:cNvSpPr>
          <p:nvPr>
            <p:ph type="body" sz="quarter" idx="17" hasCustomPrompt="1"/>
          </p:nvPr>
        </p:nvSpPr>
        <p:spPr>
          <a:xfrm>
            <a:off x="4914900" y="2210000"/>
            <a:ext cx="3773091" cy="222845"/>
          </a:xfrm>
        </p:spPr>
        <p:txBody>
          <a:bodyPr/>
          <a:lstStyle>
            <a:lvl1pPr>
              <a:defRPr sz="1200" b="1" baseline="0">
                <a:solidFill>
                  <a:schemeClr val="tx2"/>
                </a:solidFill>
              </a:defRPr>
            </a:lvl1pPr>
          </a:lstStyle>
          <a:p>
            <a:pPr lvl="0"/>
            <a:r>
              <a:rPr lang="it-IT" dirty="0"/>
              <a:t>Titolo del testo 16pt rosso</a:t>
            </a:r>
          </a:p>
        </p:txBody>
      </p:sp>
      <p:sp>
        <p:nvSpPr>
          <p:cNvPr id="22" name="Segnaposto testo 16"/>
          <p:cNvSpPr>
            <a:spLocks noGrp="1"/>
          </p:cNvSpPr>
          <p:nvPr>
            <p:ph type="body" sz="quarter" idx="18" hasCustomPrompt="1"/>
          </p:nvPr>
        </p:nvSpPr>
        <p:spPr>
          <a:xfrm>
            <a:off x="4914900" y="2443429"/>
            <a:ext cx="3773091" cy="498738"/>
          </a:xfrm>
        </p:spPr>
        <p:txBody>
          <a:bodyPr/>
          <a:lstStyle>
            <a:lvl1pPr>
              <a:defRPr sz="1050" b="0" baseline="0"/>
            </a:lvl1pPr>
          </a:lstStyle>
          <a:p>
            <a:pPr lvl="0"/>
            <a:r>
              <a:rPr lang="it-IT" dirty="0"/>
              <a:t>Titolo del testo 14pt nero</a:t>
            </a:r>
          </a:p>
        </p:txBody>
      </p:sp>
      <p:sp>
        <p:nvSpPr>
          <p:cNvPr id="23" name="Segnaposto testo 16"/>
          <p:cNvSpPr>
            <a:spLocks noGrp="1"/>
          </p:cNvSpPr>
          <p:nvPr>
            <p:ph type="body" sz="quarter" idx="19" hasCustomPrompt="1"/>
          </p:nvPr>
        </p:nvSpPr>
        <p:spPr>
          <a:xfrm>
            <a:off x="4914900" y="3067250"/>
            <a:ext cx="3773091" cy="222845"/>
          </a:xfrm>
        </p:spPr>
        <p:txBody>
          <a:bodyPr/>
          <a:lstStyle>
            <a:lvl1pPr>
              <a:defRPr sz="1200" b="1" baseline="0">
                <a:solidFill>
                  <a:schemeClr val="tx2"/>
                </a:solidFill>
              </a:defRPr>
            </a:lvl1pPr>
          </a:lstStyle>
          <a:p>
            <a:pPr lvl="0"/>
            <a:r>
              <a:rPr lang="it-IT" dirty="0"/>
              <a:t>Titolo del testo 16pt rosso</a:t>
            </a:r>
          </a:p>
        </p:txBody>
      </p:sp>
      <p:sp>
        <p:nvSpPr>
          <p:cNvPr id="24" name="Segnaposto testo 16"/>
          <p:cNvSpPr>
            <a:spLocks noGrp="1"/>
          </p:cNvSpPr>
          <p:nvPr>
            <p:ph type="body" sz="quarter" idx="20" hasCustomPrompt="1"/>
          </p:nvPr>
        </p:nvSpPr>
        <p:spPr>
          <a:xfrm>
            <a:off x="4914900" y="3300679"/>
            <a:ext cx="3773091" cy="498738"/>
          </a:xfrm>
        </p:spPr>
        <p:txBody>
          <a:bodyPr/>
          <a:lstStyle>
            <a:lvl1pPr>
              <a:defRPr sz="1050" b="0" baseline="0"/>
            </a:lvl1pPr>
          </a:lstStyle>
          <a:p>
            <a:pPr lvl="0"/>
            <a:r>
              <a:rPr lang="it-IT" dirty="0"/>
              <a:t>Titolo del testo 14pt nero</a:t>
            </a:r>
          </a:p>
        </p:txBody>
      </p:sp>
      <p:sp>
        <p:nvSpPr>
          <p:cNvPr id="25" name="Segnaposto testo 16"/>
          <p:cNvSpPr>
            <a:spLocks noGrp="1"/>
          </p:cNvSpPr>
          <p:nvPr>
            <p:ph type="body" sz="quarter" idx="21" hasCustomPrompt="1"/>
          </p:nvPr>
        </p:nvSpPr>
        <p:spPr>
          <a:xfrm>
            <a:off x="4914900" y="3924500"/>
            <a:ext cx="3773091" cy="222845"/>
          </a:xfrm>
        </p:spPr>
        <p:txBody>
          <a:bodyPr/>
          <a:lstStyle>
            <a:lvl1pPr>
              <a:defRPr sz="1200" b="1" baseline="0">
                <a:solidFill>
                  <a:schemeClr val="tx2"/>
                </a:solidFill>
              </a:defRPr>
            </a:lvl1pPr>
          </a:lstStyle>
          <a:p>
            <a:pPr lvl="0"/>
            <a:r>
              <a:rPr lang="it-IT" dirty="0"/>
              <a:t>Titolo del testo 16pt rosso</a:t>
            </a:r>
          </a:p>
        </p:txBody>
      </p:sp>
      <p:sp>
        <p:nvSpPr>
          <p:cNvPr id="26" name="Segnaposto testo 16"/>
          <p:cNvSpPr>
            <a:spLocks noGrp="1"/>
          </p:cNvSpPr>
          <p:nvPr>
            <p:ph type="body" sz="quarter" idx="22" hasCustomPrompt="1"/>
          </p:nvPr>
        </p:nvSpPr>
        <p:spPr>
          <a:xfrm>
            <a:off x="4914900" y="4157929"/>
            <a:ext cx="3773091" cy="498738"/>
          </a:xfrm>
        </p:spPr>
        <p:txBody>
          <a:bodyPr/>
          <a:lstStyle>
            <a:lvl1pPr>
              <a:defRPr sz="1050" b="0" baseline="0"/>
            </a:lvl1pPr>
          </a:lstStyle>
          <a:p>
            <a:pPr lvl="0"/>
            <a:r>
              <a:rPr lang="it-IT" dirty="0"/>
              <a:t>Titolo del testo 14pt nero</a:t>
            </a:r>
          </a:p>
        </p:txBody>
      </p:sp>
      <p:sp>
        <p:nvSpPr>
          <p:cNvPr id="14"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8184647" y="5350798"/>
            <a:ext cx="503344" cy="92333"/>
          </a:xfrm>
          <a:prstGeom prst="rect">
            <a:avLst/>
          </a:prstGeom>
          <a:solidFill>
            <a:schemeClr val="bg1"/>
          </a:solidFill>
          <a:effectLst/>
        </p:spPr>
        <p:txBody>
          <a:bodyPr wrap="none" lIns="0" tIns="0" rIns="0" bIns="0" rtlCol="0" anchor="ctr">
            <a:spAutoFit/>
          </a:bodyPr>
          <a:lstStyle>
            <a:lvl1pPr algn="r">
              <a:defRPr lang="it-IT" sz="600" smtClean="0">
                <a:solidFill>
                  <a:schemeClr val="tx2"/>
                </a:solidFill>
                <a:effectLst/>
              </a:defRPr>
            </a:lvl1pPr>
          </a:lstStyle>
          <a:p>
            <a:pPr defTabSz="914378"/>
            <a:r>
              <a:rPr lang="it-IT">
                <a:solidFill>
                  <a:srgbClr val="DC002E"/>
                </a:solidFill>
              </a:rPr>
              <a:t>27 ottobre 2020</a:t>
            </a:r>
            <a:endParaRPr lang="it-IT" dirty="0">
              <a:solidFill>
                <a:srgbClr val="DC002E"/>
              </a:solidFill>
            </a:endParaRPr>
          </a:p>
        </p:txBody>
      </p:sp>
      <p:sp>
        <p:nvSpPr>
          <p:cNvPr id="15"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2339068" y="5459996"/>
            <a:ext cx="6349277" cy="92333"/>
          </a:xfrm>
          <a:prstGeom prst="rect">
            <a:avLst/>
          </a:prstGeom>
          <a:noFill/>
        </p:spPr>
        <p:txBody>
          <a:bodyPr wrap="square" lIns="0" tIns="0" rIns="0" bIns="0" rtlCol="0">
            <a:spAutoFit/>
          </a:bodyPr>
          <a:lstStyle>
            <a:lvl1pPr>
              <a:defRPr lang="it-IT" sz="600" i="0">
                <a:solidFill>
                  <a:schemeClr val="bg2"/>
                </a:solidFill>
              </a:defRPr>
            </a:lvl1pPr>
          </a:lstStyle>
          <a:p>
            <a:pPr algn="r" defTabSz="914378"/>
            <a:endParaRPr lang="en-GB" dirty="0">
              <a:solidFill>
                <a:srgbClr val="717073"/>
              </a:solidFill>
            </a:endParaRPr>
          </a:p>
        </p:txBody>
      </p:sp>
    </p:spTree>
    <p:extLst>
      <p:ext uri="{BB962C8B-B14F-4D97-AF65-F5344CB8AC3E}">
        <p14:creationId xmlns:p14="http://schemas.microsoft.com/office/powerpoint/2010/main" val="16314918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Titolo e contenuto">
    <p:spTree>
      <p:nvGrpSpPr>
        <p:cNvPr id="1" name=""/>
        <p:cNvGrpSpPr/>
        <p:nvPr/>
      </p:nvGrpSpPr>
      <p:grpSpPr>
        <a:xfrm>
          <a:off x="0" y="0"/>
          <a:ext cx="0" cy="0"/>
          <a:chOff x="0" y="0"/>
          <a:chExt cx="0" cy="0"/>
        </a:xfrm>
      </p:grpSpPr>
      <p:pic>
        <p:nvPicPr>
          <p:cNvPr id="19" name="Immagine 1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4000" cy="5715001"/>
          </a:xfrm>
          <a:prstGeom prst="rect">
            <a:avLst/>
          </a:prstGeom>
        </p:spPr>
      </p:pic>
      <p:sp>
        <p:nvSpPr>
          <p:cNvPr id="7" name="Rettangolo 6">
            <a:extLst>
              <a:ext uri="{FF2B5EF4-FFF2-40B4-BE49-F238E27FC236}">
                <a16:creationId xmlns:a16="http://schemas.microsoft.com/office/drawing/2014/main" id="{7466584B-8BD1-48B2-BD0C-DC7DD5380BEF}"/>
              </a:ext>
            </a:extLst>
          </p:cNvPr>
          <p:cNvSpPr/>
          <p:nvPr userDrawn="1"/>
        </p:nvSpPr>
        <p:spPr>
          <a:xfrm>
            <a:off x="8789334" y="0"/>
            <a:ext cx="354666" cy="5715000"/>
          </a:xfrm>
          <a:prstGeom prst="rect">
            <a:avLst/>
          </a:prstGeom>
          <a:solidFill>
            <a:srgbClr val="DC00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it-IT" sz="1350" dirty="0">
              <a:solidFill>
                <a:srgbClr val="FFFFFF"/>
              </a:solidFill>
            </a:endParaRPr>
          </a:p>
        </p:txBody>
      </p:sp>
      <p:grpSp>
        <p:nvGrpSpPr>
          <p:cNvPr id="8"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8840262" y="75356"/>
            <a:ext cx="259620" cy="195357"/>
            <a:chOff x="-560" y="-1287"/>
            <a:chExt cx="6379" cy="4320"/>
          </a:xfrm>
        </p:grpSpPr>
        <p:sp>
          <p:nvSpPr>
            <p:cNvPr id="9"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685783"/>
              <a:endParaRPr lang="it-IT" sz="1350" dirty="0">
                <a:solidFill>
                  <a:srgbClr val="000000"/>
                </a:solidFill>
              </a:endParaRPr>
            </a:p>
          </p:txBody>
        </p:sp>
        <p:sp>
          <p:nvSpPr>
            <p:cNvPr id="10"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685783"/>
              <a:endParaRPr lang="it-IT" sz="1350" dirty="0">
                <a:solidFill>
                  <a:srgbClr val="000000"/>
                </a:solidFill>
              </a:endParaRPr>
            </a:p>
          </p:txBody>
        </p:sp>
        <p:sp>
          <p:nvSpPr>
            <p:cNvPr id="11"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685783"/>
              <a:endParaRPr lang="it-IT" sz="1350" dirty="0">
                <a:solidFill>
                  <a:srgbClr val="000000"/>
                </a:solidFill>
              </a:endParaRPr>
            </a:p>
          </p:txBody>
        </p:sp>
        <p:sp>
          <p:nvSpPr>
            <p:cNvPr id="12"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685783"/>
              <a:endParaRPr lang="it-IT" sz="1350" dirty="0">
                <a:solidFill>
                  <a:srgbClr val="000000"/>
                </a:solidFill>
              </a:endParaRPr>
            </a:p>
          </p:txBody>
        </p:sp>
        <p:sp>
          <p:nvSpPr>
            <p:cNvPr id="13"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685783"/>
              <a:endParaRPr lang="it-IT" sz="1350" dirty="0">
                <a:solidFill>
                  <a:srgbClr val="000000"/>
                </a:solidFill>
              </a:endParaRPr>
            </a:p>
          </p:txBody>
        </p:sp>
        <p:sp>
          <p:nvSpPr>
            <p:cNvPr id="14"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685783"/>
              <a:endParaRPr lang="it-IT" sz="1350" dirty="0">
                <a:solidFill>
                  <a:srgbClr val="000000"/>
                </a:solidFill>
              </a:endParaRPr>
            </a:p>
          </p:txBody>
        </p:sp>
      </p:grpSp>
      <p:sp>
        <p:nvSpPr>
          <p:cNvPr id="15"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8788628" y="5413256"/>
            <a:ext cx="354666" cy="192644"/>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5"/>
            <a:fld id="{B9D7DBFB-DCE9-42BC-A361-A0671D12ADFC}" type="slidenum">
              <a:rPr lang="it-IT" sz="750">
                <a:solidFill>
                  <a:srgbClr val="FFFFFF"/>
                </a:solidFill>
              </a:rPr>
              <a:pPr defTabSz="914355"/>
              <a:t>‹N›</a:t>
            </a:fld>
            <a:endParaRPr lang="it-IT" sz="750" dirty="0">
              <a:solidFill>
                <a:srgbClr val="FFFFFF"/>
              </a:solidFill>
            </a:endParaRPr>
          </a:p>
        </p:txBody>
      </p:sp>
      <p:sp>
        <p:nvSpPr>
          <p:cNvPr id="16"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7779088" y="5350800"/>
            <a:ext cx="908903" cy="92333"/>
          </a:xfrm>
          <a:prstGeom prst="rect">
            <a:avLst/>
          </a:prstGeom>
          <a:solidFill>
            <a:schemeClr val="bg1"/>
          </a:solidFill>
          <a:effectLst/>
        </p:spPr>
        <p:txBody>
          <a:bodyPr wrap="none" lIns="0" tIns="0" rIns="0" bIns="0" rtlCol="0" anchor="ctr">
            <a:spAutoFit/>
          </a:bodyPr>
          <a:lstStyle>
            <a:lvl1pPr algn="r">
              <a:defRPr lang="it-IT" sz="600" smtClean="0">
                <a:solidFill>
                  <a:schemeClr val="tx2"/>
                </a:solidFill>
                <a:effectLst/>
              </a:defRPr>
            </a:lvl1pPr>
          </a:lstStyle>
          <a:p>
            <a:pPr defTabSz="914355"/>
            <a:r>
              <a:rPr lang="it-IT">
                <a:solidFill>
                  <a:srgbClr val="DC002E"/>
                </a:solidFill>
              </a:rPr>
              <a:t>Formato data GG/MM/AAAA</a:t>
            </a:r>
            <a:endParaRPr lang="it-IT" dirty="0">
              <a:solidFill>
                <a:srgbClr val="DC002E"/>
              </a:solidFill>
            </a:endParaRPr>
          </a:p>
        </p:txBody>
      </p:sp>
      <p:sp>
        <p:nvSpPr>
          <p:cNvPr id="17"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2339069" y="5459998"/>
            <a:ext cx="6349277" cy="92333"/>
          </a:xfrm>
          <a:prstGeom prst="rect">
            <a:avLst/>
          </a:prstGeom>
          <a:noFill/>
        </p:spPr>
        <p:txBody>
          <a:bodyPr wrap="square" lIns="0" tIns="0" rIns="0" bIns="0" rtlCol="0">
            <a:spAutoFit/>
          </a:bodyPr>
          <a:lstStyle>
            <a:lvl1pPr>
              <a:defRPr lang="it-IT" sz="600" i="0">
                <a:solidFill>
                  <a:schemeClr val="bg2"/>
                </a:solidFill>
              </a:defRPr>
            </a:lvl1pPr>
          </a:lstStyle>
          <a:p>
            <a:pPr algn="r" defTabSz="914355"/>
            <a:r>
              <a:rPr lang="en-GB">
                <a:solidFill>
                  <a:srgbClr val="717073"/>
                </a:solidFill>
              </a:rPr>
              <a:t>Titolo presentazione   </a:t>
            </a:r>
            <a:r>
              <a:rPr lang="en-GB">
                <a:solidFill>
                  <a:srgbClr val="DC002E"/>
                </a:solidFill>
              </a:rPr>
              <a:t>I</a:t>
            </a:r>
            <a:r>
              <a:rPr lang="en-GB">
                <a:solidFill>
                  <a:srgbClr val="717073"/>
                </a:solidFill>
              </a:rPr>
              <a:t>   Nome relatore</a:t>
            </a:r>
            <a:endParaRPr lang="en-GB" dirty="0">
              <a:solidFill>
                <a:srgbClr val="717073"/>
              </a:solidFill>
            </a:endParaRPr>
          </a:p>
        </p:txBody>
      </p:sp>
      <p:pic>
        <p:nvPicPr>
          <p:cNvPr id="18" name="Immagine 17"/>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05992" y="5097930"/>
            <a:ext cx="711341" cy="447738"/>
          </a:xfrm>
          <a:prstGeom prst="rect">
            <a:avLst/>
          </a:prstGeom>
        </p:spPr>
      </p:pic>
    </p:spTree>
    <p:extLst>
      <p:ext uri="{BB962C8B-B14F-4D97-AF65-F5344CB8AC3E}">
        <p14:creationId xmlns:p14="http://schemas.microsoft.com/office/powerpoint/2010/main" val="1369310016"/>
      </p:ext>
    </p:extLst>
  </p:cSld>
  <p:clrMapOvr>
    <a:masterClrMapping/>
  </p:clrMapOvr>
  <p:transition spd="slow">
    <p:wipe/>
  </p:transition>
  <p:hf hdr="0" ftr="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7_FULL Immagine">
    <p:spTree>
      <p:nvGrpSpPr>
        <p:cNvPr id="1" name=""/>
        <p:cNvGrpSpPr/>
        <p:nvPr/>
      </p:nvGrpSpPr>
      <p:grpSpPr>
        <a:xfrm>
          <a:off x="0" y="0"/>
          <a:ext cx="0" cy="0"/>
          <a:chOff x="0" y="0"/>
          <a:chExt cx="0" cy="0"/>
        </a:xfrm>
      </p:grpSpPr>
      <p:sp>
        <p:nvSpPr>
          <p:cNvPr id="3" name="Segnaposto immagine 2">
            <a:extLst>
              <a:ext uri="{FF2B5EF4-FFF2-40B4-BE49-F238E27FC236}">
                <a16:creationId xmlns:a16="http://schemas.microsoft.com/office/drawing/2014/main" id="{3659AF68-753C-5E40-9289-006DB5C1620C}"/>
              </a:ext>
            </a:extLst>
          </p:cNvPr>
          <p:cNvSpPr>
            <a:spLocks noGrp="1"/>
          </p:cNvSpPr>
          <p:nvPr>
            <p:ph type="pic" sz="quarter" idx="14"/>
          </p:nvPr>
        </p:nvSpPr>
        <p:spPr>
          <a:xfrm>
            <a:off x="0" y="0"/>
            <a:ext cx="8786813" cy="5715000"/>
          </a:xfrm>
          <a:prstGeom prst="rect">
            <a:avLst/>
          </a:prstGeom>
          <a:solidFill>
            <a:schemeClr val="bg1"/>
          </a:solidFill>
        </p:spPr>
        <p:txBody>
          <a:bodyPr/>
          <a:lstStyle/>
          <a:p>
            <a:endParaRPr lang="it-IT"/>
          </a:p>
        </p:txBody>
      </p:sp>
    </p:spTree>
    <p:extLst>
      <p:ext uri="{BB962C8B-B14F-4D97-AF65-F5344CB8AC3E}">
        <p14:creationId xmlns:p14="http://schemas.microsoft.com/office/powerpoint/2010/main" val="150698278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8_FULL Immagine e Testo">
    <p:spTree>
      <p:nvGrpSpPr>
        <p:cNvPr id="1" name=""/>
        <p:cNvGrpSpPr/>
        <p:nvPr/>
      </p:nvGrpSpPr>
      <p:grpSpPr>
        <a:xfrm>
          <a:off x="0" y="0"/>
          <a:ext cx="0" cy="0"/>
          <a:chOff x="0" y="0"/>
          <a:chExt cx="0" cy="0"/>
        </a:xfrm>
      </p:grpSpPr>
      <p:sp>
        <p:nvSpPr>
          <p:cNvPr id="3" name="Segnaposto immagine 2">
            <a:extLst>
              <a:ext uri="{FF2B5EF4-FFF2-40B4-BE49-F238E27FC236}">
                <a16:creationId xmlns:a16="http://schemas.microsoft.com/office/drawing/2014/main" id="{3659AF68-753C-5E40-9289-006DB5C1620C}"/>
              </a:ext>
            </a:extLst>
          </p:cNvPr>
          <p:cNvSpPr>
            <a:spLocks noGrp="1"/>
          </p:cNvSpPr>
          <p:nvPr>
            <p:ph type="pic" sz="quarter" idx="14"/>
          </p:nvPr>
        </p:nvSpPr>
        <p:spPr>
          <a:xfrm>
            <a:off x="0" y="0"/>
            <a:ext cx="8786813" cy="5715000"/>
          </a:xfrm>
          <a:prstGeom prst="rect">
            <a:avLst/>
          </a:prstGeom>
          <a:solidFill>
            <a:schemeClr val="bg1"/>
          </a:solidFill>
        </p:spPr>
        <p:txBody>
          <a:bodyPr/>
          <a:lstStyle/>
          <a:p>
            <a:endParaRPr lang="it-IT" dirty="0"/>
          </a:p>
        </p:txBody>
      </p:sp>
      <p:sp>
        <p:nvSpPr>
          <p:cNvPr id="5" name="Segnaposto testo 5"/>
          <p:cNvSpPr>
            <a:spLocks noGrp="1"/>
          </p:cNvSpPr>
          <p:nvPr>
            <p:ph type="body" sz="quarter" idx="10" hasCustomPrompt="1"/>
          </p:nvPr>
        </p:nvSpPr>
        <p:spPr>
          <a:xfrm>
            <a:off x="305991" y="751418"/>
            <a:ext cx="8382000" cy="1693333"/>
          </a:xfrm>
        </p:spPr>
        <p:txBody>
          <a:bodyPr anchor="ctr" anchorCtr="0"/>
          <a:lstStyle>
            <a:lvl1pPr algn="ctr">
              <a:defRPr sz="9000" b="1">
                <a:solidFill>
                  <a:schemeClr val="bg1"/>
                </a:solidFill>
              </a:defRPr>
            </a:lvl1pPr>
          </a:lstStyle>
          <a:p>
            <a:pPr lvl="0"/>
            <a:r>
              <a:rPr lang="it-IT" dirty="0"/>
              <a:t>Inserire il testo</a:t>
            </a:r>
          </a:p>
        </p:txBody>
      </p:sp>
    </p:spTree>
    <p:extLst>
      <p:ext uri="{BB962C8B-B14F-4D97-AF65-F5344CB8AC3E}">
        <p14:creationId xmlns:p14="http://schemas.microsoft.com/office/powerpoint/2010/main" val="409752708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9_Titolo sott. con immagine">
    <p:spTree>
      <p:nvGrpSpPr>
        <p:cNvPr id="1" name=""/>
        <p:cNvGrpSpPr/>
        <p:nvPr/>
      </p:nvGrpSpPr>
      <p:grpSpPr>
        <a:xfrm>
          <a:off x="0" y="0"/>
          <a:ext cx="0" cy="0"/>
          <a:chOff x="0" y="0"/>
          <a:chExt cx="0" cy="0"/>
        </a:xfrm>
      </p:grpSpPr>
      <p:sp>
        <p:nvSpPr>
          <p:cNvPr id="12"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305526" y="1295797"/>
            <a:ext cx="8382465" cy="3544094"/>
          </a:xfrm>
          <a:prstGeom prst="rect">
            <a:avLst/>
          </a:prstGeom>
        </p:spPr>
        <p:txBody>
          <a:bodyPr vert="horz" lIns="0" tIns="45720" rIns="91440" bIns="45720" rtlCol="0">
            <a:normAutofit/>
          </a:bodyPr>
          <a:lstStyle>
            <a:lvl1pPr>
              <a:spcBef>
                <a:spcPts val="900"/>
              </a:spcBef>
              <a:defRPr lang="it-IT" sz="1350" smtClean="0">
                <a:solidFill>
                  <a:schemeClr val="tx1"/>
                </a:solidFill>
              </a:defRPr>
            </a:lvl1pPr>
            <a:lvl2pPr>
              <a:defRPr lang="it-IT" smtClean="0"/>
            </a:lvl2pPr>
            <a:lvl3pPr>
              <a:defRPr lang="it-IT" smtClean="0"/>
            </a:lvl3pPr>
            <a:lvl4pPr>
              <a:defRPr lang="it-IT" smtClean="0"/>
            </a:lvl4pPr>
            <a:lvl5pPr>
              <a:defRPr lang="it-IT"/>
            </a:lvl5pPr>
          </a:lstStyle>
          <a:p>
            <a:pPr lvl="0"/>
            <a:r>
              <a:rPr lang="it-IT" dirty="0"/>
              <a:t>Contenuto multimediale</a:t>
            </a:r>
          </a:p>
        </p:txBody>
      </p:sp>
      <p:sp>
        <p:nvSpPr>
          <p:cNvPr id="13"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305526" y="721973"/>
            <a:ext cx="8382465" cy="325778"/>
          </a:xfrm>
          <a:prstGeom prst="rect">
            <a:avLst/>
          </a:prstGeom>
        </p:spPr>
        <p:txBody>
          <a:bodyPr vert="horz" lIns="0" tIns="45720" rIns="91440" bIns="45720" rtlCol="0">
            <a:normAutofit/>
          </a:bodyPr>
          <a:lstStyle>
            <a:lvl1pPr>
              <a:spcBef>
                <a:spcPts val="900"/>
              </a:spcBef>
              <a:defRPr lang="it-IT" sz="15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14"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305526" y="0"/>
            <a:ext cx="8382465" cy="721973"/>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7"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8184647" y="5350798"/>
            <a:ext cx="503344" cy="92333"/>
          </a:xfrm>
          <a:prstGeom prst="rect">
            <a:avLst/>
          </a:prstGeom>
          <a:solidFill>
            <a:schemeClr val="bg1"/>
          </a:solidFill>
          <a:effectLst/>
        </p:spPr>
        <p:txBody>
          <a:bodyPr wrap="none" lIns="0" tIns="0" rIns="0" bIns="0" rtlCol="0" anchor="ctr">
            <a:spAutoFit/>
          </a:bodyPr>
          <a:lstStyle>
            <a:lvl1pPr algn="r">
              <a:defRPr lang="it-IT" sz="600" smtClean="0">
                <a:solidFill>
                  <a:schemeClr val="tx2"/>
                </a:solidFill>
                <a:effectLst/>
              </a:defRPr>
            </a:lvl1pPr>
          </a:lstStyle>
          <a:p>
            <a:pPr defTabSz="914378"/>
            <a:r>
              <a:rPr lang="it-IT">
                <a:solidFill>
                  <a:srgbClr val="DC002E"/>
                </a:solidFill>
              </a:rPr>
              <a:t>27 ottobre 2020</a:t>
            </a:r>
            <a:endParaRPr lang="it-IT" dirty="0">
              <a:solidFill>
                <a:srgbClr val="DC002E"/>
              </a:solidFill>
            </a:endParaRPr>
          </a:p>
        </p:txBody>
      </p:sp>
      <p:sp>
        <p:nvSpPr>
          <p:cNvPr id="8"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2339068" y="5459996"/>
            <a:ext cx="6349277" cy="92333"/>
          </a:xfrm>
          <a:prstGeom prst="rect">
            <a:avLst/>
          </a:prstGeom>
          <a:noFill/>
        </p:spPr>
        <p:txBody>
          <a:bodyPr wrap="square" lIns="0" tIns="0" rIns="0" bIns="0" rtlCol="0">
            <a:spAutoFit/>
          </a:bodyPr>
          <a:lstStyle>
            <a:lvl1pPr>
              <a:defRPr lang="it-IT" sz="600" i="0">
                <a:solidFill>
                  <a:schemeClr val="bg2"/>
                </a:solidFill>
              </a:defRPr>
            </a:lvl1pPr>
          </a:lstStyle>
          <a:p>
            <a:pPr algn="r" defTabSz="914378"/>
            <a:endParaRPr lang="en-GB" dirty="0">
              <a:solidFill>
                <a:srgbClr val="717073"/>
              </a:solidFill>
            </a:endParaRPr>
          </a:p>
        </p:txBody>
      </p:sp>
    </p:spTree>
    <p:extLst>
      <p:ext uri="{BB962C8B-B14F-4D97-AF65-F5344CB8AC3E}">
        <p14:creationId xmlns:p14="http://schemas.microsoft.com/office/powerpoint/2010/main" val="3003095545"/>
      </p:ext>
    </p:extLst>
  </p:cSld>
  <p:clrMapOvr>
    <a:masterClrMapping/>
  </p:clrMapOvr>
  <p:extLst>
    <p:ext uri="{DCECCB84-F9BA-43D5-87BE-67443E8EF086}">
      <p15:sldGuideLst xmlns:p15="http://schemas.microsoft.com/office/powerpoint/2012/main">
        <p15:guide id="1" orient="horz" pos="55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0_Titolo Sottotitolo pt22 e contenuto">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305526" y="1300294"/>
            <a:ext cx="8382465" cy="3537614"/>
          </a:xfrm>
          <a:prstGeom prst="rect">
            <a:avLst/>
          </a:prstGeom>
        </p:spPr>
        <p:txBody>
          <a:bodyPr vert="horz" lIns="0" tIns="45720" rIns="91440" bIns="45720" rtlCol="0">
            <a:normAutofit/>
          </a:bodyPr>
          <a:lstStyle>
            <a:lvl1pPr>
              <a:spcBef>
                <a:spcPts val="900"/>
              </a:spcBef>
              <a:defRPr lang="it-IT" sz="1350" smtClean="0">
                <a:solidFill>
                  <a:schemeClr val="tx1"/>
                </a:solidFill>
              </a:defRPr>
            </a:lvl1pPr>
            <a:lvl2pPr>
              <a:defRPr lang="it-IT" smtClean="0"/>
            </a:lvl2pPr>
            <a:lvl3pPr>
              <a:defRPr lang="it-IT" smtClean="0"/>
            </a:lvl3pPr>
            <a:lvl4pPr>
              <a:defRPr lang="it-IT" smtClean="0"/>
            </a:lvl4pPr>
            <a:lvl5pPr>
              <a:defRPr lang="it-IT"/>
            </a:lvl5pPr>
          </a:lstStyle>
          <a:p>
            <a:pPr lvl="0"/>
            <a:r>
              <a:rPr lang="it-IT" dirty="0"/>
              <a:t>Contenuto Calibri 18pt</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305526" y="721973"/>
            <a:ext cx="8382465" cy="312530"/>
          </a:xfrm>
          <a:prstGeom prst="rect">
            <a:avLst/>
          </a:prstGeom>
        </p:spPr>
        <p:txBody>
          <a:bodyPr vert="horz" lIns="0" tIns="45720" rIns="91440" bIns="45720" rtlCol="0">
            <a:noAutofit/>
          </a:bodyPr>
          <a:lstStyle>
            <a:lvl1pPr>
              <a:spcBef>
                <a:spcPts val="900"/>
              </a:spcBef>
              <a:defRPr lang="it-IT" sz="165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2pt</a:t>
            </a:r>
          </a:p>
        </p:txBody>
      </p:sp>
      <p:sp>
        <p:nvSpPr>
          <p:cNvPr id="11"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305526" y="0"/>
            <a:ext cx="8382465" cy="721973"/>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5"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8184647" y="5350798"/>
            <a:ext cx="503344" cy="92333"/>
          </a:xfrm>
          <a:prstGeom prst="rect">
            <a:avLst/>
          </a:prstGeom>
          <a:solidFill>
            <a:schemeClr val="bg1"/>
          </a:solidFill>
          <a:effectLst/>
        </p:spPr>
        <p:txBody>
          <a:bodyPr wrap="none" lIns="0" tIns="0" rIns="0" bIns="0" rtlCol="0" anchor="ctr">
            <a:spAutoFit/>
          </a:bodyPr>
          <a:lstStyle>
            <a:lvl1pPr algn="r">
              <a:defRPr lang="it-IT" sz="600" smtClean="0">
                <a:solidFill>
                  <a:schemeClr val="tx2"/>
                </a:solidFill>
                <a:effectLst/>
              </a:defRPr>
            </a:lvl1pPr>
          </a:lstStyle>
          <a:p>
            <a:pPr defTabSz="914378"/>
            <a:r>
              <a:rPr lang="it-IT">
                <a:solidFill>
                  <a:srgbClr val="DC002E"/>
                </a:solidFill>
              </a:rPr>
              <a:t>27 ottobre 2020</a:t>
            </a:r>
            <a:endParaRPr lang="it-IT" dirty="0">
              <a:solidFill>
                <a:srgbClr val="DC002E"/>
              </a:solidFill>
            </a:endParaRPr>
          </a:p>
        </p:txBody>
      </p:sp>
      <p:sp>
        <p:nvSpPr>
          <p:cNvPr id="6"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2339068" y="5459996"/>
            <a:ext cx="6349277" cy="92333"/>
          </a:xfrm>
          <a:prstGeom prst="rect">
            <a:avLst/>
          </a:prstGeom>
          <a:noFill/>
        </p:spPr>
        <p:txBody>
          <a:bodyPr wrap="square" lIns="0" tIns="0" rIns="0" bIns="0" rtlCol="0">
            <a:spAutoFit/>
          </a:bodyPr>
          <a:lstStyle>
            <a:lvl1pPr>
              <a:defRPr lang="it-IT" sz="600" i="0">
                <a:solidFill>
                  <a:schemeClr val="bg2"/>
                </a:solidFill>
              </a:defRPr>
            </a:lvl1pPr>
          </a:lstStyle>
          <a:p>
            <a:pPr algn="r" defTabSz="914378"/>
            <a:endParaRPr lang="en-GB" dirty="0">
              <a:solidFill>
                <a:srgbClr val="717073"/>
              </a:solidFill>
            </a:endParaRPr>
          </a:p>
        </p:txBody>
      </p:sp>
    </p:spTree>
    <p:extLst>
      <p:ext uri="{BB962C8B-B14F-4D97-AF65-F5344CB8AC3E}">
        <p14:creationId xmlns:p14="http://schemas.microsoft.com/office/powerpoint/2010/main" val="55316793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1_Vuota">
    <p:spTree>
      <p:nvGrpSpPr>
        <p:cNvPr id="1" name=""/>
        <p:cNvGrpSpPr/>
        <p:nvPr/>
      </p:nvGrpSpPr>
      <p:grpSpPr>
        <a:xfrm>
          <a:off x="0" y="0"/>
          <a:ext cx="0" cy="0"/>
          <a:chOff x="0" y="0"/>
          <a:chExt cx="0" cy="0"/>
        </a:xfrm>
      </p:grpSpPr>
      <p:sp>
        <p:nvSpPr>
          <p:cNvPr id="2"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8184647" y="5350798"/>
            <a:ext cx="503344" cy="92333"/>
          </a:xfrm>
          <a:prstGeom prst="rect">
            <a:avLst/>
          </a:prstGeom>
          <a:solidFill>
            <a:schemeClr val="bg1"/>
          </a:solidFill>
          <a:effectLst/>
        </p:spPr>
        <p:txBody>
          <a:bodyPr wrap="none" lIns="0" tIns="0" rIns="0" bIns="0" rtlCol="0" anchor="ctr">
            <a:spAutoFit/>
          </a:bodyPr>
          <a:lstStyle>
            <a:lvl1pPr algn="r">
              <a:defRPr lang="it-IT" sz="600" smtClean="0">
                <a:solidFill>
                  <a:schemeClr val="tx2"/>
                </a:solidFill>
                <a:effectLst/>
              </a:defRPr>
            </a:lvl1pPr>
          </a:lstStyle>
          <a:p>
            <a:pPr defTabSz="914378"/>
            <a:r>
              <a:rPr lang="it-IT">
                <a:solidFill>
                  <a:srgbClr val="DC002E"/>
                </a:solidFill>
              </a:rPr>
              <a:t>27 ottobre 2020</a:t>
            </a:r>
            <a:endParaRPr lang="it-IT" dirty="0">
              <a:solidFill>
                <a:srgbClr val="DC002E"/>
              </a:solidFill>
            </a:endParaRPr>
          </a:p>
        </p:txBody>
      </p:sp>
      <p:sp>
        <p:nvSpPr>
          <p:cNvPr id="3"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2339068" y="5459996"/>
            <a:ext cx="6349277" cy="92333"/>
          </a:xfrm>
          <a:prstGeom prst="rect">
            <a:avLst/>
          </a:prstGeom>
          <a:noFill/>
        </p:spPr>
        <p:txBody>
          <a:bodyPr wrap="square" lIns="0" tIns="0" rIns="0" bIns="0" rtlCol="0">
            <a:spAutoFit/>
          </a:bodyPr>
          <a:lstStyle>
            <a:lvl1pPr>
              <a:defRPr lang="it-IT" sz="600" i="0">
                <a:solidFill>
                  <a:schemeClr val="bg2"/>
                </a:solidFill>
              </a:defRPr>
            </a:lvl1pPr>
          </a:lstStyle>
          <a:p>
            <a:pPr algn="r" defTabSz="914378"/>
            <a:endParaRPr lang="en-GB" dirty="0">
              <a:solidFill>
                <a:srgbClr val="717073"/>
              </a:solidFill>
            </a:endParaRPr>
          </a:p>
        </p:txBody>
      </p:sp>
    </p:spTree>
    <p:extLst>
      <p:ext uri="{BB962C8B-B14F-4D97-AF65-F5344CB8AC3E}">
        <p14:creationId xmlns:p14="http://schemas.microsoft.com/office/powerpoint/2010/main" val="38481719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olo e agenda">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305526" y="1157325"/>
            <a:ext cx="2717902" cy="472509"/>
          </a:xfrm>
          <a:prstGeom prst="rect">
            <a:avLst/>
          </a:prstGeom>
          <a:solidFill>
            <a:schemeClr val="tx2"/>
          </a:solidFill>
        </p:spPr>
        <p:txBody>
          <a:bodyPr vert="horz" lIns="144000" tIns="144000" rIns="144000" bIns="45720" rtlCol="0">
            <a:normAutofit/>
          </a:bodyPr>
          <a:lstStyle>
            <a:lvl1pPr>
              <a:spcBef>
                <a:spcPts val="900"/>
              </a:spcBef>
              <a:defRPr lang="it-IT" sz="135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8"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305526" y="1629834"/>
            <a:ext cx="2717902" cy="2251918"/>
          </a:xfrm>
          <a:prstGeom prst="rect">
            <a:avLst/>
          </a:prstGeom>
          <a:solidFill>
            <a:schemeClr val="bg1">
              <a:lumMod val="75000"/>
            </a:schemeClr>
          </a:solidFill>
        </p:spPr>
        <p:txBody>
          <a:bodyPr vert="horz" lIns="144000" tIns="144000" rIns="144000" bIns="45720" rtlCol="0">
            <a:normAutofit/>
          </a:bodyPr>
          <a:lstStyle>
            <a:lvl1pPr>
              <a:spcBef>
                <a:spcPts val="900"/>
              </a:spcBef>
              <a:defRPr lang="it-IT" sz="12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22" name="Segnaposto contenuto 2">
            <a:extLst>
              <a:ext uri="{FF2B5EF4-FFF2-40B4-BE49-F238E27FC236}">
                <a16:creationId xmlns:a16="http://schemas.microsoft.com/office/drawing/2014/main" id="{6D2B416D-7B49-44B1-B69F-DA365E602485}"/>
              </a:ext>
            </a:extLst>
          </p:cNvPr>
          <p:cNvSpPr>
            <a:spLocks noGrp="1"/>
          </p:cNvSpPr>
          <p:nvPr>
            <p:ph idx="14" hasCustomPrompt="1"/>
          </p:nvPr>
        </p:nvSpPr>
        <p:spPr>
          <a:xfrm>
            <a:off x="3137808" y="1157325"/>
            <a:ext cx="2717902" cy="472509"/>
          </a:xfrm>
          <a:prstGeom prst="rect">
            <a:avLst/>
          </a:prstGeom>
          <a:solidFill>
            <a:schemeClr val="tx2"/>
          </a:solidFill>
        </p:spPr>
        <p:txBody>
          <a:bodyPr vert="horz" lIns="144000" tIns="144000" rIns="144000" bIns="45720" rtlCol="0">
            <a:normAutofit/>
          </a:bodyPr>
          <a:lstStyle>
            <a:lvl1pPr>
              <a:spcBef>
                <a:spcPts val="900"/>
              </a:spcBef>
              <a:defRPr lang="it-IT" sz="135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5" hasCustomPrompt="1"/>
          </p:nvPr>
        </p:nvSpPr>
        <p:spPr>
          <a:xfrm>
            <a:off x="3137808" y="1629834"/>
            <a:ext cx="2717902" cy="2251918"/>
          </a:xfrm>
          <a:prstGeom prst="rect">
            <a:avLst/>
          </a:prstGeom>
          <a:solidFill>
            <a:schemeClr val="bg1">
              <a:lumMod val="75000"/>
            </a:schemeClr>
          </a:solidFill>
        </p:spPr>
        <p:txBody>
          <a:bodyPr vert="horz" lIns="144000" tIns="144000" rIns="144000" bIns="45720" rtlCol="0">
            <a:normAutofit/>
          </a:bodyPr>
          <a:lstStyle>
            <a:lvl1pPr>
              <a:spcBef>
                <a:spcPts val="900"/>
              </a:spcBef>
              <a:defRPr lang="it-IT" sz="12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1" name="Segnaposto contenuto 2">
            <a:extLst>
              <a:ext uri="{FF2B5EF4-FFF2-40B4-BE49-F238E27FC236}">
                <a16:creationId xmlns:a16="http://schemas.microsoft.com/office/drawing/2014/main" id="{6D2B416D-7B49-44B1-B69F-DA365E602485}"/>
              </a:ext>
            </a:extLst>
          </p:cNvPr>
          <p:cNvSpPr>
            <a:spLocks noGrp="1"/>
          </p:cNvSpPr>
          <p:nvPr>
            <p:ph idx="16" hasCustomPrompt="1"/>
          </p:nvPr>
        </p:nvSpPr>
        <p:spPr>
          <a:xfrm>
            <a:off x="5970090" y="1157325"/>
            <a:ext cx="2717902" cy="472509"/>
          </a:xfrm>
          <a:prstGeom prst="rect">
            <a:avLst/>
          </a:prstGeom>
          <a:solidFill>
            <a:schemeClr val="tx2"/>
          </a:solidFill>
        </p:spPr>
        <p:txBody>
          <a:bodyPr vert="horz" lIns="144000" tIns="144000" rIns="144000" bIns="45720" rtlCol="0">
            <a:normAutofit/>
          </a:bodyPr>
          <a:lstStyle>
            <a:lvl1pPr>
              <a:spcBef>
                <a:spcPts val="900"/>
              </a:spcBef>
              <a:defRPr lang="it-IT" sz="135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2" name="Segnaposto contenuto 2">
            <a:extLst>
              <a:ext uri="{FF2B5EF4-FFF2-40B4-BE49-F238E27FC236}">
                <a16:creationId xmlns:a16="http://schemas.microsoft.com/office/drawing/2014/main" id="{6D2B416D-7B49-44B1-B69F-DA365E602485}"/>
              </a:ext>
            </a:extLst>
          </p:cNvPr>
          <p:cNvSpPr>
            <a:spLocks noGrp="1"/>
          </p:cNvSpPr>
          <p:nvPr>
            <p:ph idx="17" hasCustomPrompt="1"/>
          </p:nvPr>
        </p:nvSpPr>
        <p:spPr>
          <a:xfrm>
            <a:off x="5970090" y="1629834"/>
            <a:ext cx="2717902" cy="2251918"/>
          </a:xfrm>
          <a:prstGeom prst="rect">
            <a:avLst/>
          </a:prstGeom>
          <a:solidFill>
            <a:schemeClr val="bg1">
              <a:lumMod val="75000"/>
            </a:schemeClr>
          </a:solidFill>
        </p:spPr>
        <p:txBody>
          <a:bodyPr vert="horz" lIns="144000" tIns="144000" rIns="144000" bIns="45720" rtlCol="0">
            <a:normAutofit/>
          </a:bodyPr>
          <a:lstStyle>
            <a:lvl1pPr>
              <a:spcBef>
                <a:spcPts val="900"/>
              </a:spcBef>
              <a:defRPr lang="it-IT" sz="12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13"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305526" y="0"/>
            <a:ext cx="8382465" cy="721973"/>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9"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8184647" y="5350798"/>
            <a:ext cx="503344" cy="92333"/>
          </a:xfrm>
          <a:prstGeom prst="rect">
            <a:avLst/>
          </a:prstGeom>
          <a:solidFill>
            <a:schemeClr val="bg1"/>
          </a:solidFill>
          <a:effectLst/>
        </p:spPr>
        <p:txBody>
          <a:bodyPr wrap="none" lIns="0" tIns="0" rIns="0" bIns="0" rtlCol="0" anchor="ctr">
            <a:spAutoFit/>
          </a:bodyPr>
          <a:lstStyle>
            <a:lvl1pPr algn="r">
              <a:defRPr lang="it-IT" sz="600" smtClean="0">
                <a:solidFill>
                  <a:schemeClr val="tx2"/>
                </a:solidFill>
                <a:effectLst/>
              </a:defRPr>
            </a:lvl1pPr>
          </a:lstStyle>
          <a:p>
            <a:pPr defTabSz="914378"/>
            <a:r>
              <a:rPr lang="it-IT">
                <a:solidFill>
                  <a:srgbClr val="DC002E"/>
                </a:solidFill>
              </a:rPr>
              <a:t>27 ottobre 2020</a:t>
            </a:r>
            <a:endParaRPr lang="it-IT" dirty="0">
              <a:solidFill>
                <a:srgbClr val="DC002E"/>
              </a:solidFill>
            </a:endParaRPr>
          </a:p>
        </p:txBody>
      </p:sp>
      <p:sp>
        <p:nvSpPr>
          <p:cNvPr id="10"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2339068" y="5459996"/>
            <a:ext cx="6349277" cy="92333"/>
          </a:xfrm>
          <a:prstGeom prst="rect">
            <a:avLst/>
          </a:prstGeom>
          <a:noFill/>
        </p:spPr>
        <p:txBody>
          <a:bodyPr wrap="square" lIns="0" tIns="0" rIns="0" bIns="0" rtlCol="0">
            <a:spAutoFit/>
          </a:bodyPr>
          <a:lstStyle>
            <a:lvl1pPr>
              <a:defRPr lang="it-IT" sz="600" i="0">
                <a:solidFill>
                  <a:schemeClr val="bg2"/>
                </a:solidFill>
              </a:defRPr>
            </a:lvl1pPr>
          </a:lstStyle>
          <a:p>
            <a:pPr algn="r" defTabSz="914378"/>
            <a:endParaRPr lang="en-GB" dirty="0">
              <a:solidFill>
                <a:srgbClr val="717073"/>
              </a:solidFill>
            </a:endParaRPr>
          </a:p>
        </p:txBody>
      </p:sp>
    </p:spTree>
    <p:extLst>
      <p:ext uri="{BB962C8B-B14F-4D97-AF65-F5344CB8AC3E}">
        <p14:creationId xmlns:p14="http://schemas.microsoft.com/office/powerpoint/2010/main" val="216357015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Titolo e agenda">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305526" y="1157325"/>
            <a:ext cx="2717902" cy="472509"/>
          </a:xfrm>
          <a:prstGeom prst="rect">
            <a:avLst/>
          </a:prstGeom>
          <a:solidFill>
            <a:schemeClr val="tx2"/>
          </a:solidFill>
        </p:spPr>
        <p:txBody>
          <a:bodyPr vert="horz" lIns="144000" tIns="144000" rIns="144000" bIns="45720" rtlCol="0">
            <a:normAutofit/>
          </a:bodyPr>
          <a:lstStyle>
            <a:lvl1pPr>
              <a:spcBef>
                <a:spcPts val="900"/>
              </a:spcBef>
              <a:defRPr lang="it-IT" sz="135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8"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305526" y="1629833"/>
            <a:ext cx="2717902" cy="739157"/>
          </a:xfrm>
          <a:prstGeom prst="rect">
            <a:avLst/>
          </a:prstGeom>
          <a:solidFill>
            <a:schemeClr val="bg1">
              <a:lumMod val="75000"/>
            </a:schemeClr>
          </a:solidFill>
        </p:spPr>
        <p:txBody>
          <a:bodyPr vert="horz" lIns="144000" tIns="144000" rIns="144000" bIns="45720" rtlCol="0">
            <a:normAutofit/>
          </a:bodyPr>
          <a:lstStyle>
            <a:lvl1pPr>
              <a:spcBef>
                <a:spcPts val="900"/>
              </a:spcBef>
              <a:defRPr lang="it-IT" sz="12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22" name="Segnaposto contenuto 2">
            <a:extLst>
              <a:ext uri="{FF2B5EF4-FFF2-40B4-BE49-F238E27FC236}">
                <a16:creationId xmlns:a16="http://schemas.microsoft.com/office/drawing/2014/main" id="{6D2B416D-7B49-44B1-B69F-DA365E602485}"/>
              </a:ext>
            </a:extLst>
          </p:cNvPr>
          <p:cNvSpPr>
            <a:spLocks noGrp="1"/>
          </p:cNvSpPr>
          <p:nvPr>
            <p:ph idx="14" hasCustomPrompt="1"/>
          </p:nvPr>
        </p:nvSpPr>
        <p:spPr>
          <a:xfrm>
            <a:off x="3137808" y="1157325"/>
            <a:ext cx="2717902" cy="472509"/>
          </a:xfrm>
          <a:prstGeom prst="rect">
            <a:avLst/>
          </a:prstGeom>
          <a:solidFill>
            <a:schemeClr val="tx2"/>
          </a:solidFill>
        </p:spPr>
        <p:txBody>
          <a:bodyPr vert="horz" lIns="144000" tIns="144000" rIns="144000" bIns="45720" rtlCol="0">
            <a:normAutofit/>
          </a:bodyPr>
          <a:lstStyle>
            <a:lvl1pPr>
              <a:spcBef>
                <a:spcPts val="900"/>
              </a:spcBef>
              <a:defRPr lang="it-IT" sz="135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5" hasCustomPrompt="1"/>
          </p:nvPr>
        </p:nvSpPr>
        <p:spPr>
          <a:xfrm>
            <a:off x="3137808" y="1629833"/>
            <a:ext cx="2717902" cy="739157"/>
          </a:xfrm>
          <a:prstGeom prst="rect">
            <a:avLst/>
          </a:prstGeom>
          <a:solidFill>
            <a:schemeClr val="bg1">
              <a:lumMod val="75000"/>
            </a:schemeClr>
          </a:solidFill>
        </p:spPr>
        <p:txBody>
          <a:bodyPr vert="horz" lIns="144000" tIns="144000" rIns="144000" bIns="45720" rtlCol="0">
            <a:normAutofit/>
          </a:bodyPr>
          <a:lstStyle>
            <a:lvl1pPr>
              <a:spcBef>
                <a:spcPts val="900"/>
              </a:spcBef>
              <a:defRPr lang="it-IT" sz="12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1" name="Segnaposto contenuto 2">
            <a:extLst>
              <a:ext uri="{FF2B5EF4-FFF2-40B4-BE49-F238E27FC236}">
                <a16:creationId xmlns:a16="http://schemas.microsoft.com/office/drawing/2014/main" id="{6D2B416D-7B49-44B1-B69F-DA365E602485}"/>
              </a:ext>
            </a:extLst>
          </p:cNvPr>
          <p:cNvSpPr>
            <a:spLocks noGrp="1"/>
          </p:cNvSpPr>
          <p:nvPr>
            <p:ph idx="16" hasCustomPrompt="1"/>
          </p:nvPr>
        </p:nvSpPr>
        <p:spPr>
          <a:xfrm>
            <a:off x="5970090" y="1157325"/>
            <a:ext cx="2717902" cy="472509"/>
          </a:xfrm>
          <a:prstGeom prst="rect">
            <a:avLst/>
          </a:prstGeom>
          <a:solidFill>
            <a:schemeClr val="tx2"/>
          </a:solidFill>
        </p:spPr>
        <p:txBody>
          <a:bodyPr vert="horz" lIns="144000" tIns="144000" rIns="144000" bIns="45720" rtlCol="0">
            <a:normAutofit/>
          </a:bodyPr>
          <a:lstStyle>
            <a:lvl1pPr>
              <a:spcBef>
                <a:spcPts val="900"/>
              </a:spcBef>
              <a:defRPr lang="it-IT" sz="135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2" name="Segnaposto contenuto 2">
            <a:extLst>
              <a:ext uri="{FF2B5EF4-FFF2-40B4-BE49-F238E27FC236}">
                <a16:creationId xmlns:a16="http://schemas.microsoft.com/office/drawing/2014/main" id="{6D2B416D-7B49-44B1-B69F-DA365E602485}"/>
              </a:ext>
            </a:extLst>
          </p:cNvPr>
          <p:cNvSpPr>
            <a:spLocks noGrp="1"/>
          </p:cNvSpPr>
          <p:nvPr>
            <p:ph idx="17" hasCustomPrompt="1"/>
          </p:nvPr>
        </p:nvSpPr>
        <p:spPr>
          <a:xfrm>
            <a:off x="5970090" y="1629833"/>
            <a:ext cx="2717902" cy="739157"/>
          </a:xfrm>
          <a:prstGeom prst="rect">
            <a:avLst/>
          </a:prstGeom>
          <a:solidFill>
            <a:schemeClr val="bg1">
              <a:lumMod val="75000"/>
            </a:schemeClr>
          </a:solidFill>
        </p:spPr>
        <p:txBody>
          <a:bodyPr vert="horz" lIns="144000" tIns="144000" rIns="144000" bIns="45720" rtlCol="0">
            <a:normAutofit/>
          </a:bodyPr>
          <a:lstStyle>
            <a:lvl1pPr>
              <a:spcBef>
                <a:spcPts val="900"/>
              </a:spcBef>
              <a:defRPr lang="it-IT" sz="12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13"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305526" y="0"/>
            <a:ext cx="8382465" cy="721973"/>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9"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8184647" y="5350798"/>
            <a:ext cx="503344" cy="92333"/>
          </a:xfrm>
          <a:prstGeom prst="rect">
            <a:avLst/>
          </a:prstGeom>
          <a:solidFill>
            <a:schemeClr val="bg1"/>
          </a:solidFill>
          <a:effectLst/>
        </p:spPr>
        <p:txBody>
          <a:bodyPr wrap="none" lIns="0" tIns="0" rIns="0" bIns="0" rtlCol="0" anchor="ctr">
            <a:spAutoFit/>
          </a:bodyPr>
          <a:lstStyle>
            <a:lvl1pPr algn="r">
              <a:defRPr lang="it-IT" sz="600" smtClean="0">
                <a:solidFill>
                  <a:schemeClr val="tx2"/>
                </a:solidFill>
                <a:effectLst/>
              </a:defRPr>
            </a:lvl1pPr>
          </a:lstStyle>
          <a:p>
            <a:pPr defTabSz="914378"/>
            <a:r>
              <a:rPr lang="it-IT">
                <a:solidFill>
                  <a:srgbClr val="DC002E"/>
                </a:solidFill>
              </a:rPr>
              <a:t>27 ottobre 2020</a:t>
            </a:r>
            <a:endParaRPr lang="it-IT" dirty="0">
              <a:solidFill>
                <a:srgbClr val="DC002E"/>
              </a:solidFill>
            </a:endParaRPr>
          </a:p>
        </p:txBody>
      </p:sp>
      <p:sp>
        <p:nvSpPr>
          <p:cNvPr id="10"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2339068" y="5459996"/>
            <a:ext cx="6349277" cy="92333"/>
          </a:xfrm>
          <a:prstGeom prst="rect">
            <a:avLst/>
          </a:prstGeom>
          <a:noFill/>
        </p:spPr>
        <p:txBody>
          <a:bodyPr wrap="square" lIns="0" tIns="0" rIns="0" bIns="0" rtlCol="0">
            <a:spAutoFit/>
          </a:bodyPr>
          <a:lstStyle>
            <a:lvl1pPr>
              <a:defRPr lang="it-IT" sz="600" i="0">
                <a:solidFill>
                  <a:schemeClr val="bg2"/>
                </a:solidFill>
              </a:defRPr>
            </a:lvl1pPr>
          </a:lstStyle>
          <a:p>
            <a:pPr algn="r" defTabSz="914378"/>
            <a:endParaRPr lang="en-GB" dirty="0">
              <a:solidFill>
                <a:srgbClr val="717073"/>
              </a:solidFill>
            </a:endParaRPr>
          </a:p>
        </p:txBody>
      </p:sp>
      <p:sp>
        <p:nvSpPr>
          <p:cNvPr id="11" name="Segnaposto contenuto 2">
            <a:extLst>
              <a:ext uri="{FF2B5EF4-FFF2-40B4-BE49-F238E27FC236}">
                <a16:creationId xmlns:a16="http://schemas.microsoft.com/office/drawing/2014/main" id="{6D2B416D-7B49-44B1-B69F-DA365E602485}"/>
              </a:ext>
            </a:extLst>
          </p:cNvPr>
          <p:cNvSpPr>
            <a:spLocks noGrp="1"/>
          </p:cNvSpPr>
          <p:nvPr>
            <p:ph idx="18" hasCustomPrompt="1"/>
          </p:nvPr>
        </p:nvSpPr>
        <p:spPr>
          <a:xfrm>
            <a:off x="305526" y="2857501"/>
            <a:ext cx="2717902" cy="472509"/>
          </a:xfrm>
          <a:prstGeom prst="rect">
            <a:avLst/>
          </a:prstGeom>
          <a:solidFill>
            <a:schemeClr val="tx2"/>
          </a:solidFill>
        </p:spPr>
        <p:txBody>
          <a:bodyPr vert="horz" lIns="144000" tIns="144000" rIns="144000" bIns="45720" rtlCol="0">
            <a:normAutofit/>
          </a:bodyPr>
          <a:lstStyle>
            <a:lvl1pPr>
              <a:spcBef>
                <a:spcPts val="900"/>
              </a:spcBef>
              <a:defRPr lang="it-IT" sz="135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2" name="Segnaposto contenuto 2">
            <a:extLst>
              <a:ext uri="{FF2B5EF4-FFF2-40B4-BE49-F238E27FC236}">
                <a16:creationId xmlns:a16="http://schemas.microsoft.com/office/drawing/2014/main" id="{6D2B416D-7B49-44B1-B69F-DA365E602485}"/>
              </a:ext>
            </a:extLst>
          </p:cNvPr>
          <p:cNvSpPr>
            <a:spLocks noGrp="1"/>
          </p:cNvSpPr>
          <p:nvPr>
            <p:ph idx="19" hasCustomPrompt="1"/>
          </p:nvPr>
        </p:nvSpPr>
        <p:spPr>
          <a:xfrm>
            <a:off x="305526" y="3330009"/>
            <a:ext cx="2717902" cy="739157"/>
          </a:xfrm>
          <a:prstGeom prst="rect">
            <a:avLst/>
          </a:prstGeom>
          <a:solidFill>
            <a:schemeClr val="bg1">
              <a:lumMod val="75000"/>
            </a:schemeClr>
          </a:solidFill>
        </p:spPr>
        <p:txBody>
          <a:bodyPr vert="horz" lIns="144000" tIns="144000" rIns="144000" bIns="45720" rtlCol="0">
            <a:normAutofit/>
          </a:bodyPr>
          <a:lstStyle>
            <a:lvl1pPr>
              <a:spcBef>
                <a:spcPts val="900"/>
              </a:spcBef>
              <a:defRPr lang="it-IT" sz="12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14" name="Segnaposto contenuto 2">
            <a:extLst>
              <a:ext uri="{FF2B5EF4-FFF2-40B4-BE49-F238E27FC236}">
                <a16:creationId xmlns:a16="http://schemas.microsoft.com/office/drawing/2014/main" id="{6D2B416D-7B49-44B1-B69F-DA365E602485}"/>
              </a:ext>
            </a:extLst>
          </p:cNvPr>
          <p:cNvSpPr>
            <a:spLocks noGrp="1"/>
          </p:cNvSpPr>
          <p:nvPr>
            <p:ph idx="20" hasCustomPrompt="1"/>
          </p:nvPr>
        </p:nvSpPr>
        <p:spPr>
          <a:xfrm>
            <a:off x="3137808" y="2857501"/>
            <a:ext cx="2717902" cy="472509"/>
          </a:xfrm>
          <a:prstGeom prst="rect">
            <a:avLst/>
          </a:prstGeom>
          <a:solidFill>
            <a:schemeClr val="tx2"/>
          </a:solidFill>
        </p:spPr>
        <p:txBody>
          <a:bodyPr vert="horz" lIns="144000" tIns="144000" rIns="144000" bIns="45720" rtlCol="0">
            <a:normAutofit/>
          </a:bodyPr>
          <a:lstStyle>
            <a:lvl1pPr>
              <a:spcBef>
                <a:spcPts val="900"/>
              </a:spcBef>
              <a:defRPr lang="it-IT" sz="135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5" name="Segnaposto contenuto 2">
            <a:extLst>
              <a:ext uri="{FF2B5EF4-FFF2-40B4-BE49-F238E27FC236}">
                <a16:creationId xmlns:a16="http://schemas.microsoft.com/office/drawing/2014/main" id="{6D2B416D-7B49-44B1-B69F-DA365E602485}"/>
              </a:ext>
            </a:extLst>
          </p:cNvPr>
          <p:cNvSpPr>
            <a:spLocks noGrp="1"/>
          </p:cNvSpPr>
          <p:nvPr>
            <p:ph idx="21" hasCustomPrompt="1"/>
          </p:nvPr>
        </p:nvSpPr>
        <p:spPr>
          <a:xfrm>
            <a:off x="3137808" y="3330009"/>
            <a:ext cx="2717902" cy="739157"/>
          </a:xfrm>
          <a:prstGeom prst="rect">
            <a:avLst/>
          </a:prstGeom>
          <a:solidFill>
            <a:schemeClr val="bg1">
              <a:lumMod val="75000"/>
            </a:schemeClr>
          </a:solidFill>
        </p:spPr>
        <p:txBody>
          <a:bodyPr vert="horz" lIns="144000" tIns="144000" rIns="144000" bIns="45720" rtlCol="0">
            <a:normAutofit/>
          </a:bodyPr>
          <a:lstStyle>
            <a:lvl1pPr>
              <a:spcBef>
                <a:spcPts val="900"/>
              </a:spcBef>
              <a:defRPr lang="it-IT" sz="12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16" name="Segnaposto contenuto 2">
            <a:extLst>
              <a:ext uri="{FF2B5EF4-FFF2-40B4-BE49-F238E27FC236}">
                <a16:creationId xmlns:a16="http://schemas.microsoft.com/office/drawing/2014/main" id="{6D2B416D-7B49-44B1-B69F-DA365E602485}"/>
              </a:ext>
            </a:extLst>
          </p:cNvPr>
          <p:cNvSpPr>
            <a:spLocks noGrp="1"/>
          </p:cNvSpPr>
          <p:nvPr>
            <p:ph idx="22" hasCustomPrompt="1"/>
          </p:nvPr>
        </p:nvSpPr>
        <p:spPr>
          <a:xfrm>
            <a:off x="5970090" y="2857501"/>
            <a:ext cx="2717902" cy="472509"/>
          </a:xfrm>
          <a:prstGeom prst="rect">
            <a:avLst/>
          </a:prstGeom>
          <a:solidFill>
            <a:schemeClr val="tx2"/>
          </a:solidFill>
        </p:spPr>
        <p:txBody>
          <a:bodyPr vert="horz" lIns="144000" tIns="144000" rIns="144000" bIns="45720" rtlCol="0">
            <a:normAutofit/>
          </a:bodyPr>
          <a:lstStyle>
            <a:lvl1pPr>
              <a:spcBef>
                <a:spcPts val="900"/>
              </a:spcBef>
              <a:defRPr lang="it-IT" sz="135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7" name="Segnaposto contenuto 2">
            <a:extLst>
              <a:ext uri="{FF2B5EF4-FFF2-40B4-BE49-F238E27FC236}">
                <a16:creationId xmlns:a16="http://schemas.microsoft.com/office/drawing/2014/main" id="{6D2B416D-7B49-44B1-B69F-DA365E602485}"/>
              </a:ext>
            </a:extLst>
          </p:cNvPr>
          <p:cNvSpPr>
            <a:spLocks noGrp="1"/>
          </p:cNvSpPr>
          <p:nvPr>
            <p:ph idx="23" hasCustomPrompt="1"/>
          </p:nvPr>
        </p:nvSpPr>
        <p:spPr>
          <a:xfrm>
            <a:off x="5970090" y="3330009"/>
            <a:ext cx="2717902" cy="739157"/>
          </a:xfrm>
          <a:prstGeom prst="rect">
            <a:avLst/>
          </a:prstGeom>
          <a:solidFill>
            <a:schemeClr val="bg1">
              <a:lumMod val="75000"/>
            </a:schemeClr>
          </a:solidFill>
        </p:spPr>
        <p:txBody>
          <a:bodyPr vert="horz" lIns="144000" tIns="144000" rIns="144000" bIns="45720" rtlCol="0">
            <a:normAutofit/>
          </a:bodyPr>
          <a:lstStyle>
            <a:lvl1pPr>
              <a:spcBef>
                <a:spcPts val="900"/>
              </a:spcBef>
              <a:defRPr lang="it-IT" sz="12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Tree>
    <p:extLst>
      <p:ext uri="{BB962C8B-B14F-4D97-AF65-F5344CB8AC3E}">
        <p14:creationId xmlns:p14="http://schemas.microsoft.com/office/powerpoint/2010/main" val="3093943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_Titolo e agenda">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305526" y="1157325"/>
            <a:ext cx="2717902" cy="333603"/>
          </a:xfrm>
          <a:prstGeom prst="rect">
            <a:avLst/>
          </a:prstGeom>
          <a:solidFill>
            <a:schemeClr val="tx2"/>
          </a:solidFill>
        </p:spPr>
        <p:txBody>
          <a:bodyPr vert="horz" lIns="144000" tIns="144000" rIns="144000" bIns="45720" rtlCol="0" anchor="ctr" anchorCtr="0">
            <a:normAutofit/>
          </a:bodyPr>
          <a:lstStyle>
            <a:lvl1pPr>
              <a:spcBef>
                <a:spcPts val="900"/>
              </a:spcBef>
              <a:defRPr lang="it-IT" sz="135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8"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305526" y="1490928"/>
            <a:ext cx="2717902" cy="642673"/>
          </a:xfrm>
          <a:prstGeom prst="rect">
            <a:avLst/>
          </a:prstGeom>
          <a:solidFill>
            <a:schemeClr val="bg1">
              <a:lumMod val="75000"/>
            </a:schemeClr>
          </a:solidFill>
        </p:spPr>
        <p:txBody>
          <a:bodyPr vert="horz" lIns="144000" tIns="144000" rIns="144000" bIns="45720" rtlCol="0">
            <a:normAutofit/>
          </a:bodyPr>
          <a:lstStyle>
            <a:lvl1pPr>
              <a:spcBef>
                <a:spcPts val="900"/>
              </a:spcBef>
              <a:defRPr lang="it-IT" sz="12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22" name="Segnaposto contenuto 2">
            <a:extLst>
              <a:ext uri="{FF2B5EF4-FFF2-40B4-BE49-F238E27FC236}">
                <a16:creationId xmlns:a16="http://schemas.microsoft.com/office/drawing/2014/main" id="{6D2B416D-7B49-44B1-B69F-DA365E602485}"/>
              </a:ext>
            </a:extLst>
          </p:cNvPr>
          <p:cNvSpPr>
            <a:spLocks noGrp="1"/>
          </p:cNvSpPr>
          <p:nvPr>
            <p:ph idx="14" hasCustomPrompt="1"/>
          </p:nvPr>
        </p:nvSpPr>
        <p:spPr>
          <a:xfrm>
            <a:off x="3137808" y="1157325"/>
            <a:ext cx="2717902" cy="333603"/>
          </a:xfrm>
          <a:prstGeom prst="rect">
            <a:avLst/>
          </a:prstGeom>
          <a:solidFill>
            <a:schemeClr val="tx2"/>
          </a:solidFill>
        </p:spPr>
        <p:txBody>
          <a:bodyPr vert="horz" lIns="144000" tIns="144000" rIns="144000" bIns="45720" rtlCol="0" anchor="ctr" anchorCtr="0">
            <a:normAutofit/>
          </a:bodyPr>
          <a:lstStyle>
            <a:lvl1pPr>
              <a:spcBef>
                <a:spcPts val="900"/>
              </a:spcBef>
              <a:defRPr lang="it-IT" sz="135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5" hasCustomPrompt="1"/>
          </p:nvPr>
        </p:nvSpPr>
        <p:spPr>
          <a:xfrm>
            <a:off x="3137808" y="1490928"/>
            <a:ext cx="2717902" cy="642673"/>
          </a:xfrm>
          <a:prstGeom prst="rect">
            <a:avLst/>
          </a:prstGeom>
          <a:solidFill>
            <a:schemeClr val="bg1">
              <a:lumMod val="75000"/>
            </a:schemeClr>
          </a:solidFill>
        </p:spPr>
        <p:txBody>
          <a:bodyPr vert="horz" lIns="144000" tIns="144000" rIns="144000" bIns="45720" rtlCol="0">
            <a:normAutofit/>
          </a:bodyPr>
          <a:lstStyle>
            <a:lvl1pPr>
              <a:spcBef>
                <a:spcPts val="900"/>
              </a:spcBef>
              <a:defRPr lang="it-IT" sz="12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1" name="Segnaposto contenuto 2">
            <a:extLst>
              <a:ext uri="{FF2B5EF4-FFF2-40B4-BE49-F238E27FC236}">
                <a16:creationId xmlns:a16="http://schemas.microsoft.com/office/drawing/2014/main" id="{6D2B416D-7B49-44B1-B69F-DA365E602485}"/>
              </a:ext>
            </a:extLst>
          </p:cNvPr>
          <p:cNvSpPr>
            <a:spLocks noGrp="1"/>
          </p:cNvSpPr>
          <p:nvPr>
            <p:ph idx="16" hasCustomPrompt="1"/>
          </p:nvPr>
        </p:nvSpPr>
        <p:spPr>
          <a:xfrm>
            <a:off x="5970090" y="1157325"/>
            <a:ext cx="2717902" cy="333603"/>
          </a:xfrm>
          <a:prstGeom prst="rect">
            <a:avLst/>
          </a:prstGeom>
          <a:solidFill>
            <a:schemeClr val="tx2"/>
          </a:solidFill>
        </p:spPr>
        <p:txBody>
          <a:bodyPr vert="horz" lIns="144000" tIns="144000" rIns="144000" bIns="45720" rtlCol="0" anchor="ctr" anchorCtr="0">
            <a:normAutofit/>
          </a:bodyPr>
          <a:lstStyle>
            <a:lvl1pPr>
              <a:spcBef>
                <a:spcPts val="900"/>
              </a:spcBef>
              <a:defRPr lang="it-IT" sz="135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2" name="Segnaposto contenuto 2">
            <a:extLst>
              <a:ext uri="{FF2B5EF4-FFF2-40B4-BE49-F238E27FC236}">
                <a16:creationId xmlns:a16="http://schemas.microsoft.com/office/drawing/2014/main" id="{6D2B416D-7B49-44B1-B69F-DA365E602485}"/>
              </a:ext>
            </a:extLst>
          </p:cNvPr>
          <p:cNvSpPr>
            <a:spLocks noGrp="1"/>
          </p:cNvSpPr>
          <p:nvPr>
            <p:ph idx="17" hasCustomPrompt="1"/>
          </p:nvPr>
        </p:nvSpPr>
        <p:spPr>
          <a:xfrm>
            <a:off x="5970090" y="1490928"/>
            <a:ext cx="2717902" cy="642673"/>
          </a:xfrm>
          <a:prstGeom prst="rect">
            <a:avLst/>
          </a:prstGeom>
          <a:solidFill>
            <a:schemeClr val="bg1">
              <a:lumMod val="75000"/>
            </a:schemeClr>
          </a:solidFill>
        </p:spPr>
        <p:txBody>
          <a:bodyPr vert="horz" lIns="144000" tIns="144000" rIns="144000" bIns="45720" rtlCol="0">
            <a:normAutofit/>
          </a:bodyPr>
          <a:lstStyle>
            <a:lvl1pPr>
              <a:spcBef>
                <a:spcPts val="900"/>
              </a:spcBef>
              <a:defRPr lang="it-IT" sz="12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13"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305526" y="0"/>
            <a:ext cx="8382465" cy="721973"/>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9"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8184647" y="5350798"/>
            <a:ext cx="503344" cy="92333"/>
          </a:xfrm>
          <a:prstGeom prst="rect">
            <a:avLst/>
          </a:prstGeom>
          <a:solidFill>
            <a:schemeClr val="bg1"/>
          </a:solidFill>
          <a:effectLst/>
        </p:spPr>
        <p:txBody>
          <a:bodyPr wrap="none" lIns="0" tIns="0" rIns="0" bIns="0" rtlCol="0" anchor="ctr">
            <a:spAutoFit/>
          </a:bodyPr>
          <a:lstStyle>
            <a:lvl1pPr algn="r">
              <a:defRPr lang="it-IT" sz="600" smtClean="0">
                <a:solidFill>
                  <a:schemeClr val="tx2"/>
                </a:solidFill>
                <a:effectLst/>
              </a:defRPr>
            </a:lvl1pPr>
          </a:lstStyle>
          <a:p>
            <a:pPr defTabSz="914378"/>
            <a:r>
              <a:rPr lang="it-IT">
                <a:solidFill>
                  <a:srgbClr val="DC002E"/>
                </a:solidFill>
              </a:rPr>
              <a:t>27 ottobre 2020</a:t>
            </a:r>
            <a:endParaRPr lang="it-IT" dirty="0">
              <a:solidFill>
                <a:srgbClr val="DC002E"/>
              </a:solidFill>
            </a:endParaRPr>
          </a:p>
        </p:txBody>
      </p:sp>
      <p:sp>
        <p:nvSpPr>
          <p:cNvPr id="10"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2339068" y="5459996"/>
            <a:ext cx="6349277" cy="92333"/>
          </a:xfrm>
          <a:prstGeom prst="rect">
            <a:avLst/>
          </a:prstGeom>
          <a:noFill/>
        </p:spPr>
        <p:txBody>
          <a:bodyPr wrap="square" lIns="0" tIns="0" rIns="0" bIns="0" rtlCol="0">
            <a:spAutoFit/>
          </a:bodyPr>
          <a:lstStyle>
            <a:lvl1pPr>
              <a:defRPr lang="it-IT" sz="600" i="0">
                <a:solidFill>
                  <a:schemeClr val="bg2"/>
                </a:solidFill>
              </a:defRPr>
            </a:lvl1pPr>
          </a:lstStyle>
          <a:p>
            <a:pPr algn="r" defTabSz="914378"/>
            <a:endParaRPr lang="en-GB" dirty="0">
              <a:solidFill>
                <a:srgbClr val="717073"/>
              </a:solidFill>
            </a:endParaRPr>
          </a:p>
        </p:txBody>
      </p:sp>
      <p:sp>
        <p:nvSpPr>
          <p:cNvPr id="26" name="Segnaposto contenuto 2">
            <a:extLst>
              <a:ext uri="{FF2B5EF4-FFF2-40B4-BE49-F238E27FC236}">
                <a16:creationId xmlns:a16="http://schemas.microsoft.com/office/drawing/2014/main" id="{6D2B416D-7B49-44B1-B69F-DA365E602485}"/>
              </a:ext>
            </a:extLst>
          </p:cNvPr>
          <p:cNvSpPr>
            <a:spLocks noGrp="1"/>
          </p:cNvSpPr>
          <p:nvPr>
            <p:ph idx="18" hasCustomPrompt="1"/>
          </p:nvPr>
        </p:nvSpPr>
        <p:spPr>
          <a:xfrm>
            <a:off x="305526" y="2321717"/>
            <a:ext cx="2717902" cy="333603"/>
          </a:xfrm>
          <a:prstGeom prst="rect">
            <a:avLst/>
          </a:prstGeom>
          <a:solidFill>
            <a:schemeClr val="tx2"/>
          </a:solidFill>
        </p:spPr>
        <p:txBody>
          <a:bodyPr vert="horz" lIns="144000" tIns="144000" rIns="144000" bIns="45720" rtlCol="0" anchor="ctr" anchorCtr="0">
            <a:normAutofit/>
          </a:bodyPr>
          <a:lstStyle>
            <a:lvl1pPr>
              <a:spcBef>
                <a:spcPts val="900"/>
              </a:spcBef>
              <a:defRPr lang="it-IT" sz="135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27" name="Segnaposto contenuto 2">
            <a:extLst>
              <a:ext uri="{FF2B5EF4-FFF2-40B4-BE49-F238E27FC236}">
                <a16:creationId xmlns:a16="http://schemas.microsoft.com/office/drawing/2014/main" id="{6D2B416D-7B49-44B1-B69F-DA365E602485}"/>
              </a:ext>
            </a:extLst>
          </p:cNvPr>
          <p:cNvSpPr>
            <a:spLocks noGrp="1"/>
          </p:cNvSpPr>
          <p:nvPr>
            <p:ph idx="19" hasCustomPrompt="1"/>
          </p:nvPr>
        </p:nvSpPr>
        <p:spPr>
          <a:xfrm>
            <a:off x="305526" y="2655319"/>
            <a:ext cx="2717902" cy="642673"/>
          </a:xfrm>
          <a:prstGeom prst="rect">
            <a:avLst/>
          </a:prstGeom>
          <a:solidFill>
            <a:schemeClr val="bg1">
              <a:lumMod val="75000"/>
            </a:schemeClr>
          </a:solidFill>
        </p:spPr>
        <p:txBody>
          <a:bodyPr vert="horz" lIns="144000" tIns="144000" rIns="144000" bIns="45720" rtlCol="0">
            <a:normAutofit/>
          </a:bodyPr>
          <a:lstStyle>
            <a:lvl1pPr>
              <a:spcBef>
                <a:spcPts val="900"/>
              </a:spcBef>
              <a:defRPr lang="it-IT" sz="12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28" name="Segnaposto contenuto 2">
            <a:extLst>
              <a:ext uri="{FF2B5EF4-FFF2-40B4-BE49-F238E27FC236}">
                <a16:creationId xmlns:a16="http://schemas.microsoft.com/office/drawing/2014/main" id="{6D2B416D-7B49-44B1-B69F-DA365E602485}"/>
              </a:ext>
            </a:extLst>
          </p:cNvPr>
          <p:cNvSpPr>
            <a:spLocks noGrp="1"/>
          </p:cNvSpPr>
          <p:nvPr>
            <p:ph idx="20" hasCustomPrompt="1"/>
          </p:nvPr>
        </p:nvSpPr>
        <p:spPr>
          <a:xfrm>
            <a:off x="3137808" y="2321717"/>
            <a:ext cx="2717902" cy="333603"/>
          </a:xfrm>
          <a:prstGeom prst="rect">
            <a:avLst/>
          </a:prstGeom>
          <a:solidFill>
            <a:schemeClr val="tx2"/>
          </a:solidFill>
        </p:spPr>
        <p:txBody>
          <a:bodyPr vert="horz" lIns="144000" tIns="144000" rIns="144000" bIns="45720" rtlCol="0" anchor="ctr" anchorCtr="0">
            <a:normAutofit/>
          </a:bodyPr>
          <a:lstStyle>
            <a:lvl1pPr>
              <a:spcBef>
                <a:spcPts val="900"/>
              </a:spcBef>
              <a:defRPr lang="it-IT" sz="135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29" name="Segnaposto contenuto 2">
            <a:extLst>
              <a:ext uri="{FF2B5EF4-FFF2-40B4-BE49-F238E27FC236}">
                <a16:creationId xmlns:a16="http://schemas.microsoft.com/office/drawing/2014/main" id="{6D2B416D-7B49-44B1-B69F-DA365E602485}"/>
              </a:ext>
            </a:extLst>
          </p:cNvPr>
          <p:cNvSpPr>
            <a:spLocks noGrp="1"/>
          </p:cNvSpPr>
          <p:nvPr>
            <p:ph idx="21" hasCustomPrompt="1"/>
          </p:nvPr>
        </p:nvSpPr>
        <p:spPr>
          <a:xfrm>
            <a:off x="3137808" y="2655319"/>
            <a:ext cx="2717902" cy="642673"/>
          </a:xfrm>
          <a:prstGeom prst="rect">
            <a:avLst/>
          </a:prstGeom>
          <a:solidFill>
            <a:schemeClr val="bg1">
              <a:lumMod val="75000"/>
            </a:schemeClr>
          </a:solidFill>
        </p:spPr>
        <p:txBody>
          <a:bodyPr vert="horz" lIns="144000" tIns="144000" rIns="144000" bIns="45720" rtlCol="0">
            <a:normAutofit/>
          </a:bodyPr>
          <a:lstStyle>
            <a:lvl1pPr>
              <a:spcBef>
                <a:spcPts val="900"/>
              </a:spcBef>
              <a:defRPr lang="it-IT" sz="12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3" name="Segnaposto contenuto 2">
            <a:extLst>
              <a:ext uri="{FF2B5EF4-FFF2-40B4-BE49-F238E27FC236}">
                <a16:creationId xmlns:a16="http://schemas.microsoft.com/office/drawing/2014/main" id="{6D2B416D-7B49-44B1-B69F-DA365E602485}"/>
              </a:ext>
            </a:extLst>
          </p:cNvPr>
          <p:cNvSpPr>
            <a:spLocks noGrp="1"/>
          </p:cNvSpPr>
          <p:nvPr>
            <p:ph idx="22" hasCustomPrompt="1"/>
          </p:nvPr>
        </p:nvSpPr>
        <p:spPr>
          <a:xfrm>
            <a:off x="5970090" y="2321717"/>
            <a:ext cx="2717902" cy="333603"/>
          </a:xfrm>
          <a:prstGeom prst="rect">
            <a:avLst/>
          </a:prstGeom>
          <a:solidFill>
            <a:schemeClr val="tx2"/>
          </a:solidFill>
        </p:spPr>
        <p:txBody>
          <a:bodyPr vert="horz" lIns="144000" tIns="144000" rIns="144000" bIns="45720" rtlCol="0" anchor="ctr" anchorCtr="0">
            <a:normAutofit/>
          </a:bodyPr>
          <a:lstStyle>
            <a:lvl1pPr>
              <a:spcBef>
                <a:spcPts val="900"/>
              </a:spcBef>
              <a:defRPr lang="it-IT" sz="135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4" name="Segnaposto contenuto 2">
            <a:extLst>
              <a:ext uri="{FF2B5EF4-FFF2-40B4-BE49-F238E27FC236}">
                <a16:creationId xmlns:a16="http://schemas.microsoft.com/office/drawing/2014/main" id="{6D2B416D-7B49-44B1-B69F-DA365E602485}"/>
              </a:ext>
            </a:extLst>
          </p:cNvPr>
          <p:cNvSpPr>
            <a:spLocks noGrp="1"/>
          </p:cNvSpPr>
          <p:nvPr>
            <p:ph idx="23" hasCustomPrompt="1"/>
          </p:nvPr>
        </p:nvSpPr>
        <p:spPr>
          <a:xfrm>
            <a:off x="5970090" y="2655319"/>
            <a:ext cx="2717902" cy="642673"/>
          </a:xfrm>
          <a:prstGeom prst="rect">
            <a:avLst/>
          </a:prstGeom>
          <a:solidFill>
            <a:schemeClr val="bg1">
              <a:lumMod val="75000"/>
            </a:schemeClr>
          </a:solidFill>
        </p:spPr>
        <p:txBody>
          <a:bodyPr vert="horz" lIns="144000" tIns="144000" rIns="144000" bIns="45720" rtlCol="0">
            <a:normAutofit/>
          </a:bodyPr>
          <a:lstStyle>
            <a:lvl1pPr>
              <a:spcBef>
                <a:spcPts val="900"/>
              </a:spcBef>
              <a:defRPr lang="it-IT" sz="12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5" name="Segnaposto contenuto 2">
            <a:extLst>
              <a:ext uri="{FF2B5EF4-FFF2-40B4-BE49-F238E27FC236}">
                <a16:creationId xmlns:a16="http://schemas.microsoft.com/office/drawing/2014/main" id="{6D2B416D-7B49-44B1-B69F-DA365E602485}"/>
              </a:ext>
            </a:extLst>
          </p:cNvPr>
          <p:cNvSpPr>
            <a:spLocks noGrp="1"/>
          </p:cNvSpPr>
          <p:nvPr>
            <p:ph idx="24" hasCustomPrompt="1"/>
          </p:nvPr>
        </p:nvSpPr>
        <p:spPr>
          <a:xfrm>
            <a:off x="305526" y="3482166"/>
            <a:ext cx="2717902" cy="333603"/>
          </a:xfrm>
          <a:prstGeom prst="rect">
            <a:avLst/>
          </a:prstGeom>
          <a:solidFill>
            <a:schemeClr val="tx2"/>
          </a:solidFill>
        </p:spPr>
        <p:txBody>
          <a:bodyPr vert="horz" lIns="144000" tIns="144000" rIns="144000" bIns="45720" rtlCol="0" anchor="ctr" anchorCtr="0">
            <a:normAutofit/>
          </a:bodyPr>
          <a:lstStyle>
            <a:lvl1pPr>
              <a:spcBef>
                <a:spcPts val="900"/>
              </a:spcBef>
              <a:defRPr lang="it-IT" sz="135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6" name="Segnaposto contenuto 2">
            <a:extLst>
              <a:ext uri="{FF2B5EF4-FFF2-40B4-BE49-F238E27FC236}">
                <a16:creationId xmlns:a16="http://schemas.microsoft.com/office/drawing/2014/main" id="{6D2B416D-7B49-44B1-B69F-DA365E602485}"/>
              </a:ext>
            </a:extLst>
          </p:cNvPr>
          <p:cNvSpPr>
            <a:spLocks noGrp="1"/>
          </p:cNvSpPr>
          <p:nvPr>
            <p:ph idx="25" hasCustomPrompt="1"/>
          </p:nvPr>
        </p:nvSpPr>
        <p:spPr>
          <a:xfrm>
            <a:off x="305526" y="3815769"/>
            <a:ext cx="2717902" cy="642673"/>
          </a:xfrm>
          <a:prstGeom prst="rect">
            <a:avLst/>
          </a:prstGeom>
          <a:solidFill>
            <a:schemeClr val="bg1">
              <a:lumMod val="75000"/>
            </a:schemeClr>
          </a:solidFill>
        </p:spPr>
        <p:txBody>
          <a:bodyPr vert="horz" lIns="144000" tIns="144000" rIns="144000" bIns="45720" rtlCol="0">
            <a:normAutofit/>
          </a:bodyPr>
          <a:lstStyle>
            <a:lvl1pPr>
              <a:spcBef>
                <a:spcPts val="900"/>
              </a:spcBef>
              <a:defRPr lang="it-IT" sz="12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7" name="Segnaposto contenuto 2">
            <a:extLst>
              <a:ext uri="{FF2B5EF4-FFF2-40B4-BE49-F238E27FC236}">
                <a16:creationId xmlns:a16="http://schemas.microsoft.com/office/drawing/2014/main" id="{6D2B416D-7B49-44B1-B69F-DA365E602485}"/>
              </a:ext>
            </a:extLst>
          </p:cNvPr>
          <p:cNvSpPr>
            <a:spLocks noGrp="1"/>
          </p:cNvSpPr>
          <p:nvPr>
            <p:ph idx="26" hasCustomPrompt="1"/>
          </p:nvPr>
        </p:nvSpPr>
        <p:spPr>
          <a:xfrm>
            <a:off x="3137808" y="3482166"/>
            <a:ext cx="2717902" cy="333603"/>
          </a:xfrm>
          <a:prstGeom prst="rect">
            <a:avLst/>
          </a:prstGeom>
          <a:solidFill>
            <a:schemeClr val="tx2"/>
          </a:solidFill>
        </p:spPr>
        <p:txBody>
          <a:bodyPr vert="horz" lIns="144000" tIns="144000" rIns="144000" bIns="45720" rtlCol="0" anchor="ctr" anchorCtr="0">
            <a:normAutofit/>
          </a:bodyPr>
          <a:lstStyle>
            <a:lvl1pPr>
              <a:spcBef>
                <a:spcPts val="900"/>
              </a:spcBef>
              <a:defRPr lang="it-IT" sz="135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8" name="Segnaposto contenuto 2">
            <a:extLst>
              <a:ext uri="{FF2B5EF4-FFF2-40B4-BE49-F238E27FC236}">
                <a16:creationId xmlns:a16="http://schemas.microsoft.com/office/drawing/2014/main" id="{6D2B416D-7B49-44B1-B69F-DA365E602485}"/>
              </a:ext>
            </a:extLst>
          </p:cNvPr>
          <p:cNvSpPr>
            <a:spLocks noGrp="1"/>
          </p:cNvSpPr>
          <p:nvPr>
            <p:ph idx="27" hasCustomPrompt="1"/>
          </p:nvPr>
        </p:nvSpPr>
        <p:spPr>
          <a:xfrm>
            <a:off x="3137808" y="3815769"/>
            <a:ext cx="2717902" cy="642673"/>
          </a:xfrm>
          <a:prstGeom prst="rect">
            <a:avLst/>
          </a:prstGeom>
          <a:solidFill>
            <a:schemeClr val="bg1">
              <a:lumMod val="75000"/>
            </a:schemeClr>
          </a:solidFill>
        </p:spPr>
        <p:txBody>
          <a:bodyPr vert="horz" lIns="144000" tIns="144000" rIns="144000" bIns="45720" rtlCol="0">
            <a:normAutofit/>
          </a:bodyPr>
          <a:lstStyle>
            <a:lvl1pPr>
              <a:spcBef>
                <a:spcPts val="900"/>
              </a:spcBef>
              <a:defRPr lang="it-IT" sz="12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9" name="Segnaposto contenuto 2">
            <a:extLst>
              <a:ext uri="{FF2B5EF4-FFF2-40B4-BE49-F238E27FC236}">
                <a16:creationId xmlns:a16="http://schemas.microsoft.com/office/drawing/2014/main" id="{6D2B416D-7B49-44B1-B69F-DA365E602485}"/>
              </a:ext>
            </a:extLst>
          </p:cNvPr>
          <p:cNvSpPr>
            <a:spLocks noGrp="1"/>
          </p:cNvSpPr>
          <p:nvPr>
            <p:ph idx="28" hasCustomPrompt="1"/>
          </p:nvPr>
        </p:nvSpPr>
        <p:spPr>
          <a:xfrm>
            <a:off x="5970090" y="3482166"/>
            <a:ext cx="2717902" cy="333603"/>
          </a:xfrm>
          <a:prstGeom prst="rect">
            <a:avLst/>
          </a:prstGeom>
          <a:solidFill>
            <a:schemeClr val="tx2"/>
          </a:solidFill>
        </p:spPr>
        <p:txBody>
          <a:bodyPr vert="horz" lIns="144000" tIns="144000" rIns="144000" bIns="45720" rtlCol="0" anchor="ctr" anchorCtr="0">
            <a:normAutofit/>
          </a:bodyPr>
          <a:lstStyle>
            <a:lvl1pPr>
              <a:spcBef>
                <a:spcPts val="900"/>
              </a:spcBef>
              <a:defRPr lang="it-IT" sz="135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40" name="Segnaposto contenuto 2">
            <a:extLst>
              <a:ext uri="{FF2B5EF4-FFF2-40B4-BE49-F238E27FC236}">
                <a16:creationId xmlns:a16="http://schemas.microsoft.com/office/drawing/2014/main" id="{6D2B416D-7B49-44B1-B69F-DA365E602485}"/>
              </a:ext>
            </a:extLst>
          </p:cNvPr>
          <p:cNvSpPr>
            <a:spLocks noGrp="1"/>
          </p:cNvSpPr>
          <p:nvPr>
            <p:ph idx="29" hasCustomPrompt="1"/>
          </p:nvPr>
        </p:nvSpPr>
        <p:spPr>
          <a:xfrm>
            <a:off x="5970090" y="3815769"/>
            <a:ext cx="2717902" cy="642673"/>
          </a:xfrm>
          <a:prstGeom prst="rect">
            <a:avLst/>
          </a:prstGeom>
          <a:solidFill>
            <a:schemeClr val="bg1">
              <a:lumMod val="75000"/>
            </a:schemeClr>
          </a:solidFill>
        </p:spPr>
        <p:txBody>
          <a:bodyPr vert="horz" lIns="144000" tIns="144000" rIns="144000" bIns="45720" rtlCol="0">
            <a:normAutofit/>
          </a:bodyPr>
          <a:lstStyle>
            <a:lvl1pPr>
              <a:spcBef>
                <a:spcPts val="900"/>
              </a:spcBef>
              <a:defRPr lang="it-IT" sz="12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Tree>
    <p:extLst>
      <p:ext uri="{BB962C8B-B14F-4D97-AF65-F5344CB8AC3E}">
        <p14:creationId xmlns:p14="http://schemas.microsoft.com/office/powerpoint/2010/main" val="158356648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ROSSO1_Titolo Sottotitolo e contenuto">
    <p:spTree>
      <p:nvGrpSpPr>
        <p:cNvPr id="1" name=""/>
        <p:cNvGrpSpPr/>
        <p:nvPr/>
      </p:nvGrpSpPr>
      <p:grpSpPr>
        <a:xfrm>
          <a:off x="0" y="0"/>
          <a:ext cx="0" cy="0"/>
          <a:chOff x="0" y="0"/>
          <a:chExt cx="0" cy="0"/>
        </a:xfrm>
      </p:grpSpPr>
      <p:grpSp>
        <p:nvGrpSpPr>
          <p:cNvPr id="4" name="Gruppo 3"/>
          <p:cNvGrpSpPr/>
          <p:nvPr userDrawn="1"/>
        </p:nvGrpSpPr>
        <p:grpSpPr>
          <a:xfrm>
            <a:off x="0" y="0"/>
            <a:ext cx="9144000" cy="5715000"/>
            <a:chOff x="0" y="0"/>
            <a:chExt cx="12192000" cy="6858000"/>
          </a:xfrm>
        </p:grpSpPr>
        <p:sp>
          <p:nvSpPr>
            <p:cNvPr id="2" name="Rettangolo 1"/>
            <p:cNvSpPr/>
            <p:nvPr userDrawn="1"/>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it-IT" sz="1350">
                <a:solidFill>
                  <a:srgbClr val="FFFFFF"/>
                </a:solidFill>
              </a:endParaRPr>
            </a:p>
          </p:txBody>
        </p:sp>
        <p:sp>
          <p:nvSpPr>
            <p:cNvPr id="22" name="Rettangolo 21">
              <a:extLst>
                <a:ext uri="{FF2B5EF4-FFF2-40B4-BE49-F238E27FC236}">
                  <a16:creationId xmlns:a16="http://schemas.microsoft.com/office/drawing/2014/main" id="{7466584B-8BD1-48B2-BD0C-DC7DD5380BEF}"/>
                </a:ext>
              </a:extLst>
            </p:cNvPr>
            <p:cNvSpPr/>
            <p:nvPr userDrawn="1"/>
          </p:nvSpPr>
          <p:spPr>
            <a:xfrm>
              <a:off x="11718170" y="0"/>
              <a:ext cx="47288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it-IT" sz="1350">
                <a:solidFill>
                  <a:srgbClr val="FFFFFF"/>
                </a:solidFill>
              </a:endParaRPr>
            </a:p>
          </p:txBody>
        </p:sp>
        <p:grpSp>
          <p:nvGrpSpPr>
            <p:cNvPr id="23"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11786074" y="90427"/>
              <a:ext cx="346160" cy="234428"/>
              <a:chOff x="-560" y="-1287"/>
              <a:chExt cx="6379" cy="4320"/>
            </a:xfrm>
          </p:grpSpPr>
          <p:sp>
            <p:nvSpPr>
              <p:cNvPr id="24"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685800"/>
                <a:endParaRPr lang="it-IT" sz="1350">
                  <a:solidFill>
                    <a:srgbClr val="000000"/>
                  </a:solidFill>
                </a:endParaRPr>
              </a:p>
            </p:txBody>
          </p:sp>
          <p:sp>
            <p:nvSpPr>
              <p:cNvPr id="25"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685800"/>
                <a:endParaRPr lang="it-IT" sz="1350">
                  <a:solidFill>
                    <a:srgbClr val="000000"/>
                  </a:solidFill>
                </a:endParaRPr>
              </a:p>
            </p:txBody>
          </p:sp>
          <p:sp>
            <p:nvSpPr>
              <p:cNvPr id="26"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defTabSz="685800"/>
                <a:endParaRPr lang="it-IT" sz="1350">
                  <a:solidFill>
                    <a:srgbClr val="000000"/>
                  </a:solidFill>
                </a:endParaRPr>
              </a:p>
            </p:txBody>
          </p:sp>
          <p:sp>
            <p:nvSpPr>
              <p:cNvPr id="27"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pPr defTabSz="685800"/>
                <a:endParaRPr lang="it-IT" sz="1350">
                  <a:solidFill>
                    <a:srgbClr val="000000"/>
                  </a:solidFill>
                </a:endParaRPr>
              </a:p>
            </p:txBody>
          </p:sp>
          <p:sp>
            <p:nvSpPr>
              <p:cNvPr id="28"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pPr defTabSz="685800"/>
                <a:endParaRPr lang="it-IT" sz="1350">
                  <a:solidFill>
                    <a:srgbClr val="000000"/>
                  </a:solidFill>
                </a:endParaRPr>
              </a:p>
            </p:txBody>
          </p:sp>
          <p:sp>
            <p:nvSpPr>
              <p:cNvPr id="29"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pPr defTabSz="685800"/>
                <a:endParaRPr lang="it-IT" sz="1350">
                  <a:solidFill>
                    <a:srgbClr val="000000"/>
                  </a:solidFill>
                </a:endParaRPr>
              </a:p>
            </p:txBody>
          </p:sp>
        </p:grpSp>
      </p:grpSp>
      <p:sp>
        <p:nvSpPr>
          <p:cNvPr id="17"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305526" y="0"/>
            <a:ext cx="8382465" cy="721973"/>
          </a:xfrm>
          <a:prstGeom prst="rect">
            <a:avLst/>
          </a:prstGeom>
        </p:spPr>
        <p:txBody>
          <a:bodyPr vert="horz" lIns="0" tIns="45720" rIns="91440" bIns="45720" rtlCol="0" anchor="b">
            <a:noAutofit/>
          </a:bodyPr>
          <a:lstStyle>
            <a:lvl1pPr>
              <a:defRPr lang="it-IT">
                <a:solidFill>
                  <a:schemeClr val="bg1"/>
                </a:solidFill>
              </a:defRPr>
            </a:lvl1pPr>
          </a:lstStyle>
          <a:p>
            <a:pPr lvl="0"/>
            <a:r>
              <a:rPr lang="it-IT" dirty="0"/>
              <a:t>Titolo Calibri 28pt </a:t>
            </a:r>
          </a:p>
        </p:txBody>
      </p:sp>
      <p:sp>
        <p:nvSpPr>
          <p:cNvPr id="19"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305526" y="721973"/>
            <a:ext cx="8382465" cy="325778"/>
          </a:xfrm>
          <a:prstGeom prst="rect">
            <a:avLst/>
          </a:prstGeom>
        </p:spPr>
        <p:txBody>
          <a:bodyPr vert="horz" lIns="0" tIns="45720" rIns="91440" bIns="45720" rtlCol="0">
            <a:normAutofit/>
          </a:bodyPr>
          <a:lstStyle>
            <a:lvl1pPr>
              <a:spcBef>
                <a:spcPts val="900"/>
              </a:spcBef>
              <a:defRPr lang="it-IT" sz="15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Sottotitolo Calibri 22pt</a:t>
            </a:r>
          </a:p>
        </p:txBody>
      </p:sp>
      <p:sp>
        <p:nvSpPr>
          <p:cNvPr id="3" name="Segnaposto testo 2">
            <a:extLst>
              <a:ext uri="{FF2B5EF4-FFF2-40B4-BE49-F238E27FC236}">
                <a16:creationId xmlns:a16="http://schemas.microsoft.com/office/drawing/2014/main" id="{6197E883-74D9-DD49-9664-52FC49ABA788}"/>
              </a:ext>
            </a:extLst>
          </p:cNvPr>
          <p:cNvSpPr>
            <a:spLocks noGrp="1"/>
          </p:cNvSpPr>
          <p:nvPr>
            <p:ph type="body" sz="quarter" idx="14" hasCustomPrompt="1"/>
          </p:nvPr>
        </p:nvSpPr>
        <p:spPr>
          <a:xfrm>
            <a:off x="305991" y="1267354"/>
            <a:ext cx="8382000" cy="3570553"/>
          </a:xfrm>
          <a:prstGeom prst="rect">
            <a:avLst/>
          </a:prstGeom>
        </p:spPr>
        <p:txBody>
          <a:bodyPr/>
          <a:lstStyle>
            <a:lvl1pPr>
              <a:defRPr sz="15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dirty="0"/>
              <a:t>Calibri 20pt</a:t>
            </a:r>
          </a:p>
          <a:p>
            <a:pPr lvl="1"/>
            <a:r>
              <a:rPr lang="it-IT" dirty="0"/>
              <a:t>Secondo livello 18pt</a:t>
            </a:r>
          </a:p>
          <a:p>
            <a:pPr lvl="2"/>
            <a:r>
              <a:rPr lang="it-IT" dirty="0"/>
              <a:t>Terzo livello 16pt</a:t>
            </a:r>
          </a:p>
          <a:p>
            <a:pPr lvl="3"/>
            <a:r>
              <a:rPr lang="it-IT" dirty="0"/>
              <a:t>Quarto livello 14pt</a:t>
            </a:r>
          </a:p>
          <a:p>
            <a:pPr lvl="4"/>
            <a:r>
              <a:rPr lang="it-IT" dirty="0"/>
              <a:t>Quinto livello 12pt</a:t>
            </a:r>
          </a:p>
        </p:txBody>
      </p:sp>
      <p:sp>
        <p:nvSpPr>
          <p:cNvPr id="21"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8788628" y="5413256"/>
            <a:ext cx="354666" cy="192644"/>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8"/>
            <a:fld id="{B9D7DBFB-DCE9-42BC-A361-A0671D12ADFC}" type="slidenum">
              <a:rPr lang="it-IT" sz="750">
                <a:solidFill>
                  <a:srgbClr val="DC002E"/>
                </a:solidFill>
              </a:rPr>
              <a:pPr defTabSz="914378"/>
              <a:t>‹N›</a:t>
            </a:fld>
            <a:endParaRPr lang="it-IT" sz="750" dirty="0">
              <a:solidFill>
                <a:srgbClr val="DC002E"/>
              </a:solidFill>
            </a:endParaRPr>
          </a:p>
        </p:txBody>
      </p:sp>
      <p:sp>
        <p:nvSpPr>
          <p:cNvPr id="30"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8184647" y="5350798"/>
            <a:ext cx="503344" cy="92333"/>
          </a:xfrm>
          <a:prstGeom prst="rect">
            <a:avLst/>
          </a:prstGeom>
          <a:noFill/>
          <a:effectLst/>
        </p:spPr>
        <p:txBody>
          <a:bodyPr wrap="none" lIns="0" tIns="0" rIns="0" bIns="0" rtlCol="0" anchor="ctr">
            <a:spAutoFit/>
          </a:bodyPr>
          <a:lstStyle>
            <a:lvl1pPr algn="r">
              <a:defRPr lang="it-IT" sz="600" smtClean="0">
                <a:solidFill>
                  <a:schemeClr val="bg1"/>
                </a:solidFill>
                <a:effectLst/>
              </a:defRPr>
            </a:lvl1pPr>
          </a:lstStyle>
          <a:p>
            <a:pPr defTabSz="914378"/>
            <a:r>
              <a:rPr lang="it-IT">
                <a:solidFill>
                  <a:srgbClr val="FFFFFF"/>
                </a:solidFill>
              </a:rPr>
              <a:t>27 ottobre 2020</a:t>
            </a:r>
            <a:endParaRPr lang="it-IT" dirty="0">
              <a:solidFill>
                <a:srgbClr val="FFFFFF"/>
              </a:solidFill>
            </a:endParaRPr>
          </a:p>
        </p:txBody>
      </p:sp>
      <p:sp>
        <p:nvSpPr>
          <p:cNvPr id="31"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2339068" y="5459996"/>
            <a:ext cx="6349277" cy="92333"/>
          </a:xfrm>
          <a:prstGeom prst="rect">
            <a:avLst/>
          </a:prstGeom>
          <a:noFill/>
        </p:spPr>
        <p:txBody>
          <a:bodyPr wrap="square" lIns="0" tIns="0" rIns="0" bIns="0" rtlCol="0">
            <a:spAutoFit/>
          </a:bodyPr>
          <a:lstStyle>
            <a:lvl1pPr>
              <a:defRPr lang="it-IT" sz="600" i="0">
                <a:solidFill>
                  <a:schemeClr val="bg1"/>
                </a:solidFill>
              </a:defRPr>
            </a:lvl1pPr>
          </a:lstStyle>
          <a:p>
            <a:pPr algn="r" defTabSz="914378"/>
            <a:endParaRPr lang="en-GB" dirty="0">
              <a:solidFill>
                <a:srgbClr val="FFFFFF"/>
              </a:solidFill>
            </a:endParaRPr>
          </a:p>
        </p:txBody>
      </p:sp>
      <p:pic>
        <p:nvPicPr>
          <p:cNvPr id="20" name="Immagin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5991" y="5097929"/>
            <a:ext cx="711341" cy="447737"/>
          </a:xfrm>
          <a:prstGeom prst="rect">
            <a:avLst/>
          </a:prstGeom>
        </p:spPr>
      </p:pic>
    </p:spTree>
    <p:extLst>
      <p:ext uri="{BB962C8B-B14F-4D97-AF65-F5344CB8AC3E}">
        <p14:creationId xmlns:p14="http://schemas.microsoft.com/office/powerpoint/2010/main" val="596722068"/>
      </p:ext>
    </p:extLst>
  </p:cSld>
  <p:clrMapOvr>
    <a:masterClrMapping/>
  </p:clrMapOvr>
  <p:extLst>
    <p:ext uri="{DCECCB84-F9BA-43D5-87BE-67443E8EF086}">
      <p15:sldGuideLst xmlns:p15="http://schemas.microsoft.com/office/powerpoint/2012/main">
        <p15:guide id="1" orient="horz" pos="95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ROSSO1_COPY HEAD">
    <p:spTree>
      <p:nvGrpSpPr>
        <p:cNvPr id="1" name=""/>
        <p:cNvGrpSpPr/>
        <p:nvPr/>
      </p:nvGrpSpPr>
      <p:grpSpPr>
        <a:xfrm>
          <a:off x="0" y="0"/>
          <a:ext cx="0" cy="0"/>
          <a:chOff x="0" y="0"/>
          <a:chExt cx="0" cy="0"/>
        </a:xfrm>
      </p:grpSpPr>
      <p:sp>
        <p:nvSpPr>
          <p:cNvPr id="2" name="Rettangolo 1"/>
          <p:cNvSpPr/>
          <p:nvPr userDrawn="1"/>
        </p:nvSpPr>
        <p:spPr>
          <a:xfrm>
            <a:off x="0" y="0"/>
            <a:ext cx="9144000" cy="5715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it-IT" sz="9000" dirty="0">
              <a:solidFill>
                <a:srgbClr val="FFFFFF"/>
              </a:solidFill>
            </a:endParaRPr>
          </a:p>
        </p:txBody>
      </p:sp>
      <p:sp>
        <p:nvSpPr>
          <p:cNvPr id="22" name="Rettangolo 21">
            <a:extLst>
              <a:ext uri="{FF2B5EF4-FFF2-40B4-BE49-F238E27FC236}">
                <a16:creationId xmlns:a16="http://schemas.microsoft.com/office/drawing/2014/main" id="{7466584B-8BD1-48B2-BD0C-DC7DD5380BEF}"/>
              </a:ext>
            </a:extLst>
          </p:cNvPr>
          <p:cNvSpPr/>
          <p:nvPr userDrawn="1"/>
        </p:nvSpPr>
        <p:spPr>
          <a:xfrm>
            <a:off x="8788628" y="0"/>
            <a:ext cx="354666" cy="571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it-IT" sz="1350">
              <a:solidFill>
                <a:srgbClr val="FFFFFF"/>
              </a:solidFill>
            </a:endParaRPr>
          </a:p>
        </p:txBody>
      </p:sp>
      <p:grpSp>
        <p:nvGrpSpPr>
          <p:cNvPr id="23"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8839556" y="75356"/>
            <a:ext cx="259620" cy="195357"/>
            <a:chOff x="-560" y="-1287"/>
            <a:chExt cx="6379" cy="4320"/>
          </a:xfrm>
        </p:grpSpPr>
        <p:sp>
          <p:nvSpPr>
            <p:cNvPr id="24"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685800"/>
              <a:endParaRPr lang="it-IT" sz="1350">
                <a:solidFill>
                  <a:srgbClr val="000000"/>
                </a:solidFill>
              </a:endParaRPr>
            </a:p>
          </p:txBody>
        </p:sp>
        <p:sp>
          <p:nvSpPr>
            <p:cNvPr id="25"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685800"/>
              <a:endParaRPr lang="it-IT" sz="1350">
                <a:solidFill>
                  <a:srgbClr val="000000"/>
                </a:solidFill>
              </a:endParaRPr>
            </a:p>
          </p:txBody>
        </p:sp>
        <p:sp>
          <p:nvSpPr>
            <p:cNvPr id="26"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defTabSz="685800"/>
              <a:endParaRPr lang="it-IT" sz="1350">
                <a:solidFill>
                  <a:srgbClr val="000000"/>
                </a:solidFill>
              </a:endParaRPr>
            </a:p>
          </p:txBody>
        </p:sp>
        <p:sp>
          <p:nvSpPr>
            <p:cNvPr id="27"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pPr defTabSz="685800"/>
              <a:endParaRPr lang="it-IT" sz="1350">
                <a:solidFill>
                  <a:srgbClr val="000000"/>
                </a:solidFill>
              </a:endParaRPr>
            </a:p>
          </p:txBody>
        </p:sp>
        <p:sp>
          <p:nvSpPr>
            <p:cNvPr id="28"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pPr defTabSz="685800"/>
              <a:endParaRPr lang="it-IT" sz="1350">
                <a:solidFill>
                  <a:srgbClr val="000000"/>
                </a:solidFill>
              </a:endParaRPr>
            </a:p>
          </p:txBody>
        </p:sp>
        <p:sp>
          <p:nvSpPr>
            <p:cNvPr id="29"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pPr defTabSz="685800"/>
              <a:endParaRPr lang="it-IT" sz="1350">
                <a:solidFill>
                  <a:srgbClr val="000000"/>
                </a:solidFill>
              </a:endParaRPr>
            </a:p>
          </p:txBody>
        </p:sp>
      </p:grpSp>
      <p:sp>
        <p:nvSpPr>
          <p:cNvPr id="21"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8788628" y="5413256"/>
            <a:ext cx="354666" cy="192644"/>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8"/>
            <a:fld id="{B9D7DBFB-DCE9-42BC-A361-A0671D12ADFC}" type="slidenum">
              <a:rPr lang="it-IT" sz="750">
                <a:solidFill>
                  <a:srgbClr val="DC002E"/>
                </a:solidFill>
              </a:rPr>
              <a:pPr defTabSz="914378"/>
              <a:t>‹N›</a:t>
            </a:fld>
            <a:endParaRPr lang="it-IT" sz="750" dirty="0">
              <a:solidFill>
                <a:srgbClr val="DC002E"/>
              </a:solidFill>
            </a:endParaRPr>
          </a:p>
        </p:txBody>
      </p:sp>
      <p:sp>
        <p:nvSpPr>
          <p:cNvPr id="6" name="Segnaposto testo 5"/>
          <p:cNvSpPr>
            <a:spLocks noGrp="1"/>
          </p:cNvSpPr>
          <p:nvPr>
            <p:ph type="body" sz="quarter" idx="10" hasCustomPrompt="1"/>
          </p:nvPr>
        </p:nvSpPr>
        <p:spPr>
          <a:xfrm>
            <a:off x="305991" y="751417"/>
            <a:ext cx="8382000" cy="4086491"/>
          </a:xfrm>
        </p:spPr>
        <p:txBody>
          <a:bodyPr anchor="ctr" anchorCtr="0"/>
          <a:lstStyle>
            <a:lvl1pPr algn="ctr">
              <a:defRPr sz="9000" b="1">
                <a:solidFill>
                  <a:schemeClr val="bg1"/>
                </a:solidFill>
              </a:defRPr>
            </a:lvl1pPr>
          </a:lstStyle>
          <a:p>
            <a:pPr lvl="0"/>
            <a:r>
              <a:rPr lang="it-IT" dirty="0"/>
              <a:t>Inserire il testo</a:t>
            </a:r>
          </a:p>
        </p:txBody>
      </p:sp>
      <p:sp>
        <p:nvSpPr>
          <p:cNvPr id="16"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8184647" y="5350798"/>
            <a:ext cx="503344" cy="92333"/>
          </a:xfrm>
          <a:prstGeom prst="rect">
            <a:avLst/>
          </a:prstGeom>
          <a:noFill/>
          <a:effectLst/>
        </p:spPr>
        <p:txBody>
          <a:bodyPr wrap="none" lIns="0" tIns="0" rIns="0" bIns="0" rtlCol="0" anchor="ctr">
            <a:spAutoFit/>
          </a:bodyPr>
          <a:lstStyle>
            <a:lvl1pPr algn="r">
              <a:defRPr lang="it-IT" sz="600" smtClean="0">
                <a:solidFill>
                  <a:schemeClr val="bg1"/>
                </a:solidFill>
                <a:effectLst/>
              </a:defRPr>
            </a:lvl1pPr>
          </a:lstStyle>
          <a:p>
            <a:pPr defTabSz="914378"/>
            <a:r>
              <a:rPr lang="it-IT">
                <a:solidFill>
                  <a:srgbClr val="FFFFFF"/>
                </a:solidFill>
              </a:rPr>
              <a:t>27 ottobre 2020</a:t>
            </a:r>
            <a:endParaRPr lang="it-IT" dirty="0">
              <a:solidFill>
                <a:srgbClr val="FFFFFF"/>
              </a:solidFill>
            </a:endParaRPr>
          </a:p>
        </p:txBody>
      </p:sp>
      <p:sp>
        <p:nvSpPr>
          <p:cNvPr id="17"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2339068" y="5459996"/>
            <a:ext cx="6349277" cy="92333"/>
          </a:xfrm>
          <a:prstGeom prst="rect">
            <a:avLst/>
          </a:prstGeom>
          <a:noFill/>
        </p:spPr>
        <p:txBody>
          <a:bodyPr wrap="square" lIns="0" tIns="0" rIns="0" bIns="0" rtlCol="0">
            <a:spAutoFit/>
          </a:bodyPr>
          <a:lstStyle>
            <a:lvl1pPr>
              <a:defRPr lang="it-IT" sz="600" i="0">
                <a:solidFill>
                  <a:schemeClr val="bg1"/>
                </a:solidFill>
              </a:defRPr>
            </a:lvl1pPr>
          </a:lstStyle>
          <a:p>
            <a:pPr algn="r" defTabSz="914378"/>
            <a:endParaRPr lang="en-GB" dirty="0">
              <a:solidFill>
                <a:srgbClr val="FFFFFF"/>
              </a:solidFill>
            </a:endParaRPr>
          </a:p>
        </p:txBody>
      </p:sp>
      <p:pic>
        <p:nvPicPr>
          <p:cNvPr id="18" name="Immagin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5991" y="5097929"/>
            <a:ext cx="711341" cy="447737"/>
          </a:xfrm>
          <a:prstGeom prst="rect">
            <a:avLst/>
          </a:prstGeom>
        </p:spPr>
      </p:pic>
    </p:spTree>
    <p:extLst>
      <p:ext uri="{BB962C8B-B14F-4D97-AF65-F5344CB8AC3E}">
        <p14:creationId xmlns:p14="http://schemas.microsoft.com/office/powerpoint/2010/main" val="2817872776"/>
      </p:ext>
    </p:extLst>
  </p:cSld>
  <p:clrMapOvr>
    <a:masterClrMapping/>
  </p:clrMapOvr>
  <p:extLst>
    <p:ext uri="{DCECCB84-F9BA-43D5-87BE-67443E8EF086}">
      <p15:sldGuideLst xmlns:p15="http://schemas.microsoft.com/office/powerpoint/2012/main">
        <p15:guide id="1" orient="horz" pos="95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dice">
    <p:spTree>
      <p:nvGrpSpPr>
        <p:cNvPr id="1" name=""/>
        <p:cNvGrpSpPr/>
        <p:nvPr/>
      </p:nvGrpSpPr>
      <p:grpSpPr>
        <a:xfrm>
          <a:off x="0" y="0"/>
          <a:ext cx="0" cy="0"/>
          <a:chOff x="0" y="0"/>
          <a:chExt cx="0" cy="0"/>
        </a:xfrm>
      </p:grpSpPr>
      <p:sp>
        <p:nvSpPr>
          <p:cNvPr id="12" name="Rettangolo 11">
            <a:extLst>
              <a:ext uri="{FF2B5EF4-FFF2-40B4-BE49-F238E27FC236}">
                <a16:creationId xmlns:a16="http://schemas.microsoft.com/office/drawing/2014/main" id="{83084A23-6A9D-48F6-95F5-5090736F718A}"/>
              </a:ext>
            </a:extLst>
          </p:cNvPr>
          <p:cNvSpPr/>
          <p:nvPr userDrawn="1"/>
        </p:nvSpPr>
        <p:spPr>
          <a:xfrm>
            <a:off x="8789334" y="0"/>
            <a:ext cx="354666" cy="5715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it-IT">
              <a:solidFill>
                <a:srgbClr val="FFFFFF"/>
              </a:solidFill>
            </a:endParaRPr>
          </a:p>
        </p:txBody>
      </p:sp>
      <p:grpSp>
        <p:nvGrpSpPr>
          <p:cNvPr id="14" name="Group 4">
            <a:extLst>
              <a:ext uri="{FF2B5EF4-FFF2-40B4-BE49-F238E27FC236}">
                <a16:creationId xmlns:a16="http://schemas.microsoft.com/office/drawing/2014/main" id="{E4737D48-B2DB-4F53-BFC9-9F18751EDFC0}"/>
              </a:ext>
            </a:extLst>
          </p:cNvPr>
          <p:cNvGrpSpPr>
            <a:grpSpLocks noChangeAspect="1"/>
          </p:cNvGrpSpPr>
          <p:nvPr userDrawn="1"/>
        </p:nvGrpSpPr>
        <p:grpSpPr bwMode="auto">
          <a:xfrm>
            <a:off x="8840262" y="75356"/>
            <a:ext cx="259620" cy="195357"/>
            <a:chOff x="-560" y="-1287"/>
            <a:chExt cx="6379" cy="4320"/>
          </a:xfrm>
        </p:grpSpPr>
        <p:sp>
          <p:nvSpPr>
            <p:cNvPr id="15" name="AutoShape 3">
              <a:extLst>
                <a:ext uri="{FF2B5EF4-FFF2-40B4-BE49-F238E27FC236}">
                  <a16:creationId xmlns:a16="http://schemas.microsoft.com/office/drawing/2014/main" id="{525F0B45-3EF6-4A9D-A83E-CDB12E556535}"/>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400"/>
              <a:endParaRPr lang="it-IT">
                <a:solidFill>
                  <a:srgbClr val="000000"/>
                </a:solidFill>
              </a:endParaRPr>
            </a:p>
          </p:txBody>
        </p:sp>
        <p:sp>
          <p:nvSpPr>
            <p:cNvPr id="16" name="Rectangle 5">
              <a:extLst>
                <a:ext uri="{FF2B5EF4-FFF2-40B4-BE49-F238E27FC236}">
                  <a16:creationId xmlns:a16="http://schemas.microsoft.com/office/drawing/2014/main" id="{DB6A0205-9830-47FC-AFEF-1EA19F148D8C}"/>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400"/>
              <a:endParaRPr lang="it-IT">
                <a:solidFill>
                  <a:srgbClr val="000000"/>
                </a:solidFill>
              </a:endParaRPr>
            </a:p>
          </p:txBody>
        </p:sp>
        <p:sp>
          <p:nvSpPr>
            <p:cNvPr id="17" name="Freeform 6">
              <a:extLst>
                <a:ext uri="{FF2B5EF4-FFF2-40B4-BE49-F238E27FC236}">
                  <a16:creationId xmlns:a16="http://schemas.microsoft.com/office/drawing/2014/main" id="{A652E29C-2288-4037-A735-2C99372F7809}"/>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it-IT">
                <a:solidFill>
                  <a:srgbClr val="000000"/>
                </a:solidFill>
              </a:endParaRPr>
            </a:p>
          </p:txBody>
        </p:sp>
        <p:sp>
          <p:nvSpPr>
            <p:cNvPr id="18" name="Freeform 7">
              <a:extLst>
                <a:ext uri="{FF2B5EF4-FFF2-40B4-BE49-F238E27FC236}">
                  <a16:creationId xmlns:a16="http://schemas.microsoft.com/office/drawing/2014/main" id="{3DEB9809-C89A-4A58-9A81-ABAF9CE315F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it-IT">
                <a:solidFill>
                  <a:srgbClr val="000000"/>
                </a:solidFill>
              </a:endParaRPr>
            </a:p>
          </p:txBody>
        </p:sp>
        <p:sp>
          <p:nvSpPr>
            <p:cNvPr id="22" name="Freeform 8">
              <a:extLst>
                <a:ext uri="{FF2B5EF4-FFF2-40B4-BE49-F238E27FC236}">
                  <a16:creationId xmlns:a16="http://schemas.microsoft.com/office/drawing/2014/main" id="{E1355289-BE5F-41B1-954C-B78211E4669F}"/>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it-IT">
                <a:solidFill>
                  <a:srgbClr val="000000"/>
                </a:solidFill>
              </a:endParaRPr>
            </a:p>
          </p:txBody>
        </p:sp>
        <p:sp>
          <p:nvSpPr>
            <p:cNvPr id="30" name="Freeform 9">
              <a:extLst>
                <a:ext uri="{FF2B5EF4-FFF2-40B4-BE49-F238E27FC236}">
                  <a16:creationId xmlns:a16="http://schemas.microsoft.com/office/drawing/2014/main" id="{8A815911-1EC8-4303-988F-6009E820B583}"/>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it-IT">
                <a:solidFill>
                  <a:srgbClr val="000000"/>
                </a:solidFill>
              </a:endParaRPr>
            </a:p>
          </p:txBody>
        </p:sp>
      </p:grpSp>
      <p:sp>
        <p:nvSpPr>
          <p:cNvPr id="26"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3204008" y="1632220"/>
            <a:ext cx="4767646" cy="288656"/>
          </a:xfrm>
          <a:prstGeom prst="rect">
            <a:avLst/>
          </a:prstGeom>
        </p:spPr>
        <p:txBody>
          <a:bodyPr vert="horz" lIns="0" tIns="45720" rIns="91440" bIns="45720" rtlCol="0" anchor="ctr" anchorCtr="0">
            <a:normAutofit/>
          </a:bodyPr>
          <a:lstStyle>
            <a:lvl1pPr algn="l">
              <a:defRPr lang="it-IT" sz="2000" baseline="0" smtClean="0">
                <a:solidFill>
                  <a:schemeClr val="bg2"/>
                </a:solidFill>
              </a:defRPr>
            </a:lvl1pPr>
            <a:lvl2pPr>
              <a:defRPr lang="it-IT" smtClean="0"/>
            </a:lvl2pPr>
            <a:lvl3pPr>
              <a:defRPr lang="it-IT" smtClean="0"/>
            </a:lvl3pPr>
            <a:lvl4pPr>
              <a:defRPr lang="it-IT" smtClean="0"/>
            </a:lvl4pPr>
            <a:lvl5pPr>
              <a:defRPr lang="it-IT"/>
            </a:lvl5pPr>
          </a:lstStyle>
          <a:p>
            <a:pPr lvl="0"/>
            <a:r>
              <a:rPr lang="it-IT" dirty="0"/>
              <a:t>Indice</a:t>
            </a:r>
          </a:p>
        </p:txBody>
      </p:sp>
      <p:sp>
        <p:nvSpPr>
          <p:cNvPr id="27" name="Segnaposto contenuto 2">
            <a:extLst>
              <a:ext uri="{FF2B5EF4-FFF2-40B4-BE49-F238E27FC236}">
                <a16:creationId xmlns:a16="http://schemas.microsoft.com/office/drawing/2014/main" id="{6D2B416D-7B49-44B1-B69F-DA365E602485}"/>
              </a:ext>
            </a:extLst>
          </p:cNvPr>
          <p:cNvSpPr>
            <a:spLocks noGrp="1"/>
          </p:cNvSpPr>
          <p:nvPr>
            <p:ph idx="10" hasCustomPrompt="1"/>
          </p:nvPr>
        </p:nvSpPr>
        <p:spPr>
          <a:xfrm>
            <a:off x="8083823" y="1632224"/>
            <a:ext cx="407799" cy="288656"/>
          </a:xfrm>
          <a:prstGeom prst="rect">
            <a:avLst/>
          </a:prstGeom>
        </p:spPr>
        <p:txBody>
          <a:bodyPr vert="horz" lIns="0" tIns="45720" rIns="91440" bIns="45720" rtlCol="0" anchor="ctr" anchorCtr="0">
            <a:normAutofit/>
          </a:bodyPr>
          <a:lstStyle>
            <a:lvl1pPr algn="r">
              <a:defRPr lang="it-IT" sz="2000" baseline="0" smtClean="0">
                <a:solidFill>
                  <a:schemeClr val="bg2"/>
                </a:solidFill>
              </a:defRPr>
            </a:lvl1pPr>
            <a:lvl2pPr>
              <a:defRPr lang="it-IT" smtClean="0"/>
            </a:lvl2pPr>
            <a:lvl3pPr>
              <a:defRPr lang="it-IT" smtClean="0"/>
            </a:lvl3pPr>
            <a:lvl4pPr>
              <a:defRPr lang="it-IT" smtClean="0"/>
            </a:lvl4pPr>
            <a:lvl5pPr>
              <a:defRPr lang="it-IT"/>
            </a:lvl5pPr>
          </a:lstStyle>
          <a:p>
            <a:pPr lvl="0"/>
            <a:r>
              <a:rPr lang="it-IT" dirty="0"/>
              <a:t>N </a:t>
            </a:r>
          </a:p>
        </p:txBody>
      </p:sp>
      <p:sp>
        <p:nvSpPr>
          <p:cNvPr id="28" name="CasellaDiTesto 27"/>
          <p:cNvSpPr txBox="1"/>
          <p:nvPr userDrawn="1"/>
        </p:nvSpPr>
        <p:spPr>
          <a:xfrm>
            <a:off x="5336500" y="907689"/>
            <a:ext cx="2807495" cy="646331"/>
          </a:xfrm>
          <a:prstGeom prst="rect">
            <a:avLst/>
          </a:prstGeom>
          <a:noFill/>
        </p:spPr>
        <p:txBody>
          <a:bodyPr wrap="square" rtlCol="0">
            <a:spAutoFit/>
          </a:bodyPr>
          <a:lstStyle/>
          <a:p>
            <a:pPr algn="r" defTabSz="914400"/>
            <a:r>
              <a:rPr lang="it-IT" sz="3600" b="1" dirty="0">
                <a:solidFill>
                  <a:srgbClr val="DC002E"/>
                </a:solidFill>
              </a:rPr>
              <a:t>INDICE</a:t>
            </a:r>
          </a:p>
        </p:txBody>
      </p:sp>
      <p:sp>
        <p:nvSpPr>
          <p:cNvPr id="29" name="Segnaposto contenuto 2">
            <a:extLst>
              <a:ext uri="{FF2B5EF4-FFF2-40B4-BE49-F238E27FC236}">
                <a16:creationId xmlns:a16="http://schemas.microsoft.com/office/drawing/2014/main" id="{6D2B416D-7B49-44B1-B69F-DA365E602485}"/>
              </a:ext>
            </a:extLst>
          </p:cNvPr>
          <p:cNvSpPr>
            <a:spLocks noGrp="1"/>
          </p:cNvSpPr>
          <p:nvPr>
            <p:ph idx="11" hasCustomPrompt="1"/>
          </p:nvPr>
        </p:nvSpPr>
        <p:spPr>
          <a:xfrm>
            <a:off x="2004949" y="1632224"/>
            <a:ext cx="1024920" cy="288656"/>
          </a:xfrm>
          <a:prstGeom prst="rect">
            <a:avLst/>
          </a:prstGeom>
        </p:spPr>
        <p:txBody>
          <a:bodyPr vert="horz" lIns="0" tIns="45720" rIns="91440" bIns="45720" rtlCol="0" anchor="ctr" anchorCtr="0">
            <a:normAutofit/>
          </a:bodyPr>
          <a:lstStyle>
            <a:lvl1pPr algn="r">
              <a:defRPr lang="it-IT" sz="2000" b="1" baseline="0" smtClean="0">
                <a:solidFill>
                  <a:schemeClr val="tx2"/>
                </a:solidFill>
              </a:defRPr>
            </a:lvl1pPr>
            <a:lvl2pPr>
              <a:defRPr lang="it-IT" smtClean="0"/>
            </a:lvl2pPr>
            <a:lvl3pPr>
              <a:defRPr lang="it-IT" smtClean="0"/>
            </a:lvl3pPr>
            <a:lvl4pPr>
              <a:defRPr lang="it-IT" smtClean="0"/>
            </a:lvl4pPr>
            <a:lvl5pPr>
              <a:defRPr lang="it-IT"/>
            </a:lvl5pPr>
          </a:lstStyle>
          <a:p>
            <a:pPr lvl="0"/>
            <a:r>
              <a:rPr lang="it-IT" dirty="0"/>
              <a:t>00</a:t>
            </a:r>
          </a:p>
        </p:txBody>
      </p:sp>
      <p:sp>
        <p:nvSpPr>
          <p:cNvPr id="35"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8788628" y="5413261"/>
            <a:ext cx="354666" cy="192644"/>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fld id="{B9D7DBFB-DCE9-42BC-A361-A0671D12ADFC}" type="slidenum">
              <a:rPr lang="it-IT">
                <a:solidFill>
                  <a:srgbClr val="FFFFFF"/>
                </a:solidFill>
              </a:rPr>
              <a:pPr defTabSz="1219170"/>
              <a:t>‹N›</a:t>
            </a:fld>
            <a:endParaRPr lang="it-IT" dirty="0">
              <a:solidFill>
                <a:srgbClr val="FFFFFF"/>
              </a:solidFill>
            </a:endParaRPr>
          </a:p>
        </p:txBody>
      </p:sp>
    </p:spTree>
    <p:extLst>
      <p:ext uri="{BB962C8B-B14F-4D97-AF65-F5344CB8AC3E}">
        <p14:creationId xmlns:p14="http://schemas.microsoft.com/office/powerpoint/2010/main" val="7241113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rgbClr val="A6A6A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622" y="1352"/>
          <a:ext cx="1619" cy="1349"/>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2" y="1352"/>
                        <a:ext cx="1619" cy="134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Immagine 23">
            <a:extLst>
              <a:ext uri="{FF2B5EF4-FFF2-40B4-BE49-F238E27FC236}">
                <a16:creationId xmlns:a16="http://schemas.microsoft.com/office/drawing/2014/main" id="{3AF58126-496D-4B06-8DA2-3C1A4E1FC9A5}"/>
              </a:ext>
            </a:extLst>
          </p:cNvPr>
          <p:cNvPicPr>
            <a:picLocks noChangeAspect="1"/>
          </p:cNvPicPr>
          <p:nvPr/>
        </p:nvPicPr>
        <p:blipFill rotWithShape="1">
          <a:blip r:embed="rId5" cstate="email">
            <a:extLst>
              <a:ext uri="{28A0092B-C50C-407E-A947-70E740481C1C}">
                <a14:useLocalDpi xmlns:a14="http://schemas.microsoft.com/office/drawing/2010/main" val="0"/>
              </a:ext>
            </a:extLst>
          </a:blip>
          <a:srcRect t="35334" b="22889"/>
          <a:stretch/>
        </p:blipFill>
        <p:spPr>
          <a:xfrm>
            <a:off x="-30958" y="3045777"/>
            <a:ext cx="9181001" cy="2612532"/>
          </a:xfrm>
          <a:prstGeom prst="rect">
            <a:avLst/>
          </a:prstGeom>
        </p:spPr>
      </p:pic>
      <p:sp>
        <p:nvSpPr>
          <p:cNvPr id="13314" name="Title"/>
          <p:cNvSpPr>
            <a:spLocks noGrp="1" noChangeArrowheads="1"/>
          </p:cNvSpPr>
          <p:nvPr>
            <p:ph type="ctrTitle"/>
          </p:nvPr>
        </p:nvSpPr>
        <p:spPr bwMode="auto">
          <a:xfrm>
            <a:off x="277020" y="1066173"/>
            <a:ext cx="8387894" cy="565219"/>
          </a:xfrm>
          <a:prstGeom prst="rect">
            <a:avLst/>
          </a:prstGeom>
        </p:spPr>
        <p:txBody>
          <a:bodyPr wrap="square" anchor="b">
            <a:spAutoFit/>
          </a:bodyPr>
          <a:lstStyle>
            <a:lvl1pPr algn="r">
              <a:defRPr lang="x-none" sz="3673" b="1" baseline="0">
                <a:solidFill>
                  <a:schemeClr val="tx2"/>
                </a:solidFill>
                <a:latin typeface="Calibri" panose="020F0502020204030204" pitchFamily="34" charset="0"/>
                <a:ea typeface="+mj-ea"/>
                <a:sym typeface="Calibri" panose="020F0502020204030204" pitchFamily="34" charset="0"/>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bwMode="auto">
          <a:xfrm>
            <a:off x="277020" y="1763444"/>
            <a:ext cx="8387894" cy="358047"/>
          </a:xfrm>
          <a:prstGeom prst="rect">
            <a:avLst/>
          </a:prstGeom>
        </p:spPr>
        <p:txBody>
          <a:bodyPr wrap="square">
            <a:spAutoFit/>
          </a:bodyPr>
          <a:lstStyle>
            <a:lvl1pPr algn="r">
              <a:defRPr lang="x-none" sz="2449" cap="none" baseline="0">
                <a:solidFill>
                  <a:schemeClr val="bg1"/>
                </a:solidFill>
                <a:latin typeface="Calibri" panose="020F0502020204030204" pitchFamily="34" charset="0"/>
                <a:ea typeface="+mn-ea"/>
                <a:sym typeface="Calibri" panose="020F0502020204030204" pitchFamily="34" charset="0"/>
              </a:defRPr>
            </a:lvl1pPr>
          </a:lstStyle>
          <a:p>
            <a:pPr lvl="0" latinLnBrk="0"/>
            <a:r>
              <a:rPr lang="en-US" noProof="0"/>
              <a:t>Click to edit Master subtitle style</a:t>
            </a:r>
            <a:endParaRPr lang="en-US" noProof="0" dirty="0"/>
          </a:p>
        </p:txBody>
      </p:sp>
      <p:sp>
        <p:nvSpPr>
          <p:cNvPr id="5" name="doc id"/>
          <p:cNvSpPr txBox="1">
            <a:spLocks noChangeArrowheads="1"/>
          </p:cNvSpPr>
          <p:nvPr/>
        </p:nvSpPr>
        <p:spPr bwMode="auto">
          <a:xfrm>
            <a:off x="8775667" y="-206517"/>
            <a:ext cx="301290" cy="1039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defTabSz="699722" eaLnBrk="1" fontAlgn="base" hangingPunct="1">
              <a:spcBef>
                <a:spcPct val="0"/>
              </a:spcBef>
              <a:spcAft>
                <a:spcPct val="0"/>
              </a:spcAft>
              <a:defRPr lang="x-none"/>
            </a:pPr>
            <a:r>
              <a:rPr lang="en-US" sz="600">
                <a:solidFill>
                  <a:srgbClr val="FFFFFF"/>
                </a:solidFill>
                <a:latin typeface="Calibri" panose="020F0502020204030204" pitchFamily="34" charset="0"/>
                <a:sym typeface="Calibri" panose="020F0502020204030204" pitchFamily="34" charset="0"/>
              </a:rPr>
              <a:t>MIL-FDS078-29052018-126242/BS</a:t>
            </a:r>
            <a:endParaRPr lang="en-US" sz="600" dirty="0">
              <a:solidFill>
                <a:srgbClr val="FFFFFF"/>
              </a:solidFill>
              <a:latin typeface="Calibri" panose="020F0502020204030204" pitchFamily="34" charset="0"/>
              <a:sym typeface="Calibri" panose="020F0502020204030204" pitchFamily="34" charset="0"/>
            </a:endParaRPr>
          </a:p>
        </p:txBody>
      </p:sp>
      <p:sp>
        <p:nvSpPr>
          <p:cNvPr id="18" name="Text Placeholder 19"/>
          <p:cNvSpPr>
            <a:spLocks noGrp="1"/>
          </p:cNvSpPr>
          <p:nvPr>
            <p:ph type="body" sz="quarter" idx="14" hasCustomPrompt="1"/>
          </p:nvPr>
        </p:nvSpPr>
        <p:spPr bwMode="auto">
          <a:xfrm>
            <a:off x="277020" y="4534054"/>
            <a:ext cx="8582601" cy="201465"/>
          </a:xfrm>
        </p:spPr>
        <p:txBody>
          <a:bodyPr lIns="0" tIns="0" rIns="0" bIns="0">
            <a:spAutoFit/>
          </a:bodyPr>
          <a:lstStyle>
            <a:lvl1pPr marL="0" indent="0">
              <a:buFont typeface="Arial" panose="020B0604020202020204" pitchFamily="34" charset="0"/>
              <a:buNone/>
              <a:defRPr sz="1378" b="1">
                <a:solidFill>
                  <a:schemeClr val="bg1"/>
                </a:solidFill>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r>
              <a:rPr lang="en-US" dirty="0"/>
              <a:t>Date</a:t>
            </a:r>
          </a:p>
        </p:txBody>
      </p:sp>
      <p:sp>
        <p:nvSpPr>
          <p:cNvPr id="12" name="Working Draft" hidden="1">
            <a:extLst>
              <a:ext uri="{FF2B5EF4-FFF2-40B4-BE49-F238E27FC236}">
                <a16:creationId xmlns:a16="http://schemas.microsoft.com/office/drawing/2014/main" id="{782C6591-B204-4D09-BA06-FD5F3310E138}"/>
              </a:ext>
            </a:extLst>
          </p:cNvPr>
          <p:cNvSpPr txBox="1">
            <a:spLocks noChangeArrowheads="1"/>
          </p:cNvSpPr>
          <p:nvPr/>
        </p:nvSpPr>
        <p:spPr bwMode="gray">
          <a:xfrm rot="5400000">
            <a:off x="8375422" y="1653932"/>
            <a:ext cx="1394613" cy="70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699722" fontAlgn="base" hangingPunct="1">
              <a:spcBef>
                <a:spcPct val="0"/>
              </a:spcBef>
              <a:spcAft>
                <a:spcPct val="0"/>
              </a:spcAft>
              <a:defRPr/>
            </a:pPr>
            <a:r>
              <a:rPr lang="en-US" sz="459">
                <a:solidFill>
                  <a:srgbClr val="FFFFFF"/>
                </a:solidFill>
                <a:latin typeface="Calibri" panose="020F0502020204030204" pitchFamily="34" charset="0"/>
                <a:sym typeface="Calibri" panose="020F0502020204030204" pitchFamily="34" charset="0"/>
              </a:rPr>
              <a:t>Last Modified 27/07/2018 14:11 W. Europe Standard Time</a:t>
            </a:r>
            <a:endParaRPr lang="en-US" sz="459" dirty="0">
              <a:solidFill>
                <a:srgbClr val="FFFFFF"/>
              </a:solidFill>
              <a:latin typeface="Calibri" panose="020F0502020204030204" pitchFamily="34" charset="0"/>
              <a:sym typeface="Calibri" panose="020F0502020204030204" pitchFamily="34" charset="0"/>
            </a:endParaRPr>
          </a:p>
        </p:txBody>
      </p:sp>
      <p:sp>
        <p:nvSpPr>
          <p:cNvPr id="13" name="Printed" hidden="1">
            <a:extLst>
              <a:ext uri="{FF2B5EF4-FFF2-40B4-BE49-F238E27FC236}">
                <a16:creationId xmlns:a16="http://schemas.microsoft.com/office/drawing/2014/main" id="{CBB59A49-999D-4A57-BDA8-5A13B99EEDB4}"/>
              </a:ext>
            </a:extLst>
          </p:cNvPr>
          <p:cNvSpPr txBox="1">
            <a:spLocks noChangeArrowheads="1"/>
          </p:cNvSpPr>
          <p:nvPr/>
        </p:nvSpPr>
        <p:spPr bwMode="gray">
          <a:xfrm rot="5400000">
            <a:off x="8449160" y="3502249"/>
            <a:ext cx="1247136" cy="70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699722" fontAlgn="base" hangingPunct="1">
              <a:spcBef>
                <a:spcPct val="0"/>
              </a:spcBef>
              <a:spcAft>
                <a:spcPct val="0"/>
              </a:spcAft>
              <a:defRPr/>
            </a:pPr>
            <a:r>
              <a:rPr lang="en-US" sz="459">
                <a:solidFill>
                  <a:srgbClr val="FFFFFF"/>
                </a:solidFill>
                <a:latin typeface="Calibri" panose="020F0502020204030204" pitchFamily="34" charset="0"/>
                <a:sym typeface="Calibri" panose="020F0502020204030204" pitchFamily="34" charset="0"/>
              </a:rPr>
              <a:t>Printed 12/07/2018 16:24 W. Europe Standard Time</a:t>
            </a:r>
            <a:endParaRPr lang="en-US" sz="459" dirty="0">
              <a:solidFill>
                <a:srgbClr val="FFFFFF"/>
              </a:solidFill>
              <a:latin typeface="Calibri" panose="020F0502020204030204" pitchFamily="34" charset="0"/>
              <a:sym typeface="Calibri" panose="020F0502020204030204" pitchFamily="34" charset="0"/>
            </a:endParaRPr>
          </a:p>
        </p:txBody>
      </p:sp>
      <p:sp>
        <p:nvSpPr>
          <p:cNvPr id="20" name="Rettangolo 9">
            <a:extLst>
              <a:ext uri="{FF2B5EF4-FFF2-40B4-BE49-F238E27FC236}">
                <a16:creationId xmlns:a16="http://schemas.microsoft.com/office/drawing/2014/main" id="{380DEF3D-DB94-49B7-96E7-C3FF25CA5104}"/>
              </a:ext>
            </a:extLst>
          </p:cNvPr>
          <p:cNvSpPr/>
          <p:nvPr/>
        </p:nvSpPr>
        <p:spPr>
          <a:xfrm>
            <a:off x="8783339" y="1"/>
            <a:ext cx="361875" cy="5715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722" fontAlgn="base">
              <a:spcBef>
                <a:spcPct val="0"/>
              </a:spcBef>
              <a:spcAft>
                <a:spcPct val="0"/>
              </a:spcAft>
              <a:defRPr/>
            </a:pPr>
            <a:endParaRPr lang="it-IT" sz="1224">
              <a:solidFill>
                <a:srgbClr val="FFFFFF"/>
              </a:solidFill>
            </a:endParaRPr>
          </a:p>
        </p:txBody>
      </p:sp>
      <p:grpSp>
        <p:nvGrpSpPr>
          <p:cNvPr id="25" name="Group 4">
            <a:extLst>
              <a:ext uri="{FF2B5EF4-FFF2-40B4-BE49-F238E27FC236}">
                <a16:creationId xmlns:a16="http://schemas.microsoft.com/office/drawing/2014/main" id="{6D9C1427-4688-4AC3-BD3A-025078C5F505}"/>
              </a:ext>
            </a:extLst>
          </p:cNvPr>
          <p:cNvGrpSpPr>
            <a:grpSpLocks noChangeAspect="1"/>
          </p:cNvGrpSpPr>
          <p:nvPr/>
        </p:nvGrpSpPr>
        <p:grpSpPr bwMode="auto">
          <a:xfrm>
            <a:off x="8835302" y="76887"/>
            <a:ext cx="264897" cy="199325"/>
            <a:chOff x="-560" y="-1287"/>
            <a:chExt cx="6379" cy="4320"/>
          </a:xfrm>
        </p:grpSpPr>
        <p:sp>
          <p:nvSpPr>
            <p:cNvPr id="26" name="AutoShape 3">
              <a:extLst>
                <a:ext uri="{FF2B5EF4-FFF2-40B4-BE49-F238E27FC236}">
                  <a16:creationId xmlns:a16="http://schemas.microsoft.com/office/drawing/2014/main" id="{25CD258C-68B8-4684-979C-769B450F1702}"/>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699722" fontAlgn="base">
                <a:spcBef>
                  <a:spcPct val="0"/>
                </a:spcBef>
                <a:spcAft>
                  <a:spcPct val="0"/>
                </a:spcAft>
                <a:defRPr/>
              </a:pPr>
              <a:endParaRPr lang="it-IT" sz="1224">
                <a:solidFill>
                  <a:srgbClr val="000000"/>
                </a:solidFill>
                <a:latin typeface="Arial" charset="0"/>
              </a:endParaRPr>
            </a:p>
          </p:txBody>
        </p:sp>
        <p:sp>
          <p:nvSpPr>
            <p:cNvPr id="27" name="Rectangle 5">
              <a:extLst>
                <a:ext uri="{FF2B5EF4-FFF2-40B4-BE49-F238E27FC236}">
                  <a16:creationId xmlns:a16="http://schemas.microsoft.com/office/drawing/2014/main" id="{5B0EA1DB-1D63-4ED3-84B9-D20365BDF59C}"/>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699722" fontAlgn="base">
                <a:spcBef>
                  <a:spcPct val="0"/>
                </a:spcBef>
                <a:spcAft>
                  <a:spcPct val="0"/>
                </a:spcAft>
                <a:defRPr/>
              </a:pPr>
              <a:endParaRPr lang="it-IT" sz="1224">
                <a:solidFill>
                  <a:srgbClr val="000000"/>
                </a:solidFill>
                <a:latin typeface="Arial" charset="0"/>
              </a:endParaRPr>
            </a:p>
          </p:txBody>
        </p:sp>
        <p:sp>
          <p:nvSpPr>
            <p:cNvPr id="28" name="Freeform 6">
              <a:extLst>
                <a:ext uri="{FF2B5EF4-FFF2-40B4-BE49-F238E27FC236}">
                  <a16:creationId xmlns:a16="http://schemas.microsoft.com/office/drawing/2014/main" id="{3F9B6BD9-53D0-43BA-B179-CD3D3A0C4D39}"/>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699722" fontAlgn="base">
                <a:spcBef>
                  <a:spcPct val="0"/>
                </a:spcBef>
                <a:spcAft>
                  <a:spcPct val="0"/>
                </a:spcAft>
                <a:defRPr/>
              </a:pPr>
              <a:endParaRPr lang="it-IT" sz="1224">
                <a:solidFill>
                  <a:srgbClr val="000000"/>
                </a:solidFill>
                <a:latin typeface="Arial" charset="0"/>
              </a:endParaRPr>
            </a:p>
          </p:txBody>
        </p:sp>
        <p:sp>
          <p:nvSpPr>
            <p:cNvPr id="29" name="Freeform 7">
              <a:extLst>
                <a:ext uri="{FF2B5EF4-FFF2-40B4-BE49-F238E27FC236}">
                  <a16:creationId xmlns:a16="http://schemas.microsoft.com/office/drawing/2014/main" id="{A060C7E6-C586-4099-96B9-3836F87749F3}"/>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699722" fontAlgn="base">
                <a:spcBef>
                  <a:spcPct val="0"/>
                </a:spcBef>
                <a:spcAft>
                  <a:spcPct val="0"/>
                </a:spcAft>
                <a:defRPr/>
              </a:pPr>
              <a:endParaRPr lang="it-IT" sz="1224">
                <a:solidFill>
                  <a:srgbClr val="000000"/>
                </a:solidFill>
                <a:latin typeface="Arial" charset="0"/>
              </a:endParaRPr>
            </a:p>
          </p:txBody>
        </p:sp>
        <p:sp>
          <p:nvSpPr>
            <p:cNvPr id="30" name="Freeform 8">
              <a:extLst>
                <a:ext uri="{FF2B5EF4-FFF2-40B4-BE49-F238E27FC236}">
                  <a16:creationId xmlns:a16="http://schemas.microsoft.com/office/drawing/2014/main" id="{8087CD34-BB43-4BFE-B5BF-A43F14CA878E}"/>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699722" fontAlgn="base">
                <a:spcBef>
                  <a:spcPct val="0"/>
                </a:spcBef>
                <a:spcAft>
                  <a:spcPct val="0"/>
                </a:spcAft>
                <a:defRPr/>
              </a:pPr>
              <a:endParaRPr lang="it-IT" sz="1224">
                <a:solidFill>
                  <a:srgbClr val="000000"/>
                </a:solidFill>
                <a:latin typeface="Arial" charset="0"/>
              </a:endParaRPr>
            </a:p>
          </p:txBody>
        </p:sp>
        <p:sp>
          <p:nvSpPr>
            <p:cNvPr id="31" name="Freeform 9">
              <a:extLst>
                <a:ext uri="{FF2B5EF4-FFF2-40B4-BE49-F238E27FC236}">
                  <a16:creationId xmlns:a16="http://schemas.microsoft.com/office/drawing/2014/main" id="{5EA87740-59A1-433E-91C6-82DECCE4CF22}"/>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699722" fontAlgn="base">
                <a:spcBef>
                  <a:spcPct val="0"/>
                </a:spcBef>
                <a:spcAft>
                  <a:spcPct val="0"/>
                </a:spcAft>
                <a:defRPr/>
              </a:pPr>
              <a:endParaRPr lang="it-IT" sz="1224">
                <a:solidFill>
                  <a:srgbClr val="000000"/>
                </a:solidFill>
                <a:latin typeface="Arial" charset="0"/>
              </a:endParaRPr>
            </a:p>
          </p:txBody>
        </p:sp>
      </p:grpSp>
    </p:spTree>
    <p:extLst>
      <p:ext uri="{BB962C8B-B14F-4D97-AF65-F5344CB8AC3E}">
        <p14:creationId xmlns:p14="http://schemas.microsoft.com/office/powerpoint/2010/main" val="38278996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9" y="1324"/>
          <a:ext cx="1587" cy="1323"/>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324"/>
                        <a:ext cx="1587" cy="132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doc id"/>
          <p:cNvSpPr>
            <a:spLocks noChangeArrowheads="1"/>
          </p:cNvSpPr>
          <p:nvPr/>
        </p:nvSpPr>
        <p:spPr bwMode="auto">
          <a:xfrm>
            <a:off x="8473386" y="-143077"/>
            <a:ext cx="670614" cy="1039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71510" fontAlgn="base">
              <a:spcBef>
                <a:spcPct val="0"/>
              </a:spcBef>
              <a:spcAft>
                <a:spcPct val="0"/>
              </a:spcAft>
              <a:defRPr/>
            </a:pPr>
            <a:r>
              <a:rPr lang="en-US" sz="600">
                <a:solidFill>
                  <a:srgbClr val="808080"/>
                </a:solidFill>
                <a:sym typeface="Calibri" panose="020F0502020204030204" pitchFamily="34" charset="0"/>
              </a:rPr>
              <a:t>MIL-FDS078-29052018-126242/BS</a:t>
            </a:r>
            <a:endParaRPr lang="en-US" sz="600" dirty="0">
              <a:solidFill>
                <a:srgbClr val="808080"/>
              </a:solidFill>
              <a:sym typeface="Calibri" panose="020F0502020204030204" pitchFamily="34" charset="0"/>
            </a:endParaRPr>
          </a:p>
        </p:txBody>
      </p:sp>
      <p:sp>
        <p:nvSpPr>
          <p:cNvPr id="7" name="Title Placeholder 2">
            <a:extLst>
              <a:ext uri="{FF2B5EF4-FFF2-40B4-BE49-F238E27FC236}">
                <a16:creationId xmlns:a16="http://schemas.microsoft.com/office/drawing/2014/main" id="{2C5E8431-8F48-4E93-8701-25408D2BEE54}"/>
              </a:ext>
            </a:extLst>
          </p:cNvPr>
          <p:cNvSpPr>
            <a:spLocks noGrp="1" noChangeArrowheads="1"/>
          </p:cNvSpPr>
          <p:nvPr>
            <p:ph type="title"/>
          </p:nvPr>
        </p:nvSpPr>
        <p:spPr bwMode="auto">
          <a:xfrm>
            <a:off x="270782" y="181056"/>
            <a:ext cx="8580882" cy="3297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sz="2143"/>
            </a:lvl1pPr>
          </a:lstStyle>
          <a:p>
            <a:pPr lvl="0" latinLnBrk="0"/>
            <a:r>
              <a:rPr lang="en-US" dirty="0"/>
              <a:t>Click to edit Master title style</a:t>
            </a:r>
            <a:endParaRPr lang="en-US" noProof="0" dirty="0"/>
          </a:p>
        </p:txBody>
      </p:sp>
    </p:spTree>
    <p:extLst>
      <p:ext uri="{BB962C8B-B14F-4D97-AF65-F5344CB8AC3E}">
        <p14:creationId xmlns:p14="http://schemas.microsoft.com/office/powerpoint/2010/main" val="715056554"/>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Agenda">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460DF27-6207-456B-BF20-64FA51FF0D9F}"/>
              </a:ext>
            </a:extLst>
          </p:cNvPr>
          <p:cNvGraphicFramePr>
            <a:graphicFrameLocks noChangeAspect="1"/>
          </p:cNvGraphicFramePr>
          <p:nvPr>
            <p:custDataLst>
              <p:tags r:id="rId1"/>
            </p:custDataLst>
          </p:nvPr>
        </p:nvGraphicFramePr>
        <p:xfrm>
          <a:off x="1216" y="1351"/>
          <a:ext cx="1214" cy="1349"/>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6" y="1351"/>
                        <a:ext cx="1214" cy="134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3" name="Immagine 20">
            <a:extLst>
              <a:ext uri="{FF2B5EF4-FFF2-40B4-BE49-F238E27FC236}">
                <a16:creationId xmlns:a16="http://schemas.microsoft.com/office/drawing/2014/main" id="{7192F0C5-16DC-45A9-B9A2-C383F968250F}"/>
              </a:ext>
            </a:extLst>
          </p:cNvPr>
          <p:cNvPicPr>
            <a:picLocks noChangeAspect="1"/>
          </p:cNvPicPr>
          <p:nvPr/>
        </p:nvPicPr>
        <p:blipFill rotWithShape="1">
          <a:blip r:embed="rId5" cstate="email">
            <a:extLst>
              <a:ext uri="{28A0092B-C50C-407E-A947-70E740481C1C}">
                <a14:useLocalDpi xmlns:a14="http://schemas.microsoft.com/office/drawing/2010/main" val="0"/>
              </a:ext>
            </a:extLst>
          </a:blip>
          <a:srcRect t="35334" b="22889"/>
          <a:stretch/>
        </p:blipFill>
        <p:spPr>
          <a:xfrm>
            <a:off x="-4784" y="3102468"/>
            <a:ext cx="9142502" cy="2612532"/>
          </a:xfrm>
          <a:prstGeom prst="rect">
            <a:avLst/>
          </a:prstGeom>
        </p:spPr>
      </p:pic>
      <p:sp>
        <p:nvSpPr>
          <p:cNvPr id="12" name="Rettangolo 17">
            <a:extLst>
              <a:ext uri="{FF2B5EF4-FFF2-40B4-BE49-F238E27FC236}">
                <a16:creationId xmlns:a16="http://schemas.microsoft.com/office/drawing/2014/main" id="{09035E06-233F-4DD7-A72B-85FD3C2E095B}"/>
              </a:ext>
            </a:extLst>
          </p:cNvPr>
          <p:cNvSpPr/>
          <p:nvPr/>
        </p:nvSpPr>
        <p:spPr>
          <a:xfrm>
            <a:off x="-4784" y="2799460"/>
            <a:ext cx="9142502" cy="2915541"/>
          </a:xfrm>
          <a:prstGeom prst="rect">
            <a:avLst/>
          </a:prstGeom>
          <a:solidFill>
            <a:srgbClr val="D2D2D2">
              <a:alpha val="4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722" fontAlgn="base">
              <a:spcBef>
                <a:spcPct val="0"/>
              </a:spcBef>
              <a:spcAft>
                <a:spcPct val="0"/>
              </a:spcAft>
              <a:defRPr/>
            </a:pPr>
            <a:endParaRPr lang="en-GB" sz="1224">
              <a:solidFill>
                <a:srgbClr val="FFFFFF"/>
              </a:solidFill>
            </a:endParaRPr>
          </a:p>
        </p:txBody>
      </p:sp>
      <p:sp>
        <p:nvSpPr>
          <p:cNvPr id="2" name="Title 1"/>
          <p:cNvSpPr>
            <a:spLocks noGrp="1"/>
          </p:cNvSpPr>
          <p:nvPr>
            <p:ph type="title"/>
          </p:nvPr>
        </p:nvSpPr>
        <p:spPr>
          <a:xfrm>
            <a:off x="364448" y="280083"/>
            <a:ext cx="8580882" cy="329770"/>
          </a:xfrm>
        </p:spPr>
        <p:txBody>
          <a:bodyPr/>
          <a:lstStyle>
            <a:lvl1pPr>
              <a:defRPr sz="2143">
                <a:solidFill>
                  <a:schemeClr val="tx2"/>
                </a:solidFill>
              </a:defRPr>
            </a:lvl1pPr>
          </a:lstStyle>
          <a:p>
            <a:r>
              <a:rPr lang="en-US"/>
              <a:t>Click to edit Master title style</a:t>
            </a:r>
            <a:endParaRPr lang="en-US" dirty="0"/>
          </a:p>
        </p:txBody>
      </p:sp>
      <p:sp>
        <p:nvSpPr>
          <p:cNvPr id="15" name="Rettangolo 9">
            <a:extLst>
              <a:ext uri="{FF2B5EF4-FFF2-40B4-BE49-F238E27FC236}">
                <a16:creationId xmlns:a16="http://schemas.microsoft.com/office/drawing/2014/main" id="{7CD42508-6341-41F4-BC26-346F008E3B18}"/>
              </a:ext>
            </a:extLst>
          </p:cNvPr>
          <p:cNvSpPr/>
          <p:nvPr/>
        </p:nvSpPr>
        <p:spPr>
          <a:xfrm>
            <a:off x="8791326" y="1"/>
            <a:ext cx="361875" cy="5715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722" fontAlgn="base">
              <a:spcBef>
                <a:spcPct val="0"/>
              </a:spcBef>
              <a:spcAft>
                <a:spcPct val="0"/>
              </a:spcAft>
              <a:defRPr/>
            </a:pPr>
            <a:endParaRPr lang="it-IT" sz="1224">
              <a:solidFill>
                <a:srgbClr val="FFFFFF"/>
              </a:solidFill>
            </a:endParaRPr>
          </a:p>
        </p:txBody>
      </p:sp>
      <p:grpSp>
        <p:nvGrpSpPr>
          <p:cNvPr id="16" name="Group 4">
            <a:extLst>
              <a:ext uri="{FF2B5EF4-FFF2-40B4-BE49-F238E27FC236}">
                <a16:creationId xmlns:a16="http://schemas.microsoft.com/office/drawing/2014/main" id="{EF78C7DF-33F9-492F-AC4F-885D7E9E73A1}"/>
              </a:ext>
            </a:extLst>
          </p:cNvPr>
          <p:cNvGrpSpPr>
            <a:grpSpLocks noChangeAspect="1"/>
          </p:cNvGrpSpPr>
          <p:nvPr/>
        </p:nvGrpSpPr>
        <p:grpSpPr bwMode="auto">
          <a:xfrm>
            <a:off x="8843290" y="76887"/>
            <a:ext cx="264897" cy="199325"/>
            <a:chOff x="-560" y="-1287"/>
            <a:chExt cx="6379" cy="4320"/>
          </a:xfrm>
        </p:grpSpPr>
        <p:sp>
          <p:nvSpPr>
            <p:cNvPr id="17" name="AutoShape 3">
              <a:extLst>
                <a:ext uri="{FF2B5EF4-FFF2-40B4-BE49-F238E27FC236}">
                  <a16:creationId xmlns:a16="http://schemas.microsoft.com/office/drawing/2014/main" id="{B22EC739-2F58-430E-A6A6-C26F45BFF6E7}"/>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699722" fontAlgn="base">
                <a:spcBef>
                  <a:spcPct val="0"/>
                </a:spcBef>
                <a:spcAft>
                  <a:spcPct val="0"/>
                </a:spcAft>
                <a:defRPr/>
              </a:pPr>
              <a:endParaRPr lang="it-IT" sz="1224">
                <a:solidFill>
                  <a:srgbClr val="000000"/>
                </a:solidFill>
                <a:latin typeface="Arial" charset="0"/>
              </a:endParaRPr>
            </a:p>
          </p:txBody>
        </p:sp>
        <p:sp>
          <p:nvSpPr>
            <p:cNvPr id="18" name="Rectangle 5">
              <a:extLst>
                <a:ext uri="{FF2B5EF4-FFF2-40B4-BE49-F238E27FC236}">
                  <a16:creationId xmlns:a16="http://schemas.microsoft.com/office/drawing/2014/main" id="{4AA36D2A-8BA2-462D-A60E-434183DC9DDB}"/>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699722" fontAlgn="base">
                <a:spcBef>
                  <a:spcPct val="0"/>
                </a:spcBef>
                <a:spcAft>
                  <a:spcPct val="0"/>
                </a:spcAft>
                <a:defRPr/>
              </a:pPr>
              <a:endParaRPr lang="it-IT" sz="1224">
                <a:solidFill>
                  <a:srgbClr val="000000"/>
                </a:solidFill>
                <a:latin typeface="Arial" charset="0"/>
              </a:endParaRPr>
            </a:p>
          </p:txBody>
        </p:sp>
        <p:sp>
          <p:nvSpPr>
            <p:cNvPr id="19" name="Freeform 6">
              <a:extLst>
                <a:ext uri="{FF2B5EF4-FFF2-40B4-BE49-F238E27FC236}">
                  <a16:creationId xmlns:a16="http://schemas.microsoft.com/office/drawing/2014/main" id="{7B9CBB36-426D-4370-B0ED-240D5090BAEE}"/>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699722" fontAlgn="base">
                <a:spcBef>
                  <a:spcPct val="0"/>
                </a:spcBef>
                <a:spcAft>
                  <a:spcPct val="0"/>
                </a:spcAft>
                <a:defRPr/>
              </a:pPr>
              <a:endParaRPr lang="it-IT" sz="1224">
                <a:solidFill>
                  <a:srgbClr val="000000"/>
                </a:solidFill>
                <a:latin typeface="Arial" charset="0"/>
              </a:endParaRPr>
            </a:p>
          </p:txBody>
        </p:sp>
        <p:sp>
          <p:nvSpPr>
            <p:cNvPr id="25" name="Freeform 7">
              <a:extLst>
                <a:ext uri="{FF2B5EF4-FFF2-40B4-BE49-F238E27FC236}">
                  <a16:creationId xmlns:a16="http://schemas.microsoft.com/office/drawing/2014/main" id="{6D126B33-6E37-4F41-BEFD-508D917D9D7F}"/>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699722" fontAlgn="base">
                <a:spcBef>
                  <a:spcPct val="0"/>
                </a:spcBef>
                <a:spcAft>
                  <a:spcPct val="0"/>
                </a:spcAft>
                <a:defRPr/>
              </a:pPr>
              <a:endParaRPr lang="it-IT" sz="1224">
                <a:solidFill>
                  <a:srgbClr val="000000"/>
                </a:solidFill>
                <a:latin typeface="Arial" charset="0"/>
              </a:endParaRPr>
            </a:p>
          </p:txBody>
        </p:sp>
        <p:sp>
          <p:nvSpPr>
            <p:cNvPr id="26" name="Freeform 8">
              <a:extLst>
                <a:ext uri="{FF2B5EF4-FFF2-40B4-BE49-F238E27FC236}">
                  <a16:creationId xmlns:a16="http://schemas.microsoft.com/office/drawing/2014/main" id="{08AAD47F-92DE-41B9-B9E3-EB83914DEF23}"/>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699722" fontAlgn="base">
                <a:spcBef>
                  <a:spcPct val="0"/>
                </a:spcBef>
                <a:spcAft>
                  <a:spcPct val="0"/>
                </a:spcAft>
                <a:defRPr/>
              </a:pPr>
              <a:endParaRPr lang="it-IT" sz="1224">
                <a:solidFill>
                  <a:srgbClr val="000000"/>
                </a:solidFill>
                <a:latin typeface="Arial" charset="0"/>
              </a:endParaRPr>
            </a:p>
          </p:txBody>
        </p:sp>
        <p:sp>
          <p:nvSpPr>
            <p:cNvPr id="27" name="Freeform 9">
              <a:extLst>
                <a:ext uri="{FF2B5EF4-FFF2-40B4-BE49-F238E27FC236}">
                  <a16:creationId xmlns:a16="http://schemas.microsoft.com/office/drawing/2014/main" id="{412748B7-4438-4282-8152-341F1B560014}"/>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699722" fontAlgn="base">
                <a:spcBef>
                  <a:spcPct val="0"/>
                </a:spcBef>
                <a:spcAft>
                  <a:spcPct val="0"/>
                </a:spcAft>
                <a:defRPr/>
              </a:pPr>
              <a:endParaRPr lang="it-IT" sz="1224">
                <a:solidFill>
                  <a:srgbClr val="000000"/>
                </a:solidFill>
                <a:latin typeface="Arial" charset="0"/>
              </a:endParaRPr>
            </a:p>
          </p:txBody>
        </p:sp>
      </p:grpSp>
    </p:spTree>
    <p:extLst>
      <p:ext uri="{BB962C8B-B14F-4D97-AF65-F5344CB8AC3E}">
        <p14:creationId xmlns:p14="http://schemas.microsoft.com/office/powerpoint/2010/main" val="2284412599"/>
      </p:ext>
    </p:extLst>
  </p:cSld>
  <p:clrMapOvr>
    <a:masterClrMapping/>
  </p:clrMapOvr>
  <p:extLst>
    <p:ext uri="{DCECCB84-F9BA-43D5-87BE-67443E8EF086}">
      <p15:sldGuideLst xmlns:p15="http://schemas.microsoft.com/office/powerpoint/2012/main">
        <p15:guide id="1" pos="5008">
          <p15:clr>
            <a:srgbClr val="000000"/>
          </p15:clr>
        </p15:guide>
        <p15:guide id="2" orient="horz" pos="570">
          <p15:clr>
            <a:srgbClr val="000000"/>
          </p15:clr>
        </p15:guide>
        <p15:guide id="3" orient="horz" pos="3912">
          <p15:clr>
            <a:srgbClr val="000000"/>
          </p15:clr>
        </p15:guide>
        <p15:guide id="4" pos="96">
          <p15:clr>
            <a:srgbClr val="00000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2211B7-C9A7-4D25-9EC2-0C4F6C9628BC}"/>
              </a:ext>
            </a:extLst>
          </p:cNvPr>
          <p:cNvSpPr>
            <a:spLocks noGrp="1"/>
          </p:cNvSpPr>
          <p:nvPr>
            <p:ph type="title"/>
          </p:nvPr>
        </p:nvSpPr>
        <p:spPr/>
        <p:txBody>
          <a:bodyPr/>
          <a:lstStyle/>
          <a:p>
            <a:r>
              <a:rPr lang="en-US"/>
              <a:t>Click to edit Master title style</a:t>
            </a:r>
            <a:endParaRPr lang="it-IT"/>
          </a:p>
        </p:txBody>
      </p:sp>
    </p:spTree>
    <p:extLst>
      <p:ext uri="{BB962C8B-B14F-4D97-AF65-F5344CB8AC3E}">
        <p14:creationId xmlns:p14="http://schemas.microsoft.com/office/powerpoint/2010/main" val="400933776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olo e contenuto">
    <p:spTree>
      <p:nvGrpSpPr>
        <p:cNvPr id="1" name=""/>
        <p:cNvGrpSpPr/>
        <p:nvPr/>
      </p:nvGrpSpPr>
      <p:grpSpPr>
        <a:xfrm>
          <a:off x="0" y="0"/>
          <a:ext cx="0" cy="0"/>
          <a:chOff x="0" y="0"/>
          <a:chExt cx="0" cy="0"/>
        </a:xfrm>
      </p:grpSpPr>
      <p:pic>
        <p:nvPicPr>
          <p:cNvPr id="19" name="Immagine 1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0877"/>
            <a:ext cx="9144000" cy="5694123"/>
          </a:xfrm>
          <a:prstGeom prst="rect">
            <a:avLst/>
          </a:prstGeom>
        </p:spPr>
      </p:pic>
      <p:sp>
        <p:nvSpPr>
          <p:cNvPr id="7" name="Rettangolo 6">
            <a:extLst>
              <a:ext uri="{FF2B5EF4-FFF2-40B4-BE49-F238E27FC236}">
                <a16:creationId xmlns:a16="http://schemas.microsoft.com/office/drawing/2014/main" id="{7466584B-8BD1-48B2-BD0C-DC7DD5380BEF}"/>
              </a:ext>
            </a:extLst>
          </p:cNvPr>
          <p:cNvSpPr/>
          <p:nvPr userDrawn="1"/>
        </p:nvSpPr>
        <p:spPr>
          <a:xfrm>
            <a:off x="8789334" y="0"/>
            <a:ext cx="354666" cy="5715000"/>
          </a:xfrm>
          <a:prstGeom prst="rect">
            <a:avLst/>
          </a:prstGeom>
          <a:solidFill>
            <a:srgbClr val="DC00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it-IT" sz="1350" dirty="0">
              <a:solidFill>
                <a:srgbClr val="FFFFFF"/>
              </a:solidFill>
            </a:endParaRPr>
          </a:p>
        </p:txBody>
      </p:sp>
      <p:grpSp>
        <p:nvGrpSpPr>
          <p:cNvPr id="8"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8840262" y="75356"/>
            <a:ext cx="259620" cy="195357"/>
            <a:chOff x="-560" y="-1287"/>
            <a:chExt cx="6379" cy="4320"/>
          </a:xfrm>
        </p:grpSpPr>
        <p:sp>
          <p:nvSpPr>
            <p:cNvPr id="9"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685800">
                <a:defRPr/>
              </a:pPr>
              <a:endParaRPr lang="it-IT" sz="1350" dirty="0">
                <a:solidFill>
                  <a:srgbClr val="000000"/>
                </a:solidFill>
              </a:endParaRPr>
            </a:p>
          </p:txBody>
        </p:sp>
        <p:sp>
          <p:nvSpPr>
            <p:cNvPr id="10"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685800">
                <a:defRPr/>
              </a:pPr>
              <a:endParaRPr lang="it-IT" sz="1350" dirty="0">
                <a:solidFill>
                  <a:srgbClr val="000000"/>
                </a:solidFill>
              </a:endParaRPr>
            </a:p>
          </p:txBody>
        </p:sp>
        <p:sp>
          <p:nvSpPr>
            <p:cNvPr id="11"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685800">
                <a:defRPr/>
              </a:pPr>
              <a:endParaRPr lang="it-IT" sz="1350" dirty="0">
                <a:solidFill>
                  <a:srgbClr val="000000"/>
                </a:solidFill>
              </a:endParaRPr>
            </a:p>
          </p:txBody>
        </p:sp>
        <p:sp>
          <p:nvSpPr>
            <p:cNvPr id="12"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685800">
                <a:defRPr/>
              </a:pPr>
              <a:endParaRPr lang="it-IT" sz="1350" dirty="0">
                <a:solidFill>
                  <a:srgbClr val="000000"/>
                </a:solidFill>
              </a:endParaRPr>
            </a:p>
          </p:txBody>
        </p:sp>
        <p:sp>
          <p:nvSpPr>
            <p:cNvPr id="13"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685800">
                <a:defRPr/>
              </a:pPr>
              <a:endParaRPr lang="it-IT" sz="1350" dirty="0">
                <a:solidFill>
                  <a:srgbClr val="000000"/>
                </a:solidFill>
              </a:endParaRPr>
            </a:p>
          </p:txBody>
        </p:sp>
        <p:sp>
          <p:nvSpPr>
            <p:cNvPr id="14"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685800">
                <a:defRPr/>
              </a:pPr>
              <a:endParaRPr lang="it-IT" sz="1350" dirty="0">
                <a:solidFill>
                  <a:srgbClr val="000000"/>
                </a:solidFill>
              </a:endParaRPr>
            </a:p>
          </p:txBody>
        </p:sp>
      </p:grpSp>
      <p:sp>
        <p:nvSpPr>
          <p:cNvPr id="15"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8788628" y="5413256"/>
            <a:ext cx="354666" cy="192644"/>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8">
              <a:defRPr/>
            </a:pPr>
            <a:fld id="{B9D7DBFB-DCE9-42BC-A361-A0671D12ADFC}" type="slidenum">
              <a:rPr lang="it-IT" sz="750">
                <a:solidFill>
                  <a:srgbClr val="FFFFFF"/>
                </a:solidFill>
              </a:rPr>
              <a:pPr defTabSz="914378">
                <a:defRPr/>
              </a:pPr>
              <a:t>‹N›</a:t>
            </a:fld>
            <a:endParaRPr lang="it-IT" sz="750" dirty="0">
              <a:solidFill>
                <a:srgbClr val="FFFFFF"/>
              </a:solidFill>
            </a:endParaRPr>
          </a:p>
        </p:txBody>
      </p:sp>
      <p:sp>
        <p:nvSpPr>
          <p:cNvPr id="16"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7779088" y="5350798"/>
            <a:ext cx="908903" cy="92333"/>
          </a:xfrm>
          <a:prstGeom prst="rect">
            <a:avLst/>
          </a:prstGeom>
          <a:solidFill>
            <a:schemeClr val="bg1"/>
          </a:solidFill>
          <a:effectLst/>
        </p:spPr>
        <p:txBody>
          <a:bodyPr wrap="none" lIns="0" tIns="0" rIns="0" bIns="0" rtlCol="0" anchor="ctr">
            <a:spAutoFit/>
          </a:bodyPr>
          <a:lstStyle>
            <a:lvl1pPr algn="r">
              <a:defRPr lang="it-IT" sz="600" smtClean="0">
                <a:solidFill>
                  <a:schemeClr val="tx2"/>
                </a:solidFill>
                <a:effectLst/>
              </a:defRPr>
            </a:lvl1pPr>
          </a:lstStyle>
          <a:p>
            <a:pPr defTabSz="914378">
              <a:defRPr/>
            </a:pPr>
            <a:r>
              <a:rPr lang="it-IT">
                <a:solidFill>
                  <a:srgbClr val="DC002E"/>
                </a:solidFill>
              </a:rPr>
              <a:t>Formato data GG/MM/AAAA</a:t>
            </a:r>
            <a:endParaRPr lang="it-IT" dirty="0">
              <a:solidFill>
                <a:srgbClr val="DC002E"/>
              </a:solidFill>
            </a:endParaRPr>
          </a:p>
        </p:txBody>
      </p:sp>
      <p:sp>
        <p:nvSpPr>
          <p:cNvPr id="17"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2339068" y="5459996"/>
            <a:ext cx="6349277" cy="92333"/>
          </a:xfrm>
          <a:prstGeom prst="rect">
            <a:avLst/>
          </a:prstGeom>
          <a:noFill/>
        </p:spPr>
        <p:txBody>
          <a:bodyPr wrap="square" lIns="0" tIns="0" rIns="0" bIns="0" rtlCol="0">
            <a:spAutoFit/>
          </a:bodyPr>
          <a:lstStyle>
            <a:lvl1pPr>
              <a:defRPr lang="it-IT" sz="600" i="0">
                <a:solidFill>
                  <a:schemeClr val="bg2"/>
                </a:solidFill>
              </a:defRPr>
            </a:lvl1pPr>
          </a:lstStyle>
          <a:p>
            <a:pPr algn="r" defTabSz="914378">
              <a:defRPr/>
            </a:pPr>
            <a:r>
              <a:rPr lang="en-GB">
                <a:solidFill>
                  <a:srgbClr val="717073"/>
                </a:solidFill>
              </a:rPr>
              <a:t>Titolo presentazione   </a:t>
            </a:r>
            <a:r>
              <a:rPr lang="en-GB">
                <a:solidFill>
                  <a:srgbClr val="DC002E"/>
                </a:solidFill>
              </a:rPr>
              <a:t>I</a:t>
            </a:r>
            <a:r>
              <a:rPr lang="en-GB">
                <a:solidFill>
                  <a:srgbClr val="717073"/>
                </a:solidFill>
              </a:rPr>
              <a:t>   Nome relatore</a:t>
            </a:r>
            <a:endParaRPr lang="en-GB" dirty="0">
              <a:solidFill>
                <a:srgbClr val="717073"/>
              </a:solidFill>
            </a:endParaRPr>
          </a:p>
        </p:txBody>
      </p:sp>
      <p:pic>
        <p:nvPicPr>
          <p:cNvPr id="18" name="Immagin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05991" y="5097929"/>
            <a:ext cx="711341" cy="447738"/>
          </a:xfrm>
          <a:prstGeom prst="rect">
            <a:avLst/>
          </a:prstGeom>
        </p:spPr>
      </p:pic>
    </p:spTree>
    <p:extLst>
      <p:ext uri="{BB962C8B-B14F-4D97-AF65-F5344CB8AC3E}">
        <p14:creationId xmlns:p14="http://schemas.microsoft.com/office/powerpoint/2010/main" val="247001418"/>
      </p:ext>
    </p:extLst>
  </p:cSld>
  <p:clrMapOvr>
    <a:masterClrMapping/>
  </p:clrMapOvr>
  <p:hf hdr="0" ftr="0"/>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Slide Interna Testo - Blu">
    <p:spTree>
      <p:nvGrpSpPr>
        <p:cNvPr id="1" name=""/>
        <p:cNvGrpSpPr/>
        <p:nvPr/>
      </p:nvGrpSpPr>
      <p:grpSpPr>
        <a:xfrm>
          <a:off x="0" y="0"/>
          <a:ext cx="0" cy="0"/>
          <a:chOff x="0" y="0"/>
          <a:chExt cx="0" cy="0"/>
        </a:xfrm>
      </p:grpSpPr>
      <p:sp>
        <p:nvSpPr>
          <p:cNvPr id="12" name="Rettangolo 11">
            <a:extLst>
              <a:ext uri="{FF2B5EF4-FFF2-40B4-BE49-F238E27FC236}">
                <a16:creationId xmlns:a16="http://schemas.microsoft.com/office/drawing/2014/main" id="{7466584B-8BD1-48B2-BD0C-DC7DD5380BEF}"/>
              </a:ext>
            </a:extLst>
          </p:cNvPr>
          <p:cNvSpPr/>
          <p:nvPr userDrawn="1"/>
        </p:nvSpPr>
        <p:spPr>
          <a:xfrm>
            <a:off x="8789334" y="0"/>
            <a:ext cx="354666" cy="5715000"/>
          </a:xfrm>
          <a:prstGeom prst="rect">
            <a:avLst/>
          </a:prstGeom>
          <a:solidFill>
            <a:srgbClr val="DC00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5">
              <a:defRPr/>
            </a:pPr>
            <a:endParaRPr lang="it-IT" sz="1800">
              <a:solidFill>
                <a:srgbClr val="FFFFFF"/>
              </a:solidFill>
            </a:endParaRPr>
          </a:p>
        </p:txBody>
      </p:sp>
      <p:grpSp>
        <p:nvGrpSpPr>
          <p:cNvPr id="13"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8840262" y="75356"/>
            <a:ext cx="259620" cy="195357"/>
            <a:chOff x="-560" y="-1287"/>
            <a:chExt cx="6379" cy="4320"/>
          </a:xfrm>
        </p:grpSpPr>
        <p:sp>
          <p:nvSpPr>
            <p:cNvPr id="14"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55">
                <a:defRPr/>
              </a:pPr>
              <a:endParaRPr lang="it-IT" sz="1800">
                <a:solidFill>
                  <a:srgbClr val="000000"/>
                </a:solidFill>
              </a:endParaRPr>
            </a:p>
          </p:txBody>
        </p:sp>
        <p:sp>
          <p:nvSpPr>
            <p:cNvPr id="15"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55">
                <a:defRPr/>
              </a:pPr>
              <a:endParaRPr lang="it-IT" sz="1800">
                <a:solidFill>
                  <a:srgbClr val="000000"/>
                </a:solidFill>
              </a:endParaRPr>
            </a:p>
          </p:txBody>
        </p:sp>
        <p:sp>
          <p:nvSpPr>
            <p:cNvPr id="16"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55">
                <a:defRPr/>
              </a:pPr>
              <a:endParaRPr lang="it-IT" sz="1800">
                <a:solidFill>
                  <a:srgbClr val="000000"/>
                </a:solidFill>
              </a:endParaRPr>
            </a:p>
          </p:txBody>
        </p:sp>
        <p:sp>
          <p:nvSpPr>
            <p:cNvPr id="17"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55">
                <a:defRPr/>
              </a:pPr>
              <a:endParaRPr lang="it-IT" sz="1800">
                <a:solidFill>
                  <a:srgbClr val="000000"/>
                </a:solidFill>
              </a:endParaRPr>
            </a:p>
          </p:txBody>
        </p:sp>
        <p:sp>
          <p:nvSpPr>
            <p:cNvPr id="18"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55">
                <a:defRPr/>
              </a:pPr>
              <a:endParaRPr lang="it-IT" sz="1800">
                <a:solidFill>
                  <a:srgbClr val="000000"/>
                </a:solidFill>
              </a:endParaRPr>
            </a:p>
          </p:txBody>
        </p:sp>
        <p:sp>
          <p:nvSpPr>
            <p:cNvPr id="19"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55">
                <a:defRPr/>
              </a:pPr>
              <a:endParaRPr lang="it-IT" sz="1800">
                <a:solidFill>
                  <a:srgbClr val="000000"/>
                </a:solidFill>
              </a:endParaRPr>
            </a:p>
          </p:txBody>
        </p:sp>
      </p:grpSp>
      <p:sp>
        <p:nvSpPr>
          <p:cNvPr id="20"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8788628" y="5413256"/>
            <a:ext cx="354666" cy="192644"/>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8">
              <a:defRPr/>
            </a:pPr>
            <a:fld id="{B9D7DBFB-DCE9-42BC-A361-A0671D12ADFC}" type="slidenum">
              <a:rPr lang="it-IT" sz="750">
                <a:solidFill>
                  <a:srgbClr val="FFFFFF"/>
                </a:solidFill>
              </a:rPr>
              <a:pPr defTabSz="914378">
                <a:defRPr/>
              </a:pPr>
              <a:t>‹N›</a:t>
            </a:fld>
            <a:endParaRPr lang="it-IT" sz="750" dirty="0">
              <a:solidFill>
                <a:srgbClr val="FFFFFF"/>
              </a:solidFill>
            </a:endParaRPr>
          </a:p>
        </p:txBody>
      </p:sp>
      <p:pic>
        <p:nvPicPr>
          <p:cNvPr id="21" name="Immagin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5991" y="5097929"/>
            <a:ext cx="711341" cy="447738"/>
          </a:xfrm>
          <a:prstGeom prst="rect">
            <a:avLst/>
          </a:prstGeom>
        </p:spPr>
      </p:pic>
    </p:spTree>
    <p:extLst>
      <p:ext uri="{BB962C8B-B14F-4D97-AF65-F5344CB8AC3E}">
        <p14:creationId xmlns:p14="http://schemas.microsoft.com/office/powerpoint/2010/main" val="3507630250"/>
      </p:ext>
    </p:extLst>
  </p:cSld>
  <p:clrMapOvr>
    <a:masterClrMapping/>
  </p:clrMapOvr>
  <p:transition spd="slow">
    <p:wipe/>
  </p:transition>
  <p:hf hdr="0" ftr="0"/>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Copertina">
    <p:bg>
      <p:bgPr>
        <a:solidFill>
          <a:schemeClr val="bg1">
            <a:lumMod val="65000"/>
          </a:schemeClr>
        </a:solidFill>
        <a:effectLst/>
      </p:bgPr>
    </p:bg>
    <p:spTree>
      <p:nvGrpSpPr>
        <p:cNvPr id="1" name=""/>
        <p:cNvGrpSpPr/>
        <p:nvPr/>
      </p:nvGrpSpPr>
      <p:grpSpPr>
        <a:xfrm>
          <a:off x="0" y="0"/>
          <a:ext cx="0" cy="0"/>
          <a:chOff x="0" y="0"/>
          <a:chExt cx="0" cy="0"/>
        </a:xfrm>
      </p:grpSpPr>
      <p:sp>
        <p:nvSpPr>
          <p:cNvPr id="19" name="Rettangolo 18">
            <a:extLst>
              <a:ext uri="{FF2B5EF4-FFF2-40B4-BE49-F238E27FC236}">
                <a16:creationId xmlns:a16="http://schemas.microsoft.com/office/drawing/2014/main" id="{CFDCDC1C-BD6A-492B-B81D-40AAD8317027}"/>
              </a:ext>
            </a:extLst>
          </p:cNvPr>
          <p:cNvSpPr/>
          <p:nvPr userDrawn="1"/>
        </p:nvSpPr>
        <p:spPr>
          <a:xfrm>
            <a:off x="8789334" y="0"/>
            <a:ext cx="354666" cy="5715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it-IT" sz="1350">
              <a:solidFill>
                <a:srgbClr val="FFFFFF"/>
              </a:solidFill>
            </a:endParaRPr>
          </a:p>
        </p:txBody>
      </p:sp>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2998279" y="1048590"/>
            <a:ext cx="5493338" cy="634771"/>
          </a:xfrm>
          <a:prstGeom prst="rect">
            <a:avLst/>
          </a:prstGeom>
          <a:noFill/>
          <a:effectLst/>
        </p:spPr>
        <p:txBody>
          <a:bodyPr vert="horz" wrap="square" lIns="0" tIns="45720" rIns="0" bIns="144000" rtlCol="0" anchor="b">
            <a:spAutoFit/>
          </a:bodyPr>
          <a:lstStyle>
            <a:lvl1pPr algn="r">
              <a:lnSpc>
                <a:spcPct val="80000"/>
              </a:lnSpc>
              <a:defRPr lang="it-IT" sz="3600"/>
            </a:lvl1pPr>
          </a:lstStyle>
          <a:p>
            <a:pPr lvl="0"/>
            <a:r>
              <a:rPr lang="it-IT" dirty="0"/>
              <a:t>COPERTINA </a:t>
            </a:r>
          </a:p>
        </p:txBody>
      </p:sp>
      <p:grpSp>
        <p:nvGrpSpPr>
          <p:cNvPr id="14" name="Group 4">
            <a:extLst>
              <a:ext uri="{FF2B5EF4-FFF2-40B4-BE49-F238E27FC236}">
                <a16:creationId xmlns:a16="http://schemas.microsoft.com/office/drawing/2014/main" id="{E4737D48-B2DB-4F53-BFC9-9F18751EDFC0}"/>
              </a:ext>
            </a:extLst>
          </p:cNvPr>
          <p:cNvGrpSpPr>
            <a:grpSpLocks noChangeAspect="1"/>
          </p:cNvGrpSpPr>
          <p:nvPr userDrawn="1"/>
        </p:nvGrpSpPr>
        <p:grpSpPr bwMode="auto">
          <a:xfrm>
            <a:off x="8840262" y="75356"/>
            <a:ext cx="259620" cy="195357"/>
            <a:chOff x="-560" y="-1287"/>
            <a:chExt cx="6379" cy="4320"/>
          </a:xfrm>
        </p:grpSpPr>
        <p:sp>
          <p:nvSpPr>
            <p:cNvPr id="15" name="AutoShape 3">
              <a:extLst>
                <a:ext uri="{FF2B5EF4-FFF2-40B4-BE49-F238E27FC236}">
                  <a16:creationId xmlns:a16="http://schemas.microsoft.com/office/drawing/2014/main" id="{525F0B45-3EF6-4A9D-A83E-CDB12E556535}"/>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685800">
                <a:defRPr/>
              </a:pPr>
              <a:endParaRPr lang="it-IT" sz="1350">
                <a:solidFill>
                  <a:srgbClr val="000000"/>
                </a:solidFill>
              </a:endParaRPr>
            </a:p>
          </p:txBody>
        </p:sp>
        <p:sp>
          <p:nvSpPr>
            <p:cNvPr id="16" name="Rectangle 5">
              <a:extLst>
                <a:ext uri="{FF2B5EF4-FFF2-40B4-BE49-F238E27FC236}">
                  <a16:creationId xmlns:a16="http://schemas.microsoft.com/office/drawing/2014/main" id="{DB6A0205-9830-47FC-AFEF-1EA19F148D8C}"/>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685800">
                <a:defRPr/>
              </a:pPr>
              <a:endParaRPr lang="it-IT" sz="1350">
                <a:solidFill>
                  <a:srgbClr val="000000"/>
                </a:solidFill>
              </a:endParaRPr>
            </a:p>
          </p:txBody>
        </p:sp>
        <p:sp>
          <p:nvSpPr>
            <p:cNvPr id="17" name="Freeform 6">
              <a:extLst>
                <a:ext uri="{FF2B5EF4-FFF2-40B4-BE49-F238E27FC236}">
                  <a16:creationId xmlns:a16="http://schemas.microsoft.com/office/drawing/2014/main" id="{A652E29C-2288-4037-A735-2C99372F7809}"/>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685800">
                <a:defRPr/>
              </a:pPr>
              <a:endParaRPr lang="it-IT" sz="1350">
                <a:solidFill>
                  <a:srgbClr val="000000"/>
                </a:solidFill>
              </a:endParaRPr>
            </a:p>
          </p:txBody>
        </p:sp>
        <p:sp>
          <p:nvSpPr>
            <p:cNvPr id="18" name="Freeform 7">
              <a:extLst>
                <a:ext uri="{FF2B5EF4-FFF2-40B4-BE49-F238E27FC236}">
                  <a16:creationId xmlns:a16="http://schemas.microsoft.com/office/drawing/2014/main" id="{3DEB9809-C89A-4A58-9A81-ABAF9CE315F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685800">
                <a:defRPr/>
              </a:pPr>
              <a:endParaRPr lang="it-IT" sz="1350">
                <a:solidFill>
                  <a:srgbClr val="000000"/>
                </a:solidFill>
              </a:endParaRPr>
            </a:p>
          </p:txBody>
        </p:sp>
        <p:sp>
          <p:nvSpPr>
            <p:cNvPr id="22" name="Freeform 8">
              <a:extLst>
                <a:ext uri="{FF2B5EF4-FFF2-40B4-BE49-F238E27FC236}">
                  <a16:creationId xmlns:a16="http://schemas.microsoft.com/office/drawing/2014/main" id="{E1355289-BE5F-41B1-954C-B78211E4669F}"/>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685800">
                <a:defRPr/>
              </a:pPr>
              <a:endParaRPr lang="it-IT" sz="1350">
                <a:solidFill>
                  <a:srgbClr val="000000"/>
                </a:solidFill>
              </a:endParaRPr>
            </a:p>
          </p:txBody>
        </p:sp>
        <p:sp>
          <p:nvSpPr>
            <p:cNvPr id="30" name="Freeform 9">
              <a:extLst>
                <a:ext uri="{FF2B5EF4-FFF2-40B4-BE49-F238E27FC236}">
                  <a16:creationId xmlns:a16="http://schemas.microsoft.com/office/drawing/2014/main" id="{8A815911-1EC8-4303-988F-6009E820B583}"/>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685800">
                <a:defRPr/>
              </a:pPr>
              <a:endParaRPr lang="it-IT" sz="1350">
                <a:solidFill>
                  <a:srgbClr val="000000"/>
                </a:solidFill>
              </a:endParaRPr>
            </a:p>
          </p:txBody>
        </p:sp>
      </p:grpSp>
      <p:sp>
        <p:nvSpPr>
          <p:cNvPr id="13" name="Segnaposto testo 3"/>
          <p:cNvSpPr>
            <a:spLocks noGrp="1"/>
          </p:cNvSpPr>
          <p:nvPr>
            <p:ph type="body" sz="quarter" idx="10" hasCustomPrompt="1"/>
          </p:nvPr>
        </p:nvSpPr>
        <p:spPr>
          <a:xfrm>
            <a:off x="4608122" y="1689607"/>
            <a:ext cx="3889117" cy="542438"/>
          </a:xfrm>
          <a:prstGeom prst="rect">
            <a:avLst/>
          </a:prstGeom>
          <a:noFill/>
          <a:effectLst/>
        </p:spPr>
        <p:txBody>
          <a:bodyPr vert="horz" wrap="square" lIns="0" tIns="45720" rIns="0" bIns="144000" rtlCol="0" anchor="t">
            <a:spAutoFit/>
          </a:bodyPr>
          <a:lstStyle>
            <a:lvl1pPr algn="r">
              <a:defRPr lang="it-IT" sz="2400" b="0" dirty="0">
                <a:solidFill>
                  <a:schemeClr val="bg1"/>
                </a:solidFill>
                <a:latin typeface="+mj-lt"/>
                <a:ea typeface="+mj-ea"/>
                <a:cs typeface="+mj-cs"/>
              </a:defRPr>
            </a:lvl1pPr>
          </a:lstStyle>
          <a:p>
            <a:pPr lvl="0" algn="r">
              <a:spcBef>
                <a:spcPct val="0"/>
              </a:spcBef>
            </a:pPr>
            <a:r>
              <a:rPr lang="it-IT" dirty="0"/>
              <a:t>Sottotitolo </a:t>
            </a:r>
          </a:p>
        </p:txBody>
      </p:sp>
      <p:sp>
        <p:nvSpPr>
          <p:cNvPr id="4" name="Segnaposto testo 3"/>
          <p:cNvSpPr>
            <a:spLocks noGrp="1"/>
          </p:cNvSpPr>
          <p:nvPr>
            <p:ph type="body" sz="quarter" idx="11" hasCustomPrompt="1"/>
          </p:nvPr>
        </p:nvSpPr>
        <p:spPr>
          <a:xfrm>
            <a:off x="305992" y="4435050"/>
            <a:ext cx="1165160" cy="268723"/>
          </a:xfrm>
          <a:prstGeom prst="rect">
            <a:avLst/>
          </a:prstGeom>
        </p:spPr>
        <p:txBody>
          <a:bodyPr lIns="0" rIns="0"/>
          <a:lstStyle>
            <a:lvl1pPr algn="l">
              <a:defRPr sz="1050" b="1" baseline="0">
                <a:solidFill>
                  <a:schemeClr val="bg1"/>
                </a:solidFill>
              </a:defRPr>
            </a:lvl1pPr>
          </a:lstStyle>
          <a:p>
            <a:pPr lvl="0"/>
            <a:r>
              <a:rPr lang="it-IT" dirty="0"/>
              <a:t>00 mese 0000</a:t>
            </a:r>
          </a:p>
        </p:txBody>
      </p:sp>
      <p:pic>
        <p:nvPicPr>
          <p:cNvPr id="21" name="Immagine 20"/>
          <p:cNvPicPr>
            <a:picLocks noChangeAspect="1"/>
          </p:cNvPicPr>
          <p:nvPr userDrawn="1"/>
        </p:nvPicPr>
        <p:blipFill>
          <a:blip r:embed="rId2"/>
          <a:stretch>
            <a:fillRect/>
          </a:stretch>
        </p:blipFill>
        <p:spPr>
          <a:xfrm>
            <a:off x="-126325" y="3293193"/>
            <a:ext cx="8931070" cy="1767224"/>
          </a:xfrm>
          <a:prstGeom prst="rect">
            <a:avLst/>
          </a:prstGeom>
        </p:spPr>
      </p:pic>
      <p:pic>
        <p:nvPicPr>
          <p:cNvPr id="23" name="Immagin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05991" y="5097929"/>
            <a:ext cx="711341" cy="447738"/>
          </a:xfrm>
          <a:prstGeom prst="rect">
            <a:avLst/>
          </a:prstGeom>
        </p:spPr>
      </p:pic>
    </p:spTree>
    <p:extLst>
      <p:ext uri="{BB962C8B-B14F-4D97-AF65-F5344CB8AC3E}">
        <p14:creationId xmlns:p14="http://schemas.microsoft.com/office/powerpoint/2010/main" val="284105982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Copertina Sottosezione">
    <p:bg>
      <p:bgPr>
        <a:solidFill>
          <a:schemeClr val="bg1">
            <a:lumMod val="75000"/>
          </a:schemeClr>
        </a:solidFill>
        <a:effectLst/>
      </p:bgPr>
    </p:bg>
    <p:spTree>
      <p:nvGrpSpPr>
        <p:cNvPr id="1" name=""/>
        <p:cNvGrpSpPr/>
        <p:nvPr/>
      </p:nvGrpSpPr>
      <p:grpSpPr>
        <a:xfrm>
          <a:off x="0" y="0"/>
          <a:ext cx="0" cy="0"/>
          <a:chOff x="0" y="0"/>
          <a:chExt cx="0" cy="0"/>
        </a:xfrm>
      </p:grpSpPr>
      <p:pic>
        <p:nvPicPr>
          <p:cNvPr id="12" name="Immagine 11"/>
          <p:cNvPicPr>
            <a:picLocks noChangeAspect="1"/>
          </p:cNvPicPr>
          <p:nvPr userDrawn="1"/>
        </p:nvPicPr>
        <p:blipFill rotWithShape="1">
          <a:blip r:embed="rId2" cstate="email">
            <a:extLst>
              <a:ext uri="{28A0092B-C50C-407E-A947-70E740481C1C}">
                <a14:useLocalDpi xmlns:a14="http://schemas.microsoft.com/office/drawing/2010/main" val="0"/>
              </a:ext>
            </a:extLst>
          </a:blip>
          <a:srcRect t="35334" b="22889"/>
          <a:stretch/>
        </p:blipFill>
        <p:spPr>
          <a:xfrm>
            <a:off x="-30342" y="2985144"/>
            <a:ext cx="8998099" cy="2560523"/>
          </a:xfrm>
          <a:prstGeom prst="rect">
            <a:avLst/>
          </a:prstGeom>
        </p:spPr>
      </p:pic>
      <p:sp>
        <p:nvSpPr>
          <p:cNvPr id="19" name="Rettangolo 18">
            <a:extLst>
              <a:ext uri="{FF2B5EF4-FFF2-40B4-BE49-F238E27FC236}">
                <a16:creationId xmlns:a16="http://schemas.microsoft.com/office/drawing/2014/main" id="{CFDCDC1C-BD6A-492B-B81D-40AAD8317027}"/>
              </a:ext>
            </a:extLst>
          </p:cNvPr>
          <p:cNvSpPr/>
          <p:nvPr userDrawn="1"/>
        </p:nvSpPr>
        <p:spPr>
          <a:xfrm>
            <a:off x="8789334" y="0"/>
            <a:ext cx="354666" cy="5715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5">
              <a:defRPr/>
            </a:pPr>
            <a:endParaRPr lang="it-IT" sz="1800">
              <a:solidFill>
                <a:srgbClr val="FFFFFF"/>
              </a:solidFill>
            </a:endParaRPr>
          </a:p>
        </p:txBody>
      </p:sp>
      <p:grpSp>
        <p:nvGrpSpPr>
          <p:cNvPr id="14" name="Group 4">
            <a:extLst>
              <a:ext uri="{FF2B5EF4-FFF2-40B4-BE49-F238E27FC236}">
                <a16:creationId xmlns:a16="http://schemas.microsoft.com/office/drawing/2014/main" id="{E4737D48-B2DB-4F53-BFC9-9F18751EDFC0}"/>
              </a:ext>
            </a:extLst>
          </p:cNvPr>
          <p:cNvGrpSpPr>
            <a:grpSpLocks noChangeAspect="1"/>
          </p:cNvGrpSpPr>
          <p:nvPr userDrawn="1"/>
        </p:nvGrpSpPr>
        <p:grpSpPr bwMode="auto">
          <a:xfrm>
            <a:off x="8840262" y="75356"/>
            <a:ext cx="259620" cy="195357"/>
            <a:chOff x="-560" y="-1287"/>
            <a:chExt cx="6379" cy="4320"/>
          </a:xfrm>
        </p:grpSpPr>
        <p:sp>
          <p:nvSpPr>
            <p:cNvPr id="15" name="AutoShape 3">
              <a:extLst>
                <a:ext uri="{FF2B5EF4-FFF2-40B4-BE49-F238E27FC236}">
                  <a16:creationId xmlns:a16="http://schemas.microsoft.com/office/drawing/2014/main" id="{525F0B45-3EF6-4A9D-A83E-CDB12E556535}"/>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55">
                <a:defRPr/>
              </a:pPr>
              <a:endParaRPr lang="it-IT" sz="1800">
                <a:solidFill>
                  <a:srgbClr val="000000"/>
                </a:solidFill>
              </a:endParaRPr>
            </a:p>
          </p:txBody>
        </p:sp>
        <p:sp>
          <p:nvSpPr>
            <p:cNvPr id="16" name="Rectangle 5">
              <a:extLst>
                <a:ext uri="{FF2B5EF4-FFF2-40B4-BE49-F238E27FC236}">
                  <a16:creationId xmlns:a16="http://schemas.microsoft.com/office/drawing/2014/main" id="{DB6A0205-9830-47FC-AFEF-1EA19F148D8C}"/>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55">
                <a:defRPr/>
              </a:pPr>
              <a:endParaRPr lang="it-IT" sz="1800">
                <a:solidFill>
                  <a:srgbClr val="000000"/>
                </a:solidFill>
              </a:endParaRPr>
            </a:p>
          </p:txBody>
        </p:sp>
        <p:sp>
          <p:nvSpPr>
            <p:cNvPr id="17" name="Freeform 6">
              <a:extLst>
                <a:ext uri="{FF2B5EF4-FFF2-40B4-BE49-F238E27FC236}">
                  <a16:creationId xmlns:a16="http://schemas.microsoft.com/office/drawing/2014/main" id="{A652E29C-2288-4037-A735-2C99372F7809}"/>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55">
                <a:defRPr/>
              </a:pPr>
              <a:endParaRPr lang="it-IT" sz="1800">
                <a:solidFill>
                  <a:srgbClr val="000000"/>
                </a:solidFill>
              </a:endParaRPr>
            </a:p>
          </p:txBody>
        </p:sp>
        <p:sp>
          <p:nvSpPr>
            <p:cNvPr id="18" name="Freeform 7">
              <a:extLst>
                <a:ext uri="{FF2B5EF4-FFF2-40B4-BE49-F238E27FC236}">
                  <a16:creationId xmlns:a16="http://schemas.microsoft.com/office/drawing/2014/main" id="{3DEB9809-C89A-4A58-9A81-ABAF9CE315F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55">
                <a:defRPr/>
              </a:pPr>
              <a:endParaRPr lang="it-IT" sz="1800">
                <a:solidFill>
                  <a:srgbClr val="000000"/>
                </a:solidFill>
              </a:endParaRPr>
            </a:p>
          </p:txBody>
        </p:sp>
        <p:sp>
          <p:nvSpPr>
            <p:cNvPr id="22" name="Freeform 8">
              <a:extLst>
                <a:ext uri="{FF2B5EF4-FFF2-40B4-BE49-F238E27FC236}">
                  <a16:creationId xmlns:a16="http://schemas.microsoft.com/office/drawing/2014/main" id="{E1355289-BE5F-41B1-954C-B78211E4669F}"/>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55">
                <a:defRPr/>
              </a:pPr>
              <a:endParaRPr lang="it-IT" sz="1800">
                <a:solidFill>
                  <a:srgbClr val="000000"/>
                </a:solidFill>
              </a:endParaRPr>
            </a:p>
          </p:txBody>
        </p:sp>
        <p:sp>
          <p:nvSpPr>
            <p:cNvPr id="30" name="Freeform 9">
              <a:extLst>
                <a:ext uri="{FF2B5EF4-FFF2-40B4-BE49-F238E27FC236}">
                  <a16:creationId xmlns:a16="http://schemas.microsoft.com/office/drawing/2014/main" id="{8A815911-1EC8-4303-988F-6009E820B583}"/>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55">
                <a:defRPr/>
              </a:pPr>
              <a:endParaRPr lang="it-IT" sz="1800">
                <a:solidFill>
                  <a:srgbClr val="000000"/>
                </a:solidFill>
              </a:endParaRPr>
            </a:p>
          </p:txBody>
        </p:sp>
      </p:grpSp>
      <p:sp>
        <p:nvSpPr>
          <p:cNvPr id="13" name="Segnaposto testo 3"/>
          <p:cNvSpPr>
            <a:spLocks noGrp="1"/>
          </p:cNvSpPr>
          <p:nvPr>
            <p:ph type="body" sz="quarter" idx="10" hasCustomPrompt="1"/>
          </p:nvPr>
        </p:nvSpPr>
        <p:spPr>
          <a:xfrm>
            <a:off x="4602501" y="1669899"/>
            <a:ext cx="3889117" cy="542438"/>
          </a:xfrm>
          <a:prstGeom prst="rect">
            <a:avLst/>
          </a:prstGeom>
          <a:noFill/>
          <a:effectLst/>
        </p:spPr>
        <p:txBody>
          <a:bodyPr vert="horz" wrap="square" lIns="0" tIns="45720" rIns="0" bIns="144000" rtlCol="0" anchor="b">
            <a:spAutoFit/>
          </a:bodyPr>
          <a:lstStyle>
            <a:lvl1pPr algn="r">
              <a:defRPr lang="it-IT" sz="2400" b="0" dirty="0">
                <a:solidFill>
                  <a:schemeClr val="bg1"/>
                </a:solidFill>
                <a:latin typeface="+mj-lt"/>
                <a:ea typeface="+mj-ea"/>
                <a:cs typeface="+mj-cs"/>
              </a:defRPr>
            </a:lvl1pPr>
          </a:lstStyle>
          <a:p>
            <a:pPr lvl="0" algn="r">
              <a:spcBef>
                <a:spcPct val="0"/>
              </a:spcBef>
            </a:pPr>
            <a:r>
              <a:rPr lang="it-IT" dirty="0"/>
              <a:t>Sottotitolo</a:t>
            </a:r>
          </a:p>
        </p:txBody>
      </p:sp>
      <p:sp>
        <p:nvSpPr>
          <p:cNvPr id="21"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2998279" y="1048590"/>
            <a:ext cx="5493338" cy="634771"/>
          </a:xfrm>
          <a:prstGeom prst="rect">
            <a:avLst/>
          </a:prstGeom>
          <a:noFill/>
          <a:effectLst/>
        </p:spPr>
        <p:txBody>
          <a:bodyPr vert="horz" wrap="square" lIns="0" tIns="45720" rIns="0" bIns="144000" rtlCol="0" anchor="b">
            <a:spAutoFit/>
          </a:bodyPr>
          <a:lstStyle>
            <a:lvl1pPr algn="r">
              <a:lnSpc>
                <a:spcPct val="80000"/>
              </a:lnSpc>
              <a:defRPr lang="it-IT" sz="3600"/>
            </a:lvl1pPr>
          </a:lstStyle>
          <a:p>
            <a:pPr lvl="0"/>
            <a:r>
              <a:rPr lang="it-IT" dirty="0"/>
              <a:t>Copertina sezione - alt 1</a:t>
            </a:r>
          </a:p>
        </p:txBody>
      </p:sp>
    </p:spTree>
    <p:extLst>
      <p:ext uri="{BB962C8B-B14F-4D97-AF65-F5344CB8AC3E}">
        <p14:creationId xmlns:p14="http://schemas.microsoft.com/office/powerpoint/2010/main" val="317483673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3_Titolo e contenuto testo 20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305530" y="3"/>
            <a:ext cx="8382465" cy="721973"/>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11"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305526" y="1000125"/>
            <a:ext cx="8382466" cy="3837783"/>
          </a:xfrm>
          <a:prstGeom prst="rect">
            <a:avLst/>
          </a:prstGeom>
        </p:spPr>
        <p:txBody>
          <a:bodyPr/>
          <a:lstStyle>
            <a:lvl1pPr marL="0" indent="0">
              <a:buClr>
                <a:schemeClr val="tx2"/>
              </a:buClr>
              <a:buSzPct val="140000"/>
              <a:buFontTx/>
              <a:buNone/>
              <a:defRPr sz="1800"/>
            </a:lvl1pPr>
            <a:lvl2pPr marL="407193" indent="0">
              <a:buClr>
                <a:schemeClr val="tx2"/>
              </a:buClr>
              <a:buSzPct val="140000"/>
              <a:buFontTx/>
              <a:buNone/>
              <a:defRPr sz="1620"/>
            </a:lvl2pPr>
            <a:lvl3pPr marL="805815" indent="0">
              <a:buClr>
                <a:schemeClr val="tx2"/>
              </a:buClr>
              <a:buSzPct val="140000"/>
              <a:buFontTx/>
              <a:buNone/>
              <a:defRPr sz="1440"/>
            </a:lvl3pPr>
            <a:lvl4pPr marL="1208723" indent="0">
              <a:buClr>
                <a:schemeClr val="tx2"/>
              </a:buClr>
              <a:buSzPct val="140000"/>
              <a:buFontTx/>
              <a:buNone/>
              <a:defRPr sz="1260"/>
            </a:lvl4pPr>
            <a:lvl5pPr marL="1615916" indent="0">
              <a:buClr>
                <a:schemeClr val="tx2"/>
              </a:buClr>
              <a:buSzPct val="140000"/>
              <a:buFontTx/>
              <a:buNone/>
              <a:defRPr sz="1080"/>
            </a:lvl5pPr>
          </a:lstStyle>
          <a:p>
            <a:pPr lvl="0"/>
            <a:r>
              <a:rPr lang="it-IT" dirty="0"/>
              <a:t>Testo Calibri 20pt</a:t>
            </a:r>
          </a:p>
          <a:p>
            <a:pPr lvl="1"/>
            <a:r>
              <a:rPr lang="it-IT" dirty="0"/>
              <a:t>Secondo livello 18pt</a:t>
            </a:r>
          </a:p>
          <a:p>
            <a:pPr lvl="2"/>
            <a:r>
              <a:rPr lang="it-IT" dirty="0"/>
              <a:t>Terzo livello 16pt</a:t>
            </a:r>
          </a:p>
          <a:p>
            <a:pPr lvl="3"/>
            <a:r>
              <a:rPr lang="it-IT" dirty="0"/>
              <a:t>Quarto livello 14pt</a:t>
            </a:r>
          </a:p>
          <a:p>
            <a:pPr lvl="4"/>
            <a:r>
              <a:rPr lang="it-IT" dirty="0"/>
              <a:t>Quinto livello 12pt</a:t>
            </a:r>
          </a:p>
        </p:txBody>
      </p:sp>
      <p:sp>
        <p:nvSpPr>
          <p:cNvPr id="9"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8245565" y="5341566"/>
            <a:ext cx="442430" cy="110800"/>
          </a:xfrm>
          <a:prstGeom prst="rect">
            <a:avLst/>
          </a:prstGeom>
          <a:solidFill>
            <a:schemeClr val="bg1"/>
          </a:solidFill>
          <a:effectLst/>
        </p:spPr>
        <p:txBody>
          <a:bodyPr wrap="none" lIns="0" tIns="0" rIns="0" bIns="0" rtlCol="0" anchor="ctr">
            <a:spAutoFit/>
          </a:bodyPr>
          <a:lstStyle>
            <a:lvl1pPr algn="r">
              <a:defRPr lang="it-IT" sz="720" smtClean="0">
                <a:solidFill>
                  <a:schemeClr val="tx2"/>
                </a:solidFill>
                <a:effectLst/>
              </a:defRPr>
            </a:lvl1pPr>
          </a:lstStyle>
          <a:p>
            <a:pPr defTabSz="1097253">
              <a:defRPr/>
            </a:pPr>
            <a:r>
              <a:rPr lang="it-IT">
                <a:solidFill>
                  <a:srgbClr val="DC002E"/>
                </a:solidFill>
              </a:rPr>
              <a:t>23/04/2019</a:t>
            </a:r>
            <a:endParaRPr lang="it-IT" dirty="0">
              <a:solidFill>
                <a:srgbClr val="DC002E"/>
              </a:solidFill>
            </a:endParaRPr>
          </a:p>
        </p:txBody>
      </p:sp>
      <p:sp>
        <p:nvSpPr>
          <p:cNvPr id="10"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2339071" y="5459999"/>
            <a:ext cx="6349277" cy="110800"/>
          </a:xfrm>
          <a:prstGeom prst="rect">
            <a:avLst/>
          </a:prstGeom>
          <a:noFill/>
        </p:spPr>
        <p:txBody>
          <a:bodyPr wrap="square" lIns="0" tIns="0" rIns="0" bIns="0" rtlCol="0">
            <a:spAutoFit/>
          </a:bodyPr>
          <a:lstStyle>
            <a:lvl1pPr>
              <a:defRPr lang="it-IT" sz="720" i="0">
                <a:solidFill>
                  <a:schemeClr val="bg2"/>
                </a:solidFill>
              </a:defRPr>
            </a:lvl1pPr>
          </a:lstStyle>
          <a:p>
            <a:pPr algn="r" defTabSz="1097253">
              <a:defRPr/>
            </a:pPr>
            <a:r>
              <a:rPr lang="it-IT">
                <a:solidFill>
                  <a:srgbClr val="717073"/>
                </a:solidFill>
              </a:rPr>
              <a:t>Coordinamento Territoriale Sicilia</a:t>
            </a:r>
            <a:endParaRPr lang="it-IT" dirty="0">
              <a:solidFill>
                <a:srgbClr val="717073"/>
              </a:solidFill>
            </a:endParaRPr>
          </a:p>
        </p:txBody>
      </p:sp>
      <p:pic>
        <p:nvPicPr>
          <p:cNvPr id="6" name="Immagin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5991" y="5097929"/>
            <a:ext cx="711341" cy="447738"/>
          </a:xfrm>
          <a:prstGeom prst="rect">
            <a:avLst/>
          </a:prstGeom>
        </p:spPr>
      </p:pic>
    </p:spTree>
    <p:extLst>
      <p:ext uri="{BB962C8B-B14F-4D97-AF65-F5344CB8AC3E}">
        <p14:creationId xmlns:p14="http://schemas.microsoft.com/office/powerpoint/2010/main" val="2757757388"/>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3_Titolo Sott. ">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305530" y="3"/>
            <a:ext cx="8382465" cy="721973"/>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305530" y="721974"/>
            <a:ext cx="8382465" cy="325778"/>
          </a:xfrm>
          <a:prstGeom prst="rect">
            <a:avLst/>
          </a:prstGeom>
        </p:spPr>
        <p:txBody>
          <a:bodyPr vert="horz" lIns="0" tIns="45720" rIns="91440" bIns="45720" rtlCol="0">
            <a:normAutofit/>
          </a:bodyPr>
          <a:lstStyle>
            <a:lvl1pPr>
              <a:spcBef>
                <a:spcPts val="1080"/>
              </a:spcBef>
              <a:defRPr lang="it-IT" sz="18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4"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8245565" y="5341566"/>
            <a:ext cx="442430" cy="110800"/>
          </a:xfrm>
          <a:prstGeom prst="rect">
            <a:avLst/>
          </a:prstGeom>
          <a:solidFill>
            <a:schemeClr val="bg1"/>
          </a:solidFill>
          <a:effectLst/>
        </p:spPr>
        <p:txBody>
          <a:bodyPr wrap="none" lIns="0" tIns="0" rIns="0" bIns="0" rtlCol="0" anchor="ctr">
            <a:spAutoFit/>
          </a:bodyPr>
          <a:lstStyle>
            <a:lvl1pPr algn="r">
              <a:defRPr lang="it-IT" sz="720" smtClean="0">
                <a:solidFill>
                  <a:schemeClr val="tx2"/>
                </a:solidFill>
                <a:effectLst/>
              </a:defRPr>
            </a:lvl1pPr>
          </a:lstStyle>
          <a:p>
            <a:pPr defTabSz="1097253">
              <a:defRPr/>
            </a:pPr>
            <a:r>
              <a:rPr lang="it-IT">
                <a:solidFill>
                  <a:srgbClr val="DC002E"/>
                </a:solidFill>
              </a:rPr>
              <a:t>23/04/2019</a:t>
            </a:r>
            <a:endParaRPr lang="it-IT" dirty="0">
              <a:solidFill>
                <a:srgbClr val="DC002E"/>
              </a:solidFill>
            </a:endParaRPr>
          </a:p>
        </p:txBody>
      </p:sp>
      <p:sp>
        <p:nvSpPr>
          <p:cNvPr id="5"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2339071" y="5459999"/>
            <a:ext cx="6349277" cy="110800"/>
          </a:xfrm>
          <a:prstGeom prst="rect">
            <a:avLst/>
          </a:prstGeom>
          <a:noFill/>
        </p:spPr>
        <p:txBody>
          <a:bodyPr wrap="square" lIns="0" tIns="0" rIns="0" bIns="0" rtlCol="0">
            <a:spAutoFit/>
          </a:bodyPr>
          <a:lstStyle>
            <a:lvl1pPr>
              <a:defRPr lang="it-IT" sz="720" i="0">
                <a:solidFill>
                  <a:schemeClr val="bg2"/>
                </a:solidFill>
              </a:defRPr>
            </a:lvl1pPr>
          </a:lstStyle>
          <a:p>
            <a:pPr algn="r" defTabSz="1097253">
              <a:defRPr/>
            </a:pPr>
            <a:r>
              <a:rPr lang="it-IT">
                <a:solidFill>
                  <a:srgbClr val="717073"/>
                </a:solidFill>
              </a:rPr>
              <a:t>Coordinamento Territoriale Sicilia</a:t>
            </a:r>
            <a:endParaRPr lang="it-IT" dirty="0">
              <a:solidFill>
                <a:srgbClr val="717073"/>
              </a:solidFill>
            </a:endParaRPr>
          </a:p>
        </p:txBody>
      </p:sp>
      <p:pic>
        <p:nvPicPr>
          <p:cNvPr id="6" name="Immagin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5991" y="5097929"/>
            <a:ext cx="711341" cy="447738"/>
          </a:xfrm>
          <a:prstGeom prst="rect">
            <a:avLst/>
          </a:prstGeom>
        </p:spPr>
      </p:pic>
    </p:spTree>
    <p:extLst>
      <p:ext uri="{BB962C8B-B14F-4D97-AF65-F5344CB8AC3E}">
        <p14:creationId xmlns:p14="http://schemas.microsoft.com/office/powerpoint/2010/main" val="3712266103"/>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Copertina">
    <p:spTree>
      <p:nvGrpSpPr>
        <p:cNvPr id="1" name=""/>
        <p:cNvGrpSpPr/>
        <p:nvPr/>
      </p:nvGrpSpPr>
      <p:grpSpPr>
        <a:xfrm>
          <a:off x="0" y="0"/>
          <a:ext cx="0" cy="0"/>
          <a:chOff x="0" y="0"/>
          <a:chExt cx="0" cy="0"/>
        </a:xfrm>
      </p:grpSpPr>
      <p:sp>
        <p:nvSpPr>
          <p:cNvPr id="19" name="Rettangolo 18">
            <a:extLst>
              <a:ext uri="{FF2B5EF4-FFF2-40B4-BE49-F238E27FC236}">
                <a16:creationId xmlns:a16="http://schemas.microsoft.com/office/drawing/2014/main" id="{CFDCDC1C-BD6A-492B-B81D-40AAD8317027}"/>
              </a:ext>
            </a:extLst>
          </p:cNvPr>
          <p:cNvSpPr/>
          <p:nvPr userDrawn="1"/>
        </p:nvSpPr>
        <p:spPr>
          <a:xfrm>
            <a:off x="8789334" y="0"/>
            <a:ext cx="354666" cy="5715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endParaRPr lang="it-IT">
              <a:solidFill>
                <a:srgbClr val="FFFFFF"/>
              </a:solidFill>
            </a:endParaRPr>
          </a:p>
        </p:txBody>
      </p:sp>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2998279" y="900862"/>
            <a:ext cx="5493338" cy="782504"/>
          </a:xfrm>
          <a:prstGeom prst="rect">
            <a:avLst/>
          </a:prstGeom>
          <a:noFill/>
          <a:effectLst/>
        </p:spPr>
        <p:txBody>
          <a:bodyPr vert="horz" wrap="square" lIns="0" tIns="45720" rIns="0" bIns="144000" rtlCol="0" anchor="b">
            <a:spAutoFit/>
          </a:bodyPr>
          <a:lstStyle>
            <a:lvl1pPr algn="r">
              <a:lnSpc>
                <a:spcPct val="80000"/>
              </a:lnSpc>
              <a:defRPr lang="it-IT" sz="4800"/>
            </a:lvl1pPr>
          </a:lstStyle>
          <a:p>
            <a:pPr lvl="0"/>
            <a:r>
              <a:rPr lang="it-IT" dirty="0"/>
              <a:t>COPERTINA </a:t>
            </a:r>
          </a:p>
        </p:txBody>
      </p:sp>
      <p:grpSp>
        <p:nvGrpSpPr>
          <p:cNvPr id="14" name="Group 4">
            <a:extLst>
              <a:ext uri="{FF2B5EF4-FFF2-40B4-BE49-F238E27FC236}">
                <a16:creationId xmlns:a16="http://schemas.microsoft.com/office/drawing/2014/main" id="{E4737D48-B2DB-4F53-BFC9-9F18751EDFC0}"/>
              </a:ext>
            </a:extLst>
          </p:cNvPr>
          <p:cNvGrpSpPr>
            <a:grpSpLocks noChangeAspect="1"/>
          </p:cNvGrpSpPr>
          <p:nvPr userDrawn="1"/>
        </p:nvGrpSpPr>
        <p:grpSpPr bwMode="auto">
          <a:xfrm>
            <a:off x="8840262" y="75356"/>
            <a:ext cx="259620" cy="195357"/>
            <a:chOff x="-560" y="-1287"/>
            <a:chExt cx="6379" cy="4320"/>
          </a:xfrm>
        </p:grpSpPr>
        <p:sp>
          <p:nvSpPr>
            <p:cNvPr id="15" name="AutoShape 3">
              <a:extLst>
                <a:ext uri="{FF2B5EF4-FFF2-40B4-BE49-F238E27FC236}">
                  <a16:creationId xmlns:a16="http://schemas.microsoft.com/office/drawing/2014/main" id="{525F0B45-3EF6-4A9D-A83E-CDB12E556535}"/>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400">
                <a:defRPr/>
              </a:pPr>
              <a:endParaRPr lang="it-IT">
                <a:solidFill>
                  <a:srgbClr val="000000"/>
                </a:solidFill>
              </a:endParaRPr>
            </a:p>
          </p:txBody>
        </p:sp>
        <p:sp>
          <p:nvSpPr>
            <p:cNvPr id="16" name="Rectangle 5">
              <a:extLst>
                <a:ext uri="{FF2B5EF4-FFF2-40B4-BE49-F238E27FC236}">
                  <a16:creationId xmlns:a16="http://schemas.microsoft.com/office/drawing/2014/main" id="{DB6A0205-9830-47FC-AFEF-1EA19F148D8C}"/>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400">
                <a:defRPr/>
              </a:pPr>
              <a:endParaRPr lang="it-IT">
                <a:solidFill>
                  <a:srgbClr val="000000"/>
                </a:solidFill>
              </a:endParaRPr>
            </a:p>
          </p:txBody>
        </p:sp>
        <p:sp>
          <p:nvSpPr>
            <p:cNvPr id="17" name="Freeform 6">
              <a:extLst>
                <a:ext uri="{FF2B5EF4-FFF2-40B4-BE49-F238E27FC236}">
                  <a16:creationId xmlns:a16="http://schemas.microsoft.com/office/drawing/2014/main" id="{A652E29C-2288-4037-A735-2C99372F7809}"/>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defRPr/>
              </a:pPr>
              <a:endParaRPr lang="it-IT">
                <a:solidFill>
                  <a:srgbClr val="000000"/>
                </a:solidFill>
              </a:endParaRPr>
            </a:p>
          </p:txBody>
        </p:sp>
        <p:sp>
          <p:nvSpPr>
            <p:cNvPr id="18" name="Freeform 7">
              <a:extLst>
                <a:ext uri="{FF2B5EF4-FFF2-40B4-BE49-F238E27FC236}">
                  <a16:creationId xmlns:a16="http://schemas.microsoft.com/office/drawing/2014/main" id="{3DEB9809-C89A-4A58-9A81-ABAF9CE315F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defRPr/>
              </a:pPr>
              <a:endParaRPr lang="it-IT">
                <a:solidFill>
                  <a:srgbClr val="000000"/>
                </a:solidFill>
              </a:endParaRPr>
            </a:p>
          </p:txBody>
        </p:sp>
        <p:sp>
          <p:nvSpPr>
            <p:cNvPr id="22" name="Freeform 8">
              <a:extLst>
                <a:ext uri="{FF2B5EF4-FFF2-40B4-BE49-F238E27FC236}">
                  <a16:creationId xmlns:a16="http://schemas.microsoft.com/office/drawing/2014/main" id="{E1355289-BE5F-41B1-954C-B78211E4669F}"/>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defRPr/>
              </a:pPr>
              <a:endParaRPr lang="it-IT">
                <a:solidFill>
                  <a:srgbClr val="000000"/>
                </a:solidFill>
              </a:endParaRPr>
            </a:p>
          </p:txBody>
        </p:sp>
        <p:sp>
          <p:nvSpPr>
            <p:cNvPr id="30" name="Freeform 9">
              <a:extLst>
                <a:ext uri="{FF2B5EF4-FFF2-40B4-BE49-F238E27FC236}">
                  <a16:creationId xmlns:a16="http://schemas.microsoft.com/office/drawing/2014/main" id="{8A815911-1EC8-4303-988F-6009E820B583}"/>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defRPr/>
              </a:pPr>
              <a:endParaRPr lang="it-IT">
                <a:solidFill>
                  <a:srgbClr val="000000"/>
                </a:solidFill>
              </a:endParaRPr>
            </a:p>
          </p:txBody>
        </p:sp>
      </p:grpSp>
      <p:sp>
        <p:nvSpPr>
          <p:cNvPr id="13" name="Segnaposto testo 3"/>
          <p:cNvSpPr>
            <a:spLocks noGrp="1"/>
          </p:cNvSpPr>
          <p:nvPr>
            <p:ph type="body" sz="quarter" idx="10" hasCustomPrompt="1"/>
          </p:nvPr>
        </p:nvSpPr>
        <p:spPr>
          <a:xfrm>
            <a:off x="4608127" y="1689608"/>
            <a:ext cx="3889117" cy="634771"/>
          </a:xfrm>
          <a:prstGeom prst="rect">
            <a:avLst/>
          </a:prstGeom>
          <a:noFill/>
          <a:effectLst/>
        </p:spPr>
        <p:txBody>
          <a:bodyPr vert="horz" wrap="square" lIns="0" tIns="45720" rIns="0" bIns="144000" rtlCol="0" anchor="t">
            <a:spAutoFit/>
          </a:bodyPr>
          <a:lstStyle>
            <a:lvl1pPr algn="r">
              <a:defRPr lang="it-IT" sz="3200" b="0" dirty="0">
                <a:solidFill>
                  <a:schemeClr val="bg1"/>
                </a:solidFill>
                <a:latin typeface="+mj-lt"/>
                <a:ea typeface="+mj-ea"/>
                <a:cs typeface="+mj-cs"/>
              </a:defRPr>
            </a:lvl1pPr>
          </a:lstStyle>
          <a:p>
            <a:pPr lvl="0" algn="r">
              <a:spcBef>
                <a:spcPct val="0"/>
              </a:spcBef>
            </a:pPr>
            <a:r>
              <a:rPr lang="it-IT" dirty="0"/>
              <a:t>Sottotitolo </a:t>
            </a:r>
          </a:p>
        </p:txBody>
      </p:sp>
      <p:sp>
        <p:nvSpPr>
          <p:cNvPr id="4" name="Segnaposto testo 3"/>
          <p:cNvSpPr>
            <a:spLocks noGrp="1"/>
          </p:cNvSpPr>
          <p:nvPr>
            <p:ph type="body" sz="quarter" idx="11" hasCustomPrompt="1"/>
          </p:nvPr>
        </p:nvSpPr>
        <p:spPr>
          <a:xfrm>
            <a:off x="305992" y="4450767"/>
            <a:ext cx="1165160" cy="268723"/>
          </a:xfrm>
          <a:prstGeom prst="rect">
            <a:avLst/>
          </a:prstGeom>
        </p:spPr>
        <p:txBody>
          <a:bodyPr lIns="0" rIns="0"/>
          <a:lstStyle>
            <a:lvl1pPr algn="l">
              <a:defRPr sz="1400" b="1" baseline="0">
                <a:solidFill>
                  <a:schemeClr val="bg1"/>
                </a:solidFill>
              </a:defRPr>
            </a:lvl1pPr>
          </a:lstStyle>
          <a:p>
            <a:pPr lvl="0"/>
            <a:r>
              <a:rPr lang="it-IT" dirty="0"/>
              <a:t>00 Mese 0000</a:t>
            </a:r>
          </a:p>
        </p:txBody>
      </p:sp>
      <p:pic>
        <p:nvPicPr>
          <p:cNvPr id="20" name="Immagine 1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05996" y="4989534"/>
            <a:ext cx="883553" cy="556133"/>
          </a:xfrm>
          <a:prstGeom prst="rect">
            <a:avLst/>
          </a:prstGeom>
        </p:spPr>
      </p:pic>
    </p:spTree>
    <p:extLst>
      <p:ext uri="{BB962C8B-B14F-4D97-AF65-F5344CB8AC3E}">
        <p14:creationId xmlns:p14="http://schemas.microsoft.com/office/powerpoint/2010/main" val="354601495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0" y="1775356"/>
            <a:ext cx="7772400" cy="329770"/>
          </a:xfrm>
        </p:spPr>
        <p:txBody>
          <a:bodyPr/>
          <a:lstStyle/>
          <a:p>
            <a:r>
              <a:rPr lang="it-IT"/>
              <a:t>Fare clic per modificare lo stile del titolo</a:t>
            </a:r>
          </a:p>
        </p:txBody>
      </p:sp>
      <p:sp>
        <p:nvSpPr>
          <p:cNvPr id="3" name="Sottotitolo 2"/>
          <p:cNvSpPr>
            <a:spLocks noGrp="1"/>
          </p:cNvSpPr>
          <p:nvPr>
            <p:ph type="subTitle" idx="1"/>
          </p:nvPr>
        </p:nvSpPr>
        <p:spPr>
          <a:xfrm>
            <a:off x="1371600" y="3238500"/>
            <a:ext cx="6400800" cy="1460500"/>
          </a:xfrm>
        </p:spPr>
        <p:txBody>
          <a:bodyPr/>
          <a:lstStyle>
            <a:lvl1pPr marL="0" indent="0" algn="ctr">
              <a:buNone/>
              <a:defRPr>
                <a:solidFill>
                  <a:schemeClr val="tx1">
                    <a:tint val="75000"/>
                  </a:schemeClr>
                </a:solidFill>
              </a:defRPr>
            </a:lvl1pPr>
            <a:lvl2pPr marL="342887" indent="0" algn="ctr">
              <a:buNone/>
              <a:defRPr>
                <a:solidFill>
                  <a:schemeClr val="tx1">
                    <a:tint val="75000"/>
                  </a:schemeClr>
                </a:solidFill>
              </a:defRPr>
            </a:lvl2pPr>
            <a:lvl3pPr marL="685773"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it-IT"/>
              <a:t>Fare clic per modificare lo stile del sottotitolo dello schema</a:t>
            </a:r>
          </a:p>
        </p:txBody>
      </p:sp>
      <p:sp>
        <p:nvSpPr>
          <p:cNvPr id="4" name="Segnaposto data 3"/>
          <p:cNvSpPr>
            <a:spLocks noGrp="1"/>
          </p:cNvSpPr>
          <p:nvPr>
            <p:ph type="dt" sz="half" idx="10"/>
          </p:nvPr>
        </p:nvSpPr>
        <p:spPr>
          <a:xfrm>
            <a:off x="8197476" y="5335411"/>
            <a:ext cx="490519" cy="123111"/>
          </a:xfrm>
          <a:prstGeom prst="rect">
            <a:avLst/>
          </a:prstGeom>
        </p:spPr>
        <p:txBody>
          <a:bodyPr/>
          <a:lstStyle/>
          <a:p>
            <a:pPr defTabSz="914355">
              <a:defRPr/>
            </a:pPr>
            <a:fld id="{13869AB1-DA44-4174-8000-EA687DD23AEF}" type="datetimeFigureOut">
              <a:rPr lang="it-IT" smtClean="0">
                <a:solidFill>
                  <a:srgbClr val="000000"/>
                </a:solidFill>
              </a:rPr>
              <a:pPr defTabSz="914355">
                <a:defRPr/>
              </a:pPr>
              <a:t>03/10/2022</a:t>
            </a:fld>
            <a:endParaRPr lang="it-IT">
              <a:solidFill>
                <a:srgbClr val="000000"/>
              </a:solidFill>
            </a:endParaRPr>
          </a:p>
        </p:txBody>
      </p:sp>
      <p:sp>
        <p:nvSpPr>
          <p:cNvPr id="5" name="Segnaposto piè di pagina 4"/>
          <p:cNvSpPr>
            <a:spLocks noGrp="1"/>
          </p:cNvSpPr>
          <p:nvPr>
            <p:ph type="ftr" sz="quarter" idx="11"/>
          </p:nvPr>
        </p:nvSpPr>
        <p:spPr>
          <a:xfrm>
            <a:off x="2339071" y="5460000"/>
            <a:ext cx="6349277" cy="123111"/>
          </a:xfrm>
          <a:prstGeom prst="rect">
            <a:avLst/>
          </a:prstGeom>
        </p:spPr>
        <p:txBody>
          <a:bodyPr/>
          <a:lstStyle/>
          <a:p>
            <a:pPr defTabSz="914355">
              <a:defRPr/>
            </a:pPr>
            <a:endParaRPr lang="it-IT">
              <a:solidFill>
                <a:srgbClr val="000000"/>
              </a:solidFill>
            </a:endParaRPr>
          </a:p>
        </p:txBody>
      </p:sp>
      <p:sp>
        <p:nvSpPr>
          <p:cNvPr id="6" name="Segnaposto numero diapositiva 5"/>
          <p:cNvSpPr>
            <a:spLocks noGrp="1"/>
          </p:cNvSpPr>
          <p:nvPr>
            <p:ph type="sldNum" sz="quarter" idx="12"/>
          </p:nvPr>
        </p:nvSpPr>
        <p:spPr>
          <a:xfrm>
            <a:off x="6553200" y="5296960"/>
            <a:ext cx="2133600" cy="304271"/>
          </a:xfrm>
          <a:prstGeom prst="rect">
            <a:avLst/>
          </a:prstGeom>
        </p:spPr>
        <p:txBody>
          <a:bodyPr/>
          <a:lstStyle/>
          <a:p>
            <a:pPr defTabSz="914355">
              <a:defRPr/>
            </a:pPr>
            <a:fld id="{56703010-7027-4E9F-8F4D-C51631745DB1}" type="slidenum">
              <a:rPr lang="it-IT" smtClean="0">
                <a:solidFill>
                  <a:srgbClr val="000000"/>
                </a:solidFill>
              </a:rPr>
              <a:pPr defTabSz="914355">
                <a:defRPr/>
              </a:pPr>
              <a:t>‹N›</a:t>
            </a:fld>
            <a:endParaRPr lang="it-IT">
              <a:solidFill>
                <a:srgbClr val="000000"/>
              </a:solidFill>
            </a:endParaRPr>
          </a:p>
        </p:txBody>
      </p:sp>
    </p:spTree>
    <p:extLst>
      <p:ext uri="{BB962C8B-B14F-4D97-AF65-F5344CB8AC3E}">
        <p14:creationId xmlns:p14="http://schemas.microsoft.com/office/powerpoint/2010/main" val="413709112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Slide Interna Testo 2 colonne - Blu">
    <p:spTree>
      <p:nvGrpSpPr>
        <p:cNvPr id="1" name=""/>
        <p:cNvGrpSpPr/>
        <p:nvPr/>
      </p:nvGrpSpPr>
      <p:grpSpPr>
        <a:xfrm>
          <a:off x="0" y="0"/>
          <a:ext cx="0" cy="0"/>
          <a:chOff x="0" y="0"/>
          <a:chExt cx="0" cy="0"/>
        </a:xfrm>
      </p:grpSpPr>
      <p:pic>
        <p:nvPicPr>
          <p:cNvPr id="22" name="Immagine 2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385" y="0"/>
            <a:ext cx="9144000" cy="5715000"/>
          </a:xfrm>
          <a:prstGeom prst="rect">
            <a:avLst/>
          </a:prstGeom>
        </p:spPr>
      </p:pic>
      <p:sp>
        <p:nvSpPr>
          <p:cNvPr id="2" name="Title 1"/>
          <p:cNvSpPr>
            <a:spLocks noGrp="1"/>
          </p:cNvSpPr>
          <p:nvPr>
            <p:ph type="title"/>
          </p:nvPr>
        </p:nvSpPr>
        <p:spPr>
          <a:xfrm>
            <a:off x="2" y="1"/>
            <a:ext cx="7823405" cy="412750"/>
          </a:xfrm>
        </p:spPr>
        <p:txBody>
          <a:bodyPr>
            <a:normAutofit/>
          </a:bodyPr>
          <a:lstStyle>
            <a:lvl1pPr>
              <a:defRPr sz="1800" b="1">
                <a:solidFill>
                  <a:srgbClr val="0033A0"/>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it-IT"/>
              <a:t>Fare clic per modificare stile</a:t>
            </a:r>
            <a:endParaRPr lang="en-US" dirty="0"/>
          </a:p>
        </p:txBody>
      </p:sp>
      <p:sp>
        <p:nvSpPr>
          <p:cNvPr id="11" name="Rettangolo 10">
            <a:extLst>
              <a:ext uri="{FF2B5EF4-FFF2-40B4-BE49-F238E27FC236}">
                <a16:creationId xmlns:a16="http://schemas.microsoft.com/office/drawing/2014/main" id="{7466584B-8BD1-48B2-BD0C-DC7DD5380BEF}"/>
              </a:ext>
            </a:extLst>
          </p:cNvPr>
          <p:cNvSpPr/>
          <p:nvPr userDrawn="1"/>
        </p:nvSpPr>
        <p:spPr>
          <a:xfrm>
            <a:off x="8787652" y="1"/>
            <a:ext cx="354666" cy="5715000"/>
          </a:xfrm>
          <a:prstGeom prst="rect">
            <a:avLst/>
          </a:prstGeom>
          <a:solidFill>
            <a:srgbClr val="DC00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5">
              <a:defRPr/>
            </a:pPr>
            <a:endParaRPr lang="it-IT" sz="2160">
              <a:solidFill>
                <a:srgbClr val="FFFFFF"/>
              </a:solidFill>
            </a:endParaRPr>
          </a:p>
        </p:txBody>
      </p:sp>
      <p:grpSp>
        <p:nvGrpSpPr>
          <p:cNvPr id="14"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8833822" y="100476"/>
            <a:ext cx="259620" cy="195357"/>
            <a:chOff x="-560" y="-1287"/>
            <a:chExt cx="6379" cy="4320"/>
          </a:xfrm>
        </p:grpSpPr>
        <p:sp>
          <p:nvSpPr>
            <p:cNvPr id="15"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55">
                <a:defRPr/>
              </a:pPr>
              <a:endParaRPr lang="it-IT" sz="2160">
                <a:solidFill>
                  <a:srgbClr val="000000"/>
                </a:solidFill>
              </a:endParaRPr>
            </a:p>
          </p:txBody>
        </p:sp>
        <p:sp>
          <p:nvSpPr>
            <p:cNvPr id="16"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55">
                <a:defRPr/>
              </a:pPr>
              <a:endParaRPr lang="it-IT" sz="2160">
                <a:solidFill>
                  <a:srgbClr val="000000"/>
                </a:solidFill>
              </a:endParaRPr>
            </a:p>
          </p:txBody>
        </p:sp>
        <p:sp>
          <p:nvSpPr>
            <p:cNvPr id="17"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55">
                <a:defRPr/>
              </a:pPr>
              <a:endParaRPr lang="it-IT" sz="2160">
                <a:solidFill>
                  <a:srgbClr val="000000"/>
                </a:solidFill>
              </a:endParaRPr>
            </a:p>
          </p:txBody>
        </p:sp>
        <p:sp>
          <p:nvSpPr>
            <p:cNvPr id="18"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55">
                <a:defRPr/>
              </a:pPr>
              <a:endParaRPr lang="it-IT" sz="2160">
                <a:solidFill>
                  <a:srgbClr val="000000"/>
                </a:solidFill>
              </a:endParaRPr>
            </a:p>
          </p:txBody>
        </p:sp>
        <p:sp>
          <p:nvSpPr>
            <p:cNvPr id="19"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55">
                <a:defRPr/>
              </a:pPr>
              <a:endParaRPr lang="it-IT" sz="2160">
                <a:solidFill>
                  <a:srgbClr val="000000"/>
                </a:solidFill>
              </a:endParaRPr>
            </a:p>
          </p:txBody>
        </p:sp>
        <p:sp>
          <p:nvSpPr>
            <p:cNvPr id="20"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55">
                <a:defRPr/>
              </a:pPr>
              <a:endParaRPr lang="it-IT" sz="2160">
                <a:solidFill>
                  <a:srgbClr val="000000"/>
                </a:solidFill>
              </a:endParaRPr>
            </a:p>
          </p:txBody>
        </p:sp>
      </p:grpSp>
      <p:sp>
        <p:nvSpPr>
          <p:cNvPr id="21"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8787654" y="5491375"/>
            <a:ext cx="354664" cy="192643"/>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97225">
              <a:defRPr/>
            </a:pPr>
            <a:fld id="{B9D7DBFB-DCE9-42BC-A361-A0671D12ADFC}" type="slidenum">
              <a:rPr lang="it-IT" sz="900">
                <a:solidFill>
                  <a:srgbClr val="FFFFFF"/>
                </a:solidFill>
              </a:rPr>
              <a:pPr defTabSz="1097225">
                <a:defRPr/>
              </a:pPr>
              <a:t>‹N›</a:t>
            </a:fld>
            <a:endParaRPr lang="it-IT" sz="900" dirty="0">
              <a:solidFill>
                <a:srgbClr val="FFFFFF"/>
              </a:solidFill>
            </a:endParaRPr>
          </a:p>
        </p:txBody>
      </p:sp>
      <p:pic>
        <p:nvPicPr>
          <p:cNvPr id="13" name="Immagin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05991" y="5097929"/>
            <a:ext cx="711341" cy="447738"/>
          </a:xfrm>
          <a:prstGeom prst="rect">
            <a:avLst/>
          </a:prstGeom>
        </p:spPr>
      </p:pic>
    </p:spTree>
    <p:extLst>
      <p:ext uri="{BB962C8B-B14F-4D97-AF65-F5344CB8AC3E}">
        <p14:creationId xmlns:p14="http://schemas.microsoft.com/office/powerpoint/2010/main" val="218368765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2_Slide Interna Testo - Blu">
    <p:spTree>
      <p:nvGrpSpPr>
        <p:cNvPr id="1" name=""/>
        <p:cNvGrpSpPr/>
        <p:nvPr/>
      </p:nvGrpSpPr>
      <p:grpSpPr>
        <a:xfrm>
          <a:off x="0" y="0"/>
          <a:ext cx="0" cy="0"/>
          <a:chOff x="0" y="0"/>
          <a:chExt cx="0" cy="0"/>
        </a:xfrm>
      </p:grpSpPr>
      <p:sp>
        <p:nvSpPr>
          <p:cNvPr id="12" name="Rettangolo 11">
            <a:extLst>
              <a:ext uri="{FF2B5EF4-FFF2-40B4-BE49-F238E27FC236}">
                <a16:creationId xmlns:a16="http://schemas.microsoft.com/office/drawing/2014/main" id="{7466584B-8BD1-48B2-BD0C-DC7DD5380BEF}"/>
              </a:ext>
            </a:extLst>
          </p:cNvPr>
          <p:cNvSpPr/>
          <p:nvPr/>
        </p:nvSpPr>
        <p:spPr>
          <a:xfrm>
            <a:off x="8789334" y="0"/>
            <a:ext cx="354666" cy="5715000"/>
          </a:xfrm>
          <a:prstGeom prst="rect">
            <a:avLst/>
          </a:prstGeom>
          <a:solidFill>
            <a:srgbClr val="DC00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5">
              <a:defRPr/>
            </a:pPr>
            <a:endParaRPr lang="it-IT" sz="1013">
              <a:solidFill>
                <a:srgbClr val="FFFFFF"/>
              </a:solidFill>
            </a:endParaRPr>
          </a:p>
        </p:txBody>
      </p:sp>
      <p:grpSp>
        <p:nvGrpSpPr>
          <p:cNvPr id="13" name="Group 4">
            <a:extLst>
              <a:ext uri="{FF2B5EF4-FFF2-40B4-BE49-F238E27FC236}">
                <a16:creationId xmlns:a16="http://schemas.microsoft.com/office/drawing/2014/main" id="{E93527B5-7425-47AC-89C0-2B32AE601683}"/>
              </a:ext>
            </a:extLst>
          </p:cNvPr>
          <p:cNvGrpSpPr>
            <a:grpSpLocks noChangeAspect="1"/>
          </p:cNvGrpSpPr>
          <p:nvPr/>
        </p:nvGrpSpPr>
        <p:grpSpPr bwMode="auto">
          <a:xfrm>
            <a:off x="8840262" y="75356"/>
            <a:ext cx="259620" cy="195357"/>
            <a:chOff x="-560" y="-1287"/>
            <a:chExt cx="6379" cy="4320"/>
          </a:xfrm>
        </p:grpSpPr>
        <p:sp>
          <p:nvSpPr>
            <p:cNvPr id="14"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55">
                <a:defRPr/>
              </a:pPr>
              <a:endParaRPr lang="it-IT" sz="1013">
                <a:solidFill>
                  <a:srgbClr val="000000"/>
                </a:solidFill>
              </a:endParaRPr>
            </a:p>
          </p:txBody>
        </p:sp>
        <p:sp>
          <p:nvSpPr>
            <p:cNvPr id="15"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55">
                <a:defRPr/>
              </a:pPr>
              <a:endParaRPr lang="it-IT" sz="1013">
                <a:solidFill>
                  <a:srgbClr val="000000"/>
                </a:solidFill>
              </a:endParaRPr>
            </a:p>
          </p:txBody>
        </p:sp>
        <p:sp>
          <p:nvSpPr>
            <p:cNvPr id="16"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55">
                <a:defRPr/>
              </a:pPr>
              <a:endParaRPr lang="it-IT" sz="1013">
                <a:solidFill>
                  <a:srgbClr val="000000"/>
                </a:solidFill>
              </a:endParaRPr>
            </a:p>
          </p:txBody>
        </p:sp>
        <p:sp>
          <p:nvSpPr>
            <p:cNvPr id="17"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55">
                <a:defRPr/>
              </a:pPr>
              <a:endParaRPr lang="it-IT" sz="1013">
                <a:solidFill>
                  <a:srgbClr val="000000"/>
                </a:solidFill>
              </a:endParaRPr>
            </a:p>
          </p:txBody>
        </p:sp>
        <p:sp>
          <p:nvSpPr>
            <p:cNvPr id="18"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55">
                <a:defRPr/>
              </a:pPr>
              <a:endParaRPr lang="it-IT" sz="1013">
                <a:solidFill>
                  <a:srgbClr val="000000"/>
                </a:solidFill>
              </a:endParaRPr>
            </a:p>
          </p:txBody>
        </p:sp>
        <p:sp>
          <p:nvSpPr>
            <p:cNvPr id="19"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55">
                <a:defRPr/>
              </a:pPr>
              <a:endParaRPr lang="it-IT" sz="1013">
                <a:solidFill>
                  <a:srgbClr val="000000"/>
                </a:solidFill>
              </a:endParaRPr>
            </a:p>
          </p:txBody>
        </p:sp>
      </p:grpSp>
      <p:sp>
        <p:nvSpPr>
          <p:cNvPr id="20" name="Segnaposto numero diapositiva 5">
            <a:extLst>
              <a:ext uri="{FF2B5EF4-FFF2-40B4-BE49-F238E27FC236}">
                <a16:creationId xmlns:a16="http://schemas.microsoft.com/office/drawing/2014/main" id="{79A77BD1-CC86-49F8-A7FD-E0EB30E9AA60}"/>
              </a:ext>
            </a:extLst>
          </p:cNvPr>
          <p:cNvSpPr txBox="1">
            <a:spLocks/>
          </p:cNvSpPr>
          <p:nvPr/>
        </p:nvSpPr>
        <p:spPr>
          <a:xfrm>
            <a:off x="8788628" y="5413259"/>
            <a:ext cx="354666" cy="192644"/>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784">
              <a:defRPr/>
            </a:pPr>
            <a:fld id="{B9D7DBFB-DCE9-42BC-A361-A0671D12ADFC}" type="slidenum">
              <a:rPr lang="it-IT" sz="563">
                <a:solidFill>
                  <a:srgbClr val="FFFFFF"/>
                </a:solidFill>
              </a:rPr>
              <a:pPr defTabSz="685784">
                <a:defRPr/>
              </a:pPr>
              <a:t>‹N›</a:t>
            </a:fld>
            <a:endParaRPr lang="it-IT" sz="563" dirty="0">
              <a:solidFill>
                <a:srgbClr val="FFFFFF"/>
              </a:solidFill>
            </a:endParaRPr>
          </a:p>
        </p:txBody>
      </p:sp>
      <p:pic>
        <p:nvPicPr>
          <p:cNvPr id="21" name="Immagine 2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5993" y="5097933"/>
            <a:ext cx="711341" cy="447738"/>
          </a:xfrm>
          <a:prstGeom prst="rect">
            <a:avLst/>
          </a:prstGeom>
        </p:spPr>
      </p:pic>
      <p:pic>
        <p:nvPicPr>
          <p:cNvPr id="22" name="Immagine 21"/>
          <p:cNvPicPr>
            <a:picLocks noChangeAspect="1"/>
          </p:cNvPicPr>
          <p:nvPr userDrawn="1"/>
        </p:nvPicPr>
        <p:blipFill rotWithShape="1">
          <a:blip r:embed="rId3">
            <a:extLst>
              <a:ext uri="{28A0092B-C50C-407E-A947-70E740481C1C}">
                <a14:useLocalDpi xmlns:a14="http://schemas.microsoft.com/office/drawing/2010/main" val="0"/>
              </a:ext>
            </a:extLst>
          </a:blip>
          <a:srcRect l="4478"/>
          <a:stretch/>
        </p:blipFill>
        <p:spPr>
          <a:xfrm>
            <a:off x="51179" y="11374"/>
            <a:ext cx="8734568" cy="5694123"/>
          </a:xfrm>
          <a:prstGeom prst="rect">
            <a:avLst/>
          </a:prstGeom>
        </p:spPr>
      </p:pic>
      <p:pic>
        <p:nvPicPr>
          <p:cNvPr id="23" name="Immagin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5991" y="5097929"/>
            <a:ext cx="711341" cy="447738"/>
          </a:xfrm>
          <a:prstGeom prst="rect">
            <a:avLst/>
          </a:prstGeom>
        </p:spPr>
      </p:pic>
    </p:spTree>
    <p:extLst>
      <p:ext uri="{BB962C8B-B14F-4D97-AF65-F5344CB8AC3E}">
        <p14:creationId xmlns:p14="http://schemas.microsoft.com/office/powerpoint/2010/main" val="153064875"/>
      </p:ext>
    </p:extLst>
  </p:cSld>
  <p:clrMapOvr>
    <a:masterClrMapping/>
  </p:clrMapOvr>
  <p:transition spd="slow">
    <p:wipe/>
  </p:transition>
  <p:hf hdr="0" ftr="0"/>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Layout personalizzato">
    <p:spTree>
      <p:nvGrpSpPr>
        <p:cNvPr id="1" name=""/>
        <p:cNvGrpSpPr/>
        <p:nvPr/>
      </p:nvGrpSpPr>
      <p:grpSpPr>
        <a:xfrm>
          <a:off x="0" y="0"/>
          <a:ext cx="0" cy="0"/>
          <a:chOff x="0" y="0"/>
          <a:chExt cx="0" cy="0"/>
        </a:xfrm>
      </p:grpSpPr>
      <p:grpSp>
        <p:nvGrpSpPr>
          <p:cNvPr id="12" name="Gruppo 11"/>
          <p:cNvGrpSpPr/>
          <p:nvPr userDrawn="1"/>
        </p:nvGrpSpPr>
        <p:grpSpPr>
          <a:xfrm>
            <a:off x="8788084" y="0"/>
            <a:ext cx="355004" cy="5715000"/>
            <a:chOff x="11718175" y="-1"/>
            <a:chExt cx="489769" cy="7093266"/>
          </a:xfrm>
        </p:grpSpPr>
        <p:sp>
          <p:nvSpPr>
            <p:cNvPr id="3" name="Rettangolo 2">
              <a:extLst>
                <a:ext uri="{FF2B5EF4-FFF2-40B4-BE49-F238E27FC236}">
                  <a16:creationId xmlns:a16="http://schemas.microsoft.com/office/drawing/2014/main" id="{7466584B-8BD1-48B2-BD0C-DC7DD5380BEF}"/>
                </a:ext>
              </a:extLst>
            </p:cNvPr>
            <p:cNvSpPr/>
            <p:nvPr userDrawn="1"/>
          </p:nvSpPr>
          <p:spPr>
            <a:xfrm>
              <a:off x="11718175" y="-1"/>
              <a:ext cx="489769" cy="7093266"/>
            </a:xfrm>
            <a:prstGeom prst="rect">
              <a:avLst/>
            </a:prstGeom>
            <a:solidFill>
              <a:srgbClr val="DC00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97">
                <a:defRPr/>
              </a:pPr>
              <a:endParaRPr lang="it-IT" sz="1350">
                <a:solidFill>
                  <a:srgbClr val="FBFBFB"/>
                </a:solidFill>
              </a:endParaRPr>
            </a:p>
          </p:txBody>
        </p:sp>
        <p:grpSp>
          <p:nvGrpSpPr>
            <p:cNvPr id="4"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11787016" y="90427"/>
              <a:ext cx="346160" cy="234428"/>
              <a:chOff x="-560" y="-1287"/>
              <a:chExt cx="6379" cy="4320"/>
            </a:xfrm>
          </p:grpSpPr>
          <p:sp>
            <p:nvSpPr>
              <p:cNvPr id="5"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685697">
                  <a:defRPr/>
                </a:pPr>
                <a:endParaRPr lang="it-IT" sz="1350">
                  <a:solidFill>
                    <a:srgbClr val="171717"/>
                  </a:solidFill>
                </a:endParaRPr>
              </a:p>
            </p:txBody>
          </p:sp>
          <p:sp>
            <p:nvSpPr>
              <p:cNvPr id="6"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685697">
                  <a:defRPr/>
                </a:pPr>
                <a:endParaRPr lang="it-IT" sz="1350">
                  <a:solidFill>
                    <a:srgbClr val="171717"/>
                  </a:solidFill>
                </a:endParaRPr>
              </a:p>
            </p:txBody>
          </p:sp>
        </p:grpSp>
      </p:grpSp>
      <p:grpSp>
        <p:nvGrpSpPr>
          <p:cNvPr id="13" name="Group 4">
            <a:extLst>
              <a:ext uri="{FF2B5EF4-FFF2-40B4-BE49-F238E27FC236}">
                <a16:creationId xmlns:a16="http://schemas.microsoft.com/office/drawing/2014/main" id="{E4737D48-B2DB-4F53-BFC9-9F18751EDFC0}"/>
              </a:ext>
            </a:extLst>
          </p:cNvPr>
          <p:cNvGrpSpPr>
            <a:grpSpLocks noChangeAspect="1"/>
          </p:cNvGrpSpPr>
          <p:nvPr userDrawn="1"/>
        </p:nvGrpSpPr>
        <p:grpSpPr bwMode="auto">
          <a:xfrm>
            <a:off x="8840262" y="75356"/>
            <a:ext cx="259620" cy="195357"/>
            <a:chOff x="-560" y="-1287"/>
            <a:chExt cx="6379" cy="4320"/>
          </a:xfrm>
        </p:grpSpPr>
        <p:sp>
          <p:nvSpPr>
            <p:cNvPr id="14" name="AutoShape 3">
              <a:extLst>
                <a:ext uri="{FF2B5EF4-FFF2-40B4-BE49-F238E27FC236}">
                  <a16:creationId xmlns:a16="http://schemas.microsoft.com/office/drawing/2014/main" id="{525F0B45-3EF6-4A9D-A83E-CDB12E556535}"/>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685663">
                <a:defRPr/>
              </a:pPr>
              <a:endParaRPr lang="it-IT" sz="1350">
                <a:solidFill>
                  <a:srgbClr val="000000"/>
                </a:solidFill>
              </a:endParaRPr>
            </a:p>
          </p:txBody>
        </p:sp>
        <p:sp>
          <p:nvSpPr>
            <p:cNvPr id="15" name="Rectangle 5">
              <a:extLst>
                <a:ext uri="{FF2B5EF4-FFF2-40B4-BE49-F238E27FC236}">
                  <a16:creationId xmlns:a16="http://schemas.microsoft.com/office/drawing/2014/main" id="{DB6A0205-9830-47FC-AFEF-1EA19F148D8C}"/>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685663">
                <a:defRPr/>
              </a:pPr>
              <a:endParaRPr lang="it-IT" sz="1350">
                <a:solidFill>
                  <a:srgbClr val="000000"/>
                </a:solidFill>
              </a:endParaRPr>
            </a:p>
          </p:txBody>
        </p:sp>
        <p:sp>
          <p:nvSpPr>
            <p:cNvPr id="16" name="Freeform 6">
              <a:extLst>
                <a:ext uri="{FF2B5EF4-FFF2-40B4-BE49-F238E27FC236}">
                  <a16:creationId xmlns:a16="http://schemas.microsoft.com/office/drawing/2014/main" id="{A652E29C-2288-4037-A735-2C99372F7809}"/>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685663">
                <a:defRPr/>
              </a:pPr>
              <a:endParaRPr lang="it-IT" sz="1350">
                <a:solidFill>
                  <a:srgbClr val="000000"/>
                </a:solidFill>
              </a:endParaRPr>
            </a:p>
          </p:txBody>
        </p:sp>
        <p:sp>
          <p:nvSpPr>
            <p:cNvPr id="17" name="Freeform 7">
              <a:extLst>
                <a:ext uri="{FF2B5EF4-FFF2-40B4-BE49-F238E27FC236}">
                  <a16:creationId xmlns:a16="http://schemas.microsoft.com/office/drawing/2014/main" id="{3DEB9809-C89A-4A58-9A81-ABAF9CE315F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685663">
                <a:defRPr/>
              </a:pPr>
              <a:endParaRPr lang="it-IT" sz="1350">
                <a:solidFill>
                  <a:srgbClr val="000000"/>
                </a:solidFill>
              </a:endParaRPr>
            </a:p>
          </p:txBody>
        </p:sp>
        <p:sp>
          <p:nvSpPr>
            <p:cNvPr id="18" name="Freeform 8">
              <a:extLst>
                <a:ext uri="{FF2B5EF4-FFF2-40B4-BE49-F238E27FC236}">
                  <a16:creationId xmlns:a16="http://schemas.microsoft.com/office/drawing/2014/main" id="{E1355289-BE5F-41B1-954C-B78211E4669F}"/>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685663">
                <a:defRPr/>
              </a:pPr>
              <a:endParaRPr lang="it-IT" sz="1350">
                <a:solidFill>
                  <a:srgbClr val="000000"/>
                </a:solidFill>
              </a:endParaRPr>
            </a:p>
          </p:txBody>
        </p:sp>
        <p:sp>
          <p:nvSpPr>
            <p:cNvPr id="19" name="Freeform 9">
              <a:extLst>
                <a:ext uri="{FF2B5EF4-FFF2-40B4-BE49-F238E27FC236}">
                  <a16:creationId xmlns:a16="http://schemas.microsoft.com/office/drawing/2014/main" id="{8A815911-1EC8-4303-988F-6009E820B583}"/>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685663">
                <a:defRPr/>
              </a:pPr>
              <a:endParaRPr lang="it-IT" sz="1350">
                <a:solidFill>
                  <a:srgbClr val="000000"/>
                </a:solidFill>
              </a:endParaRPr>
            </a:p>
          </p:txBody>
        </p:sp>
      </p:grpSp>
      <p:sp>
        <p:nvSpPr>
          <p:cNvPr id="20" name="Rettangolo 19"/>
          <p:cNvSpPr/>
          <p:nvPr userDrawn="1"/>
        </p:nvSpPr>
        <p:spPr>
          <a:xfrm>
            <a:off x="1" y="0"/>
            <a:ext cx="8791163" cy="5715000"/>
          </a:xfrm>
          <a:prstGeom prst="rect">
            <a:avLst/>
          </a:prstGeom>
          <a:blipFill>
            <a:blip r:embed="rId2" cstate="prin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97">
              <a:defRPr/>
            </a:pPr>
            <a:endParaRPr lang="it-IT" sz="1350">
              <a:solidFill>
                <a:srgbClr val="FBFBFB"/>
              </a:solidFill>
            </a:endParaRPr>
          </a:p>
        </p:txBody>
      </p:sp>
      <p:sp>
        <p:nvSpPr>
          <p:cNvPr id="23"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8886264" y="5556250"/>
            <a:ext cx="177310" cy="96323"/>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97">
              <a:defRPr/>
            </a:pPr>
            <a:fld id="{01BE6FC7-1306-4697-914D-404F3D35FF22}" type="slidenum">
              <a:rPr lang="it-IT" sz="675">
                <a:solidFill>
                  <a:srgbClr val="FBFBFB"/>
                </a:solidFill>
              </a:rPr>
              <a:pPr defTabSz="457097">
                <a:defRPr/>
              </a:pPr>
              <a:t>‹N›</a:t>
            </a:fld>
            <a:endParaRPr lang="it-IT" sz="675" dirty="0">
              <a:solidFill>
                <a:srgbClr val="FBFBFB"/>
              </a:solidFill>
            </a:endParaRPr>
          </a:p>
        </p:txBody>
      </p:sp>
      <p:sp>
        <p:nvSpPr>
          <p:cNvPr id="24" name="Titolo 23"/>
          <p:cNvSpPr>
            <a:spLocks noGrp="1"/>
          </p:cNvSpPr>
          <p:nvPr>
            <p:ph type="title" hasCustomPrompt="1"/>
          </p:nvPr>
        </p:nvSpPr>
        <p:spPr>
          <a:xfrm>
            <a:off x="114880" y="95251"/>
            <a:ext cx="7886864" cy="235479"/>
          </a:xfrm>
          <a:prstGeom prst="rect">
            <a:avLst/>
          </a:prstGeom>
        </p:spPr>
        <p:txBody>
          <a:bodyPr/>
          <a:lstStyle>
            <a:lvl1pPr>
              <a:defRPr sz="1500">
                <a:solidFill>
                  <a:srgbClr val="DC002E"/>
                </a:solidFill>
                <a:latin typeface="Raleway" panose="020B0503030101060003"/>
              </a:defRPr>
            </a:lvl1pPr>
          </a:lstStyle>
          <a:p>
            <a:r>
              <a:rPr lang="it-IT" dirty="0"/>
              <a:t>TITOLO SLIDE</a:t>
            </a:r>
          </a:p>
        </p:txBody>
      </p:sp>
      <p:pic>
        <p:nvPicPr>
          <p:cNvPr id="22" name="Immagine 2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05991" y="5097929"/>
            <a:ext cx="711341" cy="447738"/>
          </a:xfrm>
          <a:prstGeom prst="rect">
            <a:avLst/>
          </a:prstGeom>
        </p:spPr>
      </p:pic>
    </p:spTree>
    <p:extLst>
      <p:ext uri="{BB962C8B-B14F-4D97-AF65-F5344CB8AC3E}">
        <p14:creationId xmlns:p14="http://schemas.microsoft.com/office/powerpoint/2010/main" val="1706395147"/>
      </p:ext>
    </p:extLst>
  </p:cSld>
  <p:clrMapOvr>
    <a:masterClrMapping/>
  </p:clrMapOvr>
  <p:extLst>
    <p:ext uri="{DCECCB84-F9BA-43D5-87BE-67443E8EF086}">
      <p15:sldGuideLst xmlns:p15="http://schemas.microsoft.com/office/powerpoint/2012/main">
        <p15:guide id="1" pos="7681">
          <p15:clr>
            <a:srgbClr val="FBAE40"/>
          </p15:clr>
        </p15:guide>
        <p15:guide id="2" pos="311">
          <p15:clr>
            <a:srgbClr val="FBAE40"/>
          </p15:clr>
        </p15:guide>
        <p15:guide id="3" orient="horz" pos="44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pic>
        <p:nvPicPr>
          <p:cNvPr id="8" name="Immagin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715000"/>
          </a:xfrm>
          <a:prstGeom prst="rect">
            <a:avLst/>
          </a:prstGeom>
        </p:spPr>
      </p:pic>
      <p:sp>
        <p:nvSpPr>
          <p:cNvPr id="2" name="Title 1"/>
          <p:cNvSpPr>
            <a:spLocks noGrp="1"/>
          </p:cNvSpPr>
          <p:nvPr>
            <p:ph type="title"/>
          </p:nvPr>
        </p:nvSpPr>
        <p:spPr/>
        <p:txBody>
          <a:bodyPr/>
          <a:lstStyle/>
          <a:p>
            <a:r>
              <a:rPr lang="de-DE"/>
              <a:t>Click to edit Master title style</a:t>
            </a:r>
            <a:endParaRPr lang="en-US"/>
          </a:p>
        </p:txBody>
      </p:sp>
      <p:sp>
        <p:nvSpPr>
          <p:cNvPr id="3" name="Content Placeholder 2"/>
          <p:cNvSpPr>
            <a:spLocks noGrp="1"/>
          </p:cNvSpPr>
          <p:nvPr>
            <p:ph idx="1"/>
          </p:nvPr>
        </p:nvSpPr>
        <p:spPr/>
        <p:txBody>
          <a:body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endParaRPr lang="en-US"/>
          </a:p>
        </p:txBody>
      </p:sp>
      <p:sp>
        <p:nvSpPr>
          <p:cNvPr id="4" name="Date Placeholder 3"/>
          <p:cNvSpPr>
            <a:spLocks noGrp="1"/>
          </p:cNvSpPr>
          <p:nvPr>
            <p:ph type="dt" sz="half" idx="10"/>
          </p:nvPr>
        </p:nvSpPr>
        <p:spPr>
          <a:xfrm>
            <a:off x="8358574" y="5345668"/>
            <a:ext cx="329417" cy="102593"/>
          </a:xfrm>
          <a:prstGeom prst="rect">
            <a:avLst/>
          </a:prstGeom>
        </p:spPr>
        <p:txBody>
          <a:bodyPr/>
          <a:lstStyle/>
          <a:p>
            <a:pPr defTabSz="914355">
              <a:defRPr/>
            </a:pPr>
            <a:fld id="{0E243129-64E4-964D-9CB7-C1E61CC04E00}" type="datetimeFigureOut">
              <a:rPr lang="en-US" smtClean="0">
                <a:solidFill>
                  <a:srgbClr val="000000"/>
                </a:solidFill>
              </a:rPr>
              <a:pPr defTabSz="914355">
                <a:defRPr/>
              </a:pPr>
              <a:t>10/3/2022</a:t>
            </a:fld>
            <a:endParaRPr lang="en-US">
              <a:solidFill>
                <a:srgbClr val="000000"/>
              </a:solidFill>
            </a:endParaRPr>
          </a:p>
        </p:txBody>
      </p:sp>
      <p:sp>
        <p:nvSpPr>
          <p:cNvPr id="5" name="Footer Placeholder 4"/>
          <p:cNvSpPr>
            <a:spLocks noGrp="1"/>
          </p:cNvSpPr>
          <p:nvPr>
            <p:ph type="ftr" sz="quarter" idx="11"/>
          </p:nvPr>
        </p:nvSpPr>
        <p:spPr>
          <a:xfrm>
            <a:off x="2339068" y="5459996"/>
            <a:ext cx="6349277" cy="102593"/>
          </a:xfrm>
          <a:prstGeom prst="rect">
            <a:avLst/>
          </a:prstGeom>
        </p:spPr>
        <p:txBody>
          <a:bodyPr/>
          <a:lstStyle/>
          <a:p>
            <a:pPr defTabSz="914355">
              <a:defRPr/>
            </a:pPr>
            <a:endParaRPr lang="en-US">
              <a:solidFill>
                <a:srgbClr val="000000"/>
              </a:solidFill>
            </a:endParaRPr>
          </a:p>
        </p:txBody>
      </p:sp>
      <p:sp>
        <p:nvSpPr>
          <p:cNvPr id="6" name="Slide Number Placeholder 5"/>
          <p:cNvSpPr>
            <a:spLocks noGrp="1"/>
          </p:cNvSpPr>
          <p:nvPr>
            <p:ph type="sldNum" sz="quarter" idx="12"/>
          </p:nvPr>
        </p:nvSpPr>
        <p:spPr>
          <a:xfrm>
            <a:off x="6553200" y="5296960"/>
            <a:ext cx="2133600" cy="304271"/>
          </a:xfrm>
          <a:prstGeom prst="rect">
            <a:avLst/>
          </a:prstGeom>
        </p:spPr>
        <p:txBody>
          <a:bodyPr/>
          <a:lstStyle/>
          <a:p>
            <a:pPr defTabSz="914355">
              <a:defRPr/>
            </a:pPr>
            <a:fld id="{7DF00B3C-E975-FC4F-8A3C-DD3763EBAB4D}" type="slidenum">
              <a:rPr lang="en-US" smtClean="0">
                <a:solidFill>
                  <a:srgbClr val="000000"/>
                </a:solidFill>
              </a:rPr>
              <a:pPr defTabSz="914355">
                <a:defRPr/>
              </a:pPr>
              <a:t>‹N›</a:t>
            </a:fld>
            <a:endParaRPr lang="en-US">
              <a:solidFill>
                <a:srgbClr val="000000"/>
              </a:solidFill>
            </a:endParaRPr>
          </a:p>
        </p:txBody>
      </p:sp>
      <p:sp>
        <p:nvSpPr>
          <p:cNvPr id="7" name="Rettangolo 6"/>
          <p:cNvSpPr/>
          <p:nvPr userDrawn="1"/>
        </p:nvSpPr>
        <p:spPr>
          <a:xfrm>
            <a:off x="0" y="0"/>
            <a:ext cx="8792308" cy="5715000"/>
          </a:xfrm>
          <a:prstGeom prst="rect">
            <a:avLst/>
          </a:prstGeom>
          <a:solidFill>
            <a:schemeClr val="bg1">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5">
              <a:defRPr/>
            </a:pPr>
            <a:endParaRPr lang="it-IT" sz="1800">
              <a:solidFill>
                <a:srgbClr val="FFFFFF"/>
              </a:solidFill>
            </a:endParaRPr>
          </a:p>
        </p:txBody>
      </p:sp>
      <p:sp>
        <p:nvSpPr>
          <p:cNvPr id="9" name="Rettangolo 8">
            <a:extLst>
              <a:ext uri="{FF2B5EF4-FFF2-40B4-BE49-F238E27FC236}">
                <a16:creationId xmlns:a16="http://schemas.microsoft.com/office/drawing/2014/main" id="{7466584B-8BD1-48B2-BD0C-DC7DD5380BEF}"/>
              </a:ext>
            </a:extLst>
          </p:cNvPr>
          <p:cNvSpPr/>
          <p:nvPr userDrawn="1"/>
        </p:nvSpPr>
        <p:spPr>
          <a:xfrm>
            <a:off x="8789334" y="0"/>
            <a:ext cx="354666" cy="5715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5">
              <a:defRPr/>
            </a:pPr>
            <a:endParaRPr lang="it-IT" sz="1800">
              <a:solidFill>
                <a:srgbClr val="FFFFFF"/>
              </a:solidFill>
            </a:endParaRPr>
          </a:p>
        </p:txBody>
      </p:sp>
      <p:grpSp>
        <p:nvGrpSpPr>
          <p:cNvPr id="10"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8840262" y="75356"/>
            <a:ext cx="259620" cy="195357"/>
            <a:chOff x="-560" y="-1287"/>
            <a:chExt cx="6379" cy="4320"/>
          </a:xfrm>
        </p:grpSpPr>
        <p:sp>
          <p:nvSpPr>
            <p:cNvPr id="11"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55">
                <a:defRPr/>
              </a:pPr>
              <a:endParaRPr lang="it-IT" sz="1800">
                <a:solidFill>
                  <a:srgbClr val="000000"/>
                </a:solidFill>
              </a:endParaRPr>
            </a:p>
          </p:txBody>
        </p:sp>
        <p:sp>
          <p:nvSpPr>
            <p:cNvPr id="12"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55">
                <a:defRPr/>
              </a:pPr>
              <a:endParaRPr lang="it-IT" sz="1800">
                <a:solidFill>
                  <a:srgbClr val="000000"/>
                </a:solidFill>
              </a:endParaRPr>
            </a:p>
          </p:txBody>
        </p:sp>
        <p:sp>
          <p:nvSpPr>
            <p:cNvPr id="13"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55">
                <a:defRPr/>
              </a:pPr>
              <a:endParaRPr lang="it-IT" sz="1800">
                <a:solidFill>
                  <a:srgbClr val="000000"/>
                </a:solidFill>
              </a:endParaRPr>
            </a:p>
          </p:txBody>
        </p:sp>
        <p:sp>
          <p:nvSpPr>
            <p:cNvPr id="14"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55">
                <a:defRPr/>
              </a:pPr>
              <a:endParaRPr lang="it-IT" sz="1800">
                <a:solidFill>
                  <a:srgbClr val="000000"/>
                </a:solidFill>
              </a:endParaRPr>
            </a:p>
          </p:txBody>
        </p:sp>
        <p:sp>
          <p:nvSpPr>
            <p:cNvPr id="15"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55">
                <a:defRPr/>
              </a:pPr>
              <a:endParaRPr lang="it-IT" sz="1800">
                <a:solidFill>
                  <a:srgbClr val="000000"/>
                </a:solidFill>
              </a:endParaRPr>
            </a:p>
          </p:txBody>
        </p:sp>
        <p:sp>
          <p:nvSpPr>
            <p:cNvPr id="16"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55">
                <a:defRPr/>
              </a:pPr>
              <a:endParaRPr lang="it-IT" sz="1800">
                <a:solidFill>
                  <a:srgbClr val="000000"/>
                </a:solidFill>
              </a:endParaRPr>
            </a:p>
          </p:txBody>
        </p:sp>
      </p:grpSp>
      <p:sp>
        <p:nvSpPr>
          <p:cNvPr id="17"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8788628" y="5413256"/>
            <a:ext cx="354666" cy="192644"/>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8">
              <a:defRPr/>
            </a:pPr>
            <a:fld id="{B9D7DBFB-DCE9-42BC-A361-A0671D12ADFC}" type="slidenum">
              <a:rPr lang="it-IT" sz="750">
                <a:solidFill>
                  <a:srgbClr val="FFFFFF"/>
                </a:solidFill>
              </a:rPr>
              <a:pPr defTabSz="914378">
                <a:defRPr/>
              </a:pPr>
              <a:t>‹N›</a:t>
            </a:fld>
            <a:endParaRPr lang="it-IT" sz="750" dirty="0">
              <a:solidFill>
                <a:srgbClr val="FFFFFF"/>
              </a:solidFill>
            </a:endParaRPr>
          </a:p>
        </p:txBody>
      </p:sp>
      <p:pic>
        <p:nvPicPr>
          <p:cNvPr id="18" name="Immagin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05991" y="5097929"/>
            <a:ext cx="711341" cy="447738"/>
          </a:xfrm>
          <a:prstGeom prst="rect">
            <a:avLst/>
          </a:prstGeom>
        </p:spPr>
      </p:pic>
    </p:spTree>
    <p:extLst>
      <p:ext uri="{BB962C8B-B14F-4D97-AF65-F5344CB8AC3E}">
        <p14:creationId xmlns:p14="http://schemas.microsoft.com/office/powerpoint/2010/main" val="331799171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5_Titolo Sott. e contenuto testo Bullet Point 18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305526" y="0"/>
            <a:ext cx="8382465" cy="721973"/>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305526" y="721973"/>
            <a:ext cx="8382465" cy="325778"/>
          </a:xfrm>
          <a:prstGeom prst="rect">
            <a:avLst/>
          </a:prstGeom>
        </p:spPr>
        <p:txBody>
          <a:bodyPr vert="horz" lIns="0" tIns="45720" rIns="91440" bIns="45720" rtlCol="0">
            <a:normAutofit/>
          </a:bodyPr>
          <a:lstStyle>
            <a:lvl1pPr>
              <a:spcBef>
                <a:spcPts val="900"/>
              </a:spcBef>
              <a:defRPr lang="it-IT" sz="15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11"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305526" y="1334821"/>
            <a:ext cx="8382465" cy="3503086"/>
          </a:xfrm>
          <a:prstGeom prst="rect">
            <a:avLst/>
          </a:prstGeom>
        </p:spPr>
        <p:txBody>
          <a:bodyPr/>
          <a:lstStyle>
            <a:lvl1pPr marL="136922" indent="-136922">
              <a:buClr>
                <a:schemeClr val="tx2"/>
              </a:buClr>
              <a:buSzPct val="140000"/>
              <a:buFont typeface="Arial" panose="020B0604020202020204" pitchFamily="34" charset="0"/>
              <a:buChar char="•"/>
              <a:defRPr sz="1350"/>
            </a:lvl1pPr>
            <a:lvl2pPr marL="471488" indent="-132160">
              <a:buClr>
                <a:schemeClr val="tx2"/>
              </a:buClr>
              <a:buSzPct val="140000"/>
              <a:buFont typeface="Arial" panose="020B0604020202020204" pitchFamily="34" charset="0"/>
              <a:buChar char="•"/>
              <a:defRPr sz="1200"/>
            </a:lvl2pPr>
            <a:lvl3pPr marL="807244" indent="-135731">
              <a:buClr>
                <a:schemeClr val="tx2"/>
              </a:buClr>
              <a:buSzPct val="140000"/>
              <a:buFont typeface="Arial" panose="020B0604020202020204" pitchFamily="34" charset="0"/>
              <a:buChar char="•"/>
              <a:defRPr sz="1050"/>
            </a:lvl3pPr>
            <a:lvl4pPr marL="1143000" indent="-135731">
              <a:buClr>
                <a:schemeClr val="tx2"/>
              </a:buClr>
              <a:buSzPct val="140000"/>
              <a:buFont typeface="Arial" panose="020B0604020202020204" pitchFamily="34" charset="0"/>
              <a:buChar char="•"/>
              <a:defRPr sz="900"/>
            </a:lvl4pPr>
            <a:lvl5pPr marL="1478756" indent="-132160">
              <a:buClr>
                <a:schemeClr val="tx2"/>
              </a:buClr>
              <a:buSzPct val="140000"/>
              <a:buFont typeface="Arial" panose="020B0604020202020204" pitchFamily="34" charset="0"/>
              <a:buChar char="•"/>
              <a:defRPr sz="825"/>
            </a:lvl5pPr>
          </a:lstStyle>
          <a:p>
            <a:pPr lvl="0"/>
            <a:r>
              <a:rPr lang="it-IT" dirty="0"/>
              <a:t>Testo Calibri 18pt</a:t>
            </a:r>
          </a:p>
          <a:p>
            <a:pPr lvl="1"/>
            <a:r>
              <a:rPr lang="it-IT" dirty="0"/>
              <a:t>Secondo livello 16pt</a:t>
            </a:r>
          </a:p>
          <a:p>
            <a:pPr lvl="2"/>
            <a:r>
              <a:rPr lang="it-IT" dirty="0"/>
              <a:t>Terzo livello 14pt</a:t>
            </a:r>
          </a:p>
          <a:p>
            <a:pPr lvl="3"/>
            <a:r>
              <a:rPr lang="it-IT" dirty="0"/>
              <a:t>Quarto livello 12pt</a:t>
            </a:r>
          </a:p>
          <a:p>
            <a:pPr lvl="4"/>
            <a:r>
              <a:rPr lang="it-IT" dirty="0"/>
              <a:t>Quinto livello 11pt</a:t>
            </a:r>
          </a:p>
        </p:txBody>
      </p:sp>
      <p:sp>
        <p:nvSpPr>
          <p:cNvPr id="5"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8319300" y="5350798"/>
            <a:ext cx="368691" cy="92333"/>
          </a:xfrm>
          <a:prstGeom prst="rect">
            <a:avLst/>
          </a:prstGeom>
          <a:solidFill>
            <a:schemeClr val="bg1"/>
          </a:solidFill>
          <a:effectLst/>
        </p:spPr>
        <p:txBody>
          <a:bodyPr wrap="none" lIns="0" tIns="0" rIns="0" bIns="0" rtlCol="0" anchor="ctr">
            <a:spAutoFit/>
          </a:bodyPr>
          <a:lstStyle>
            <a:lvl1pPr algn="r">
              <a:defRPr lang="it-IT" sz="600" smtClean="0">
                <a:solidFill>
                  <a:schemeClr val="tx2"/>
                </a:solidFill>
                <a:effectLst/>
              </a:defRPr>
            </a:lvl1pPr>
          </a:lstStyle>
          <a:p>
            <a:pPr defTabSz="914378">
              <a:defRPr/>
            </a:pPr>
            <a:r>
              <a:rPr lang="it-IT">
                <a:solidFill>
                  <a:srgbClr val="DC002E"/>
                </a:solidFill>
              </a:rPr>
              <a:t>01/10/2020</a:t>
            </a:r>
            <a:endParaRPr lang="it-IT" dirty="0">
              <a:solidFill>
                <a:srgbClr val="DC002E"/>
              </a:solidFill>
            </a:endParaRPr>
          </a:p>
        </p:txBody>
      </p:sp>
      <p:sp>
        <p:nvSpPr>
          <p:cNvPr id="6"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2339068" y="5459996"/>
            <a:ext cx="6349277" cy="92333"/>
          </a:xfrm>
          <a:prstGeom prst="rect">
            <a:avLst/>
          </a:prstGeom>
          <a:noFill/>
        </p:spPr>
        <p:txBody>
          <a:bodyPr wrap="square" lIns="0" tIns="0" rIns="0" bIns="0" rtlCol="0">
            <a:spAutoFit/>
          </a:bodyPr>
          <a:lstStyle>
            <a:lvl1pPr>
              <a:defRPr lang="it-IT" sz="600" i="0">
                <a:solidFill>
                  <a:schemeClr val="bg2"/>
                </a:solidFill>
              </a:defRPr>
            </a:lvl1pPr>
          </a:lstStyle>
          <a:p>
            <a:pPr algn="r" defTabSz="914378">
              <a:defRPr/>
            </a:pPr>
            <a:endParaRPr lang="en-GB" dirty="0">
              <a:solidFill>
                <a:srgbClr val="717073"/>
              </a:solidFill>
            </a:endParaRPr>
          </a:p>
        </p:txBody>
      </p:sp>
      <p:pic>
        <p:nvPicPr>
          <p:cNvPr id="7" name="Immagin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5991" y="5097929"/>
            <a:ext cx="711341" cy="447738"/>
          </a:xfrm>
          <a:prstGeom prst="rect">
            <a:avLst/>
          </a:prstGeom>
        </p:spPr>
      </p:pic>
    </p:spTree>
    <p:extLst>
      <p:ext uri="{BB962C8B-B14F-4D97-AF65-F5344CB8AC3E}">
        <p14:creationId xmlns:p14="http://schemas.microsoft.com/office/powerpoint/2010/main" val="2221373511"/>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olo e contenuto">
    <p:spTree>
      <p:nvGrpSpPr>
        <p:cNvPr id="1" name=""/>
        <p:cNvGrpSpPr/>
        <p:nvPr/>
      </p:nvGrpSpPr>
      <p:grpSpPr>
        <a:xfrm>
          <a:off x="0" y="0"/>
          <a:ext cx="0" cy="0"/>
          <a:chOff x="0" y="0"/>
          <a:chExt cx="0" cy="0"/>
        </a:xfrm>
      </p:grpSpPr>
      <p:pic>
        <p:nvPicPr>
          <p:cNvPr id="19" name="Immagine 1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4000" cy="5715001"/>
          </a:xfrm>
          <a:prstGeom prst="rect">
            <a:avLst/>
          </a:prstGeom>
        </p:spPr>
      </p:pic>
      <p:sp>
        <p:nvSpPr>
          <p:cNvPr id="7" name="Rettangolo 6">
            <a:extLst>
              <a:ext uri="{FF2B5EF4-FFF2-40B4-BE49-F238E27FC236}">
                <a16:creationId xmlns:a16="http://schemas.microsoft.com/office/drawing/2014/main" id="{7466584B-8BD1-48B2-BD0C-DC7DD5380BEF}"/>
              </a:ext>
            </a:extLst>
          </p:cNvPr>
          <p:cNvSpPr/>
          <p:nvPr userDrawn="1"/>
        </p:nvSpPr>
        <p:spPr>
          <a:xfrm>
            <a:off x="8789334" y="0"/>
            <a:ext cx="354666" cy="5715000"/>
          </a:xfrm>
          <a:prstGeom prst="rect">
            <a:avLst/>
          </a:prstGeom>
          <a:solidFill>
            <a:srgbClr val="DC00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it-IT" sz="1350" dirty="0">
              <a:solidFill>
                <a:srgbClr val="FFFFFF"/>
              </a:solidFill>
            </a:endParaRPr>
          </a:p>
        </p:txBody>
      </p:sp>
      <p:grpSp>
        <p:nvGrpSpPr>
          <p:cNvPr id="8"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8840262" y="75356"/>
            <a:ext cx="259620" cy="195357"/>
            <a:chOff x="-560" y="-1287"/>
            <a:chExt cx="6379" cy="4320"/>
          </a:xfrm>
        </p:grpSpPr>
        <p:sp>
          <p:nvSpPr>
            <p:cNvPr id="9"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685783"/>
              <a:endParaRPr lang="it-IT" sz="1350" dirty="0">
                <a:solidFill>
                  <a:srgbClr val="000000"/>
                </a:solidFill>
              </a:endParaRPr>
            </a:p>
          </p:txBody>
        </p:sp>
        <p:sp>
          <p:nvSpPr>
            <p:cNvPr id="10"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685783"/>
              <a:endParaRPr lang="it-IT" sz="1350" dirty="0">
                <a:solidFill>
                  <a:srgbClr val="000000"/>
                </a:solidFill>
              </a:endParaRPr>
            </a:p>
          </p:txBody>
        </p:sp>
        <p:sp>
          <p:nvSpPr>
            <p:cNvPr id="11"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685783"/>
              <a:endParaRPr lang="it-IT" sz="1350" dirty="0">
                <a:solidFill>
                  <a:srgbClr val="000000"/>
                </a:solidFill>
              </a:endParaRPr>
            </a:p>
          </p:txBody>
        </p:sp>
        <p:sp>
          <p:nvSpPr>
            <p:cNvPr id="12"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685783"/>
              <a:endParaRPr lang="it-IT" sz="1350" dirty="0">
                <a:solidFill>
                  <a:srgbClr val="000000"/>
                </a:solidFill>
              </a:endParaRPr>
            </a:p>
          </p:txBody>
        </p:sp>
        <p:sp>
          <p:nvSpPr>
            <p:cNvPr id="13"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685783"/>
              <a:endParaRPr lang="it-IT" sz="1350" dirty="0">
                <a:solidFill>
                  <a:srgbClr val="000000"/>
                </a:solidFill>
              </a:endParaRPr>
            </a:p>
          </p:txBody>
        </p:sp>
        <p:sp>
          <p:nvSpPr>
            <p:cNvPr id="14"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685783"/>
              <a:endParaRPr lang="it-IT" sz="1350" dirty="0">
                <a:solidFill>
                  <a:srgbClr val="000000"/>
                </a:solidFill>
              </a:endParaRPr>
            </a:p>
          </p:txBody>
        </p:sp>
      </p:grpSp>
      <p:sp>
        <p:nvSpPr>
          <p:cNvPr id="15"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8788628" y="5413256"/>
            <a:ext cx="354666" cy="192644"/>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5"/>
            <a:fld id="{B9D7DBFB-DCE9-42BC-A361-A0671D12ADFC}" type="slidenum">
              <a:rPr lang="it-IT" sz="750">
                <a:solidFill>
                  <a:srgbClr val="FFFFFF"/>
                </a:solidFill>
              </a:rPr>
              <a:pPr defTabSz="914355"/>
              <a:t>‹N›</a:t>
            </a:fld>
            <a:endParaRPr lang="it-IT" sz="750" dirty="0">
              <a:solidFill>
                <a:srgbClr val="FFFFFF"/>
              </a:solidFill>
            </a:endParaRPr>
          </a:p>
        </p:txBody>
      </p:sp>
      <p:sp>
        <p:nvSpPr>
          <p:cNvPr id="16"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7779088" y="5350800"/>
            <a:ext cx="908903" cy="92333"/>
          </a:xfrm>
          <a:prstGeom prst="rect">
            <a:avLst/>
          </a:prstGeom>
          <a:solidFill>
            <a:schemeClr val="bg1"/>
          </a:solidFill>
          <a:effectLst/>
        </p:spPr>
        <p:txBody>
          <a:bodyPr wrap="none" lIns="0" tIns="0" rIns="0" bIns="0" rtlCol="0" anchor="ctr">
            <a:spAutoFit/>
          </a:bodyPr>
          <a:lstStyle>
            <a:lvl1pPr algn="r">
              <a:defRPr lang="it-IT" sz="600" smtClean="0">
                <a:solidFill>
                  <a:schemeClr val="tx2"/>
                </a:solidFill>
                <a:effectLst/>
              </a:defRPr>
            </a:lvl1pPr>
          </a:lstStyle>
          <a:p>
            <a:pPr defTabSz="914355"/>
            <a:r>
              <a:rPr lang="it-IT">
                <a:solidFill>
                  <a:srgbClr val="DC002E"/>
                </a:solidFill>
              </a:rPr>
              <a:t>Formato data GG/MM/AAAA</a:t>
            </a:r>
            <a:endParaRPr lang="it-IT" dirty="0">
              <a:solidFill>
                <a:srgbClr val="DC002E"/>
              </a:solidFill>
            </a:endParaRPr>
          </a:p>
        </p:txBody>
      </p:sp>
      <p:sp>
        <p:nvSpPr>
          <p:cNvPr id="17"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2339069" y="5459998"/>
            <a:ext cx="6349277" cy="92333"/>
          </a:xfrm>
          <a:prstGeom prst="rect">
            <a:avLst/>
          </a:prstGeom>
          <a:noFill/>
        </p:spPr>
        <p:txBody>
          <a:bodyPr wrap="square" lIns="0" tIns="0" rIns="0" bIns="0" rtlCol="0">
            <a:spAutoFit/>
          </a:bodyPr>
          <a:lstStyle>
            <a:lvl1pPr>
              <a:defRPr lang="it-IT" sz="600" i="0">
                <a:solidFill>
                  <a:schemeClr val="bg2"/>
                </a:solidFill>
              </a:defRPr>
            </a:lvl1pPr>
          </a:lstStyle>
          <a:p>
            <a:pPr algn="r" defTabSz="914355"/>
            <a:r>
              <a:rPr lang="en-GB">
                <a:solidFill>
                  <a:srgbClr val="717073"/>
                </a:solidFill>
              </a:rPr>
              <a:t>Titolo presentazione   </a:t>
            </a:r>
            <a:r>
              <a:rPr lang="en-GB">
                <a:solidFill>
                  <a:srgbClr val="DC002E"/>
                </a:solidFill>
              </a:rPr>
              <a:t>I</a:t>
            </a:r>
            <a:r>
              <a:rPr lang="en-GB">
                <a:solidFill>
                  <a:srgbClr val="717073"/>
                </a:solidFill>
              </a:rPr>
              <a:t>   Nome relatore</a:t>
            </a:r>
            <a:endParaRPr lang="en-GB" dirty="0">
              <a:solidFill>
                <a:srgbClr val="717073"/>
              </a:solidFill>
            </a:endParaRPr>
          </a:p>
        </p:txBody>
      </p:sp>
      <p:pic>
        <p:nvPicPr>
          <p:cNvPr id="18" name="Immagine 17"/>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05992" y="5097930"/>
            <a:ext cx="711341" cy="447738"/>
          </a:xfrm>
          <a:prstGeom prst="rect">
            <a:avLst/>
          </a:prstGeom>
        </p:spPr>
      </p:pic>
    </p:spTree>
    <p:extLst>
      <p:ext uri="{BB962C8B-B14F-4D97-AF65-F5344CB8AC3E}">
        <p14:creationId xmlns:p14="http://schemas.microsoft.com/office/powerpoint/2010/main" val="528550055"/>
      </p:ext>
    </p:extLst>
  </p:cSld>
  <p:clrMapOvr>
    <a:masterClrMapping/>
  </p:clrMapOvr>
  <p:transition spd="slow">
    <p:wipe/>
  </p:transition>
  <p:hf hdr="0" ftr="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dice">
    <p:spTree>
      <p:nvGrpSpPr>
        <p:cNvPr id="1" name=""/>
        <p:cNvGrpSpPr/>
        <p:nvPr/>
      </p:nvGrpSpPr>
      <p:grpSpPr>
        <a:xfrm>
          <a:off x="0" y="0"/>
          <a:ext cx="0" cy="0"/>
          <a:chOff x="0" y="0"/>
          <a:chExt cx="0" cy="0"/>
        </a:xfrm>
      </p:grpSpPr>
      <p:sp>
        <p:nvSpPr>
          <p:cNvPr id="12" name="Rettangolo 11">
            <a:extLst>
              <a:ext uri="{FF2B5EF4-FFF2-40B4-BE49-F238E27FC236}">
                <a16:creationId xmlns:a16="http://schemas.microsoft.com/office/drawing/2014/main" id="{83084A23-6A9D-48F6-95F5-5090736F718A}"/>
              </a:ext>
            </a:extLst>
          </p:cNvPr>
          <p:cNvSpPr/>
          <p:nvPr userDrawn="1"/>
        </p:nvSpPr>
        <p:spPr>
          <a:xfrm>
            <a:off x="8789334" y="0"/>
            <a:ext cx="354666" cy="5715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it-IT">
              <a:solidFill>
                <a:srgbClr val="FFFFFF"/>
              </a:solidFill>
            </a:endParaRPr>
          </a:p>
        </p:txBody>
      </p:sp>
      <p:grpSp>
        <p:nvGrpSpPr>
          <p:cNvPr id="14" name="Group 4">
            <a:extLst>
              <a:ext uri="{FF2B5EF4-FFF2-40B4-BE49-F238E27FC236}">
                <a16:creationId xmlns:a16="http://schemas.microsoft.com/office/drawing/2014/main" id="{E4737D48-B2DB-4F53-BFC9-9F18751EDFC0}"/>
              </a:ext>
            </a:extLst>
          </p:cNvPr>
          <p:cNvGrpSpPr>
            <a:grpSpLocks noChangeAspect="1"/>
          </p:cNvGrpSpPr>
          <p:nvPr userDrawn="1"/>
        </p:nvGrpSpPr>
        <p:grpSpPr bwMode="auto">
          <a:xfrm>
            <a:off x="8840262" y="75356"/>
            <a:ext cx="259620" cy="195357"/>
            <a:chOff x="-560" y="-1287"/>
            <a:chExt cx="6379" cy="4320"/>
          </a:xfrm>
        </p:grpSpPr>
        <p:sp>
          <p:nvSpPr>
            <p:cNvPr id="15" name="AutoShape 3">
              <a:extLst>
                <a:ext uri="{FF2B5EF4-FFF2-40B4-BE49-F238E27FC236}">
                  <a16:creationId xmlns:a16="http://schemas.microsoft.com/office/drawing/2014/main" id="{525F0B45-3EF6-4A9D-A83E-CDB12E556535}"/>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400"/>
              <a:endParaRPr lang="it-IT">
                <a:solidFill>
                  <a:srgbClr val="000000"/>
                </a:solidFill>
              </a:endParaRPr>
            </a:p>
          </p:txBody>
        </p:sp>
        <p:sp>
          <p:nvSpPr>
            <p:cNvPr id="16" name="Rectangle 5">
              <a:extLst>
                <a:ext uri="{FF2B5EF4-FFF2-40B4-BE49-F238E27FC236}">
                  <a16:creationId xmlns:a16="http://schemas.microsoft.com/office/drawing/2014/main" id="{DB6A0205-9830-47FC-AFEF-1EA19F148D8C}"/>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400"/>
              <a:endParaRPr lang="it-IT">
                <a:solidFill>
                  <a:srgbClr val="000000"/>
                </a:solidFill>
              </a:endParaRPr>
            </a:p>
          </p:txBody>
        </p:sp>
        <p:sp>
          <p:nvSpPr>
            <p:cNvPr id="17" name="Freeform 6">
              <a:extLst>
                <a:ext uri="{FF2B5EF4-FFF2-40B4-BE49-F238E27FC236}">
                  <a16:creationId xmlns:a16="http://schemas.microsoft.com/office/drawing/2014/main" id="{A652E29C-2288-4037-A735-2C99372F7809}"/>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it-IT">
                <a:solidFill>
                  <a:srgbClr val="000000"/>
                </a:solidFill>
              </a:endParaRPr>
            </a:p>
          </p:txBody>
        </p:sp>
        <p:sp>
          <p:nvSpPr>
            <p:cNvPr id="18" name="Freeform 7">
              <a:extLst>
                <a:ext uri="{FF2B5EF4-FFF2-40B4-BE49-F238E27FC236}">
                  <a16:creationId xmlns:a16="http://schemas.microsoft.com/office/drawing/2014/main" id="{3DEB9809-C89A-4A58-9A81-ABAF9CE315F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it-IT">
                <a:solidFill>
                  <a:srgbClr val="000000"/>
                </a:solidFill>
              </a:endParaRPr>
            </a:p>
          </p:txBody>
        </p:sp>
        <p:sp>
          <p:nvSpPr>
            <p:cNvPr id="22" name="Freeform 8">
              <a:extLst>
                <a:ext uri="{FF2B5EF4-FFF2-40B4-BE49-F238E27FC236}">
                  <a16:creationId xmlns:a16="http://schemas.microsoft.com/office/drawing/2014/main" id="{E1355289-BE5F-41B1-954C-B78211E4669F}"/>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it-IT">
                <a:solidFill>
                  <a:srgbClr val="000000"/>
                </a:solidFill>
              </a:endParaRPr>
            </a:p>
          </p:txBody>
        </p:sp>
        <p:sp>
          <p:nvSpPr>
            <p:cNvPr id="30" name="Freeform 9">
              <a:extLst>
                <a:ext uri="{FF2B5EF4-FFF2-40B4-BE49-F238E27FC236}">
                  <a16:creationId xmlns:a16="http://schemas.microsoft.com/office/drawing/2014/main" id="{8A815911-1EC8-4303-988F-6009E820B583}"/>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it-IT">
                <a:solidFill>
                  <a:srgbClr val="000000"/>
                </a:solidFill>
              </a:endParaRPr>
            </a:p>
          </p:txBody>
        </p:sp>
      </p:grpSp>
      <p:sp>
        <p:nvSpPr>
          <p:cNvPr id="26"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3204007" y="1632220"/>
            <a:ext cx="4767646" cy="288656"/>
          </a:xfrm>
          <a:prstGeom prst="rect">
            <a:avLst/>
          </a:prstGeom>
        </p:spPr>
        <p:txBody>
          <a:bodyPr vert="horz" lIns="0" tIns="45720" rIns="91440" bIns="45720" rtlCol="0" anchor="ctr" anchorCtr="0">
            <a:normAutofit/>
          </a:bodyPr>
          <a:lstStyle>
            <a:lvl1pPr algn="l">
              <a:defRPr lang="it-IT" sz="2000" baseline="0" smtClean="0">
                <a:solidFill>
                  <a:schemeClr val="bg2"/>
                </a:solidFill>
              </a:defRPr>
            </a:lvl1pPr>
            <a:lvl2pPr>
              <a:defRPr lang="it-IT" smtClean="0"/>
            </a:lvl2pPr>
            <a:lvl3pPr>
              <a:defRPr lang="it-IT" smtClean="0"/>
            </a:lvl3pPr>
            <a:lvl4pPr>
              <a:defRPr lang="it-IT" smtClean="0"/>
            </a:lvl4pPr>
            <a:lvl5pPr>
              <a:defRPr lang="it-IT"/>
            </a:lvl5pPr>
          </a:lstStyle>
          <a:p>
            <a:pPr lvl="0"/>
            <a:r>
              <a:rPr lang="it-IT" dirty="0"/>
              <a:t>Indice</a:t>
            </a:r>
          </a:p>
        </p:txBody>
      </p:sp>
      <p:sp>
        <p:nvSpPr>
          <p:cNvPr id="27" name="Segnaposto contenuto 2">
            <a:extLst>
              <a:ext uri="{FF2B5EF4-FFF2-40B4-BE49-F238E27FC236}">
                <a16:creationId xmlns:a16="http://schemas.microsoft.com/office/drawing/2014/main" id="{6D2B416D-7B49-44B1-B69F-DA365E602485}"/>
              </a:ext>
            </a:extLst>
          </p:cNvPr>
          <p:cNvSpPr>
            <a:spLocks noGrp="1"/>
          </p:cNvSpPr>
          <p:nvPr>
            <p:ph idx="10" hasCustomPrompt="1"/>
          </p:nvPr>
        </p:nvSpPr>
        <p:spPr>
          <a:xfrm>
            <a:off x="8083821" y="1632221"/>
            <a:ext cx="407799" cy="288656"/>
          </a:xfrm>
          <a:prstGeom prst="rect">
            <a:avLst/>
          </a:prstGeom>
        </p:spPr>
        <p:txBody>
          <a:bodyPr vert="horz" lIns="0" tIns="45720" rIns="91440" bIns="45720" rtlCol="0" anchor="ctr" anchorCtr="0">
            <a:normAutofit/>
          </a:bodyPr>
          <a:lstStyle>
            <a:lvl1pPr algn="r">
              <a:defRPr lang="it-IT" sz="2000" baseline="0" smtClean="0">
                <a:solidFill>
                  <a:schemeClr val="bg2"/>
                </a:solidFill>
              </a:defRPr>
            </a:lvl1pPr>
            <a:lvl2pPr>
              <a:defRPr lang="it-IT" smtClean="0"/>
            </a:lvl2pPr>
            <a:lvl3pPr>
              <a:defRPr lang="it-IT" smtClean="0"/>
            </a:lvl3pPr>
            <a:lvl4pPr>
              <a:defRPr lang="it-IT" smtClean="0"/>
            </a:lvl4pPr>
            <a:lvl5pPr>
              <a:defRPr lang="it-IT"/>
            </a:lvl5pPr>
          </a:lstStyle>
          <a:p>
            <a:pPr lvl="0"/>
            <a:r>
              <a:rPr lang="it-IT" dirty="0"/>
              <a:t>N </a:t>
            </a:r>
          </a:p>
        </p:txBody>
      </p:sp>
      <p:sp>
        <p:nvSpPr>
          <p:cNvPr id="28" name="CasellaDiTesto 27"/>
          <p:cNvSpPr txBox="1"/>
          <p:nvPr userDrawn="1"/>
        </p:nvSpPr>
        <p:spPr>
          <a:xfrm>
            <a:off x="7129559" y="932669"/>
            <a:ext cx="1359206" cy="1200329"/>
          </a:xfrm>
          <a:prstGeom prst="rect">
            <a:avLst/>
          </a:prstGeom>
          <a:noFill/>
        </p:spPr>
        <p:txBody>
          <a:bodyPr wrap="square" rtlCol="0">
            <a:spAutoFit/>
          </a:bodyPr>
          <a:lstStyle/>
          <a:p>
            <a:pPr algn="r" defTabSz="914400"/>
            <a:r>
              <a:rPr lang="it-IT" sz="3600" b="1" dirty="0">
                <a:solidFill>
                  <a:srgbClr val="DC002E"/>
                </a:solidFill>
              </a:rPr>
              <a:t>INDICE</a:t>
            </a:r>
          </a:p>
        </p:txBody>
      </p:sp>
      <p:sp>
        <p:nvSpPr>
          <p:cNvPr id="29" name="Segnaposto contenuto 2">
            <a:extLst>
              <a:ext uri="{FF2B5EF4-FFF2-40B4-BE49-F238E27FC236}">
                <a16:creationId xmlns:a16="http://schemas.microsoft.com/office/drawing/2014/main" id="{6D2B416D-7B49-44B1-B69F-DA365E602485}"/>
              </a:ext>
            </a:extLst>
          </p:cNvPr>
          <p:cNvSpPr>
            <a:spLocks noGrp="1"/>
          </p:cNvSpPr>
          <p:nvPr>
            <p:ph idx="11" hasCustomPrompt="1"/>
          </p:nvPr>
        </p:nvSpPr>
        <p:spPr>
          <a:xfrm>
            <a:off x="2004949" y="1632221"/>
            <a:ext cx="1024920" cy="288656"/>
          </a:xfrm>
          <a:prstGeom prst="rect">
            <a:avLst/>
          </a:prstGeom>
        </p:spPr>
        <p:txBody>
          <a:bodyPr vert="horz" lIns="0" tIns="45720" rIns="91440" bIns="45720" rtlCol="0" anchor="ctr" anchorCtr="0">
            <a:normAutofit/>
          </a:bodyPr>
          <a:lstStyle>
            <a:lvl1pPr algn="r">
              <a:defRPr lang="it-IT" sz="2000" b="1" baseline="0" smtClean="0">
                <a:solidFill>
                  <a:schemeClr val="tx2"/>
                </a:solidFill>
              </a:defRPr>
            </a:lvl1pPr>
            <a:lvl2pPr>
              <a:defRPr lang="it-IT" smtClean="0"/>
            </a:lvl2pPr>
            <a:lvl3pPr>
              <a:defRPr lang="it-IT" smtClean="0"/>
            </a:lvl3pPr>
            <a:lvl4pPr>
              <a:defRPr lang="it-IT" smtClean="0"/>
            </a:lvl4pPr>
            <a:lvl5pPr>
              <a:defRPr lang="it-IT"/>
            </a:lvl5pPr>
          </a:lstStyle>
          <a:p>
            <a:pPr lvl="0"/>
            <a:r>
              <a:rPr lang="it-IT" dirty="0"/>
              <a:t>00</a:t>
            </a:r>
          </a:p>
        </p:txBody>
      </p:sp>
      <p:sp>
        <p:nvSpPr>
          <p:cNvPr id="35"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8788628" y="5413257"/>
            <a:ext cx="354666" cy="192644"/>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fld id="{B9D7DBFB-DCE9-42BC-A361-A0671D12ADFC}" type="slidenum">
              <a:rPr lang="it-IT">
                <a:solidFill>
                  <a:srgbClr val="FFFFFF"/>
                </a:solidFill>
              </a:rPr>
              <a:pPr defTabSz="1219170"/>
              <a:t>‹N›</a:t>
            </a:fld>
            <a:endParaRPr lang="it-IT" dirty="0">
              <a:solidFill>
                <a:srgbClr val="FFFFFF"/>
              </a:solidFill>
            </a:endParaRPr>
          </a:p>
        </p:txBody>
      </p:sp>
    </p:spTree>
    <p:extLst>
      <p:ext uri="{BB962C8B-B14F-4D97-AF65-F5344CB8AC3E}">
        <p14:creationId xmlns:p14="http://schemas.microsoft.com/office/powerpoint/2010/main" val="24241307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Copertina">
    <p:spTree>
      <p:nvGrpSpPr>
        <p:cNvPr id="1" name=""/>
        <p:cNvGrpSpPr/>
        <p:nvPr/>
      </p:nvGrpSpPr>
      <p:grpSpPr>
        <a:xfrm>
          <a:off x="0" y="0"/>
          <a:ext cx="0" cy="0"/>
          <a:chOff x="0" y="0"/>
          <a:chExt cx="0" cy="0"/>
        </a:xfrm>
      </p:grpSpPr>
      <p:sp>
        <p:nvSpPr>
          <p:cNvPr id="19" name="Rettangolo 18">
            <a:extLst>
              <a:ext uri="{FF2B5EF4-FFF2-40B4-BE49-F238E27FC236}">
                <a16:creationId xmlns:a16="http://schemas.microsoft.com/office/drawing/2014/main" id="{CFDCDC1C-BD6A-492B-B81D-40AAD8317027}"/>
              </a:ext>
            </a:extLst>
          </p:cNvPr>
          <p:cNvSpPr/>
          <p:nvPr userDrawn="1"/>
        </p:nvSpPr>
        <p:spPr>
          <a:xfrm>
            <a:off x="8789334" y="0"/>
            <a:ext cx="354666" cy="5715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endParaRPr lang="it-IT">
              <a:solidFill>
                <a:srgbClr val="FFFFFF"/>
              </a:solidFill>
            </a:endParaRPr>
          </a:p>
        </p:txBody>
      </p:sp>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2998279" y="900862"/>
            <a:ext cx="5493338" cy="782504"/>
          </a:xfrm>
          <a:prstGeom prst="rect">
            <a:avLst/>
          </a:prstGeom>
          <a:noFill/>
          <a:effectLst/>
        </p:spPr>
        <p:txBody>
          <a:bodyPr vert="horz" wrap="square" lIns="0" tIns="45720" rIns="0" bIns="144000" rtlCol="0" anchor="b">
            <a:spAutoFit/>
          </a:bodyPr>
          <a:lstStyle>
            <a:lvl1pPr algn="r">
              <a:lnSpc>
                <a:spcPct val="80000"/>
              </a:lnSpc>
              <a:defRPr lang="it-IT" sz="4800"/>
            </a:lvl1pPr>
          </a:lstStyle>
          <a:p>
            <a:pPr lvl="0"/>
            <a:r>
              <a:rPr lang="it-IT" dirty="0"/>
              <a:t>COPERTINA </a:t>
            </a:r>
          </a:p>
        </p:txBody>
      </p:sp>
      <p:grpSp>
        <p:nvGrpSpPr>
          <p:cNvPr id="14" name="Group 4">
            <a:extLst>
              <a:ext uri="{FF2B5EF4-FFF2-40B4-BE49-F238E27FC236}">
                <a16:creationId xmlns:a16="http://schemas.microsoft.com/office/drawing/2014/main" id="{E4737D48-B2DB-4F53-BFC9-9F18751EDFC0}"/>
              </a:ext>
            </a:extLst>
          </p:cNvPr>
          <p:cNvGrpSpPr>
            <a:grpSpLocks noChangeAspect="1"/>
          </p:cNvGrpSpPr>
          <p:nvPr userDrawn="1"/>
        </p:nvGrpSpPr>
        <p:grpSpPr bwMode="auto">
          <a:xfrm>
            <a:off x="8840262" y="75356"/>
            <a:ext cx="259620" cy="195357"/>
            <a:chOff x="-560" y="-1287"/>
            <a:chExt cx="6379" cy="4320"/>
          </a:xfrm>
        </p:grpSpPr>
        <p:sp>
          <p:nvSpPr>
            <p:cNvPr id="15" name="AutoShape 3">
              <a:extLst>
                <a:ext uri="{FF2B5EF4-FFF2-40B4-BE49-F238E27FC236}">
                  <a16:creationId xmlns:a16="http://schemas.microsoft.com/office/drawing/2014/main" id="{525F0B45-3EF6-4A9D-A83E-CDB12E556535}"/>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400">
                <a:defRPr/>
              </a:pPr>
              <a:endParaRPr lang="it-IT">
                <a:solidFill>
                  <a:srgbClr val="000000"/>
                </a:solidFill>
              </a:endParaRPr>
            </a:p>
          </p:txBody>
        </p:sp>
        <p:sp>
          <p:nvSpPr>
            <p:cNvPr id="16" name="Rectangle 5">
              <a:extLst>
                <a:ext uri="{FF2B5EF4-FFF2-40B4-BE49-F238E27FC236}">
                  <a16:creationId xmlns:a16="http://schemas.microsoft.com/office/drawing/2014/main" id="{DB6A0205-9830-47FC-AFEF-1EA19F148D8C}"/>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400">
                <a:defRPr/>
              </a:pPr>
              <a:endParaRPr lang="it-IT">
                <a:solidFill>
                  <a:srgbClr val="000000"/>
                </a:solidFill>
              </a:endParaRPr>
            </a:p>
          </p:txBody>
        </p:sp>
        <p:sp>
          <p:nvSpPr>
            <p:cNvPr id="17" name="Freeform 6">
              <a:extLst>
                <a:ext uri="{FF2B5EF4-FFF2-40B4-BE49-F238E27FC236}">
                  <a16:creationId xmlns:a16="http://schemas.microsoft.com/office/drawing/2014/main" id="{A652E29C-2288-4037-A735-2C99372F7809}"/>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defRPr/>
              </a:pPr>
              <a:endParaRPr lang="it-IT">
                <a:solidFill>
                  <a:srgbClr val="000000"/>
                </a:solidFill>
              </a:endParaRPr>
            </a:p>
          </p:txBody>
        </p:sp>
        <p:sp>
          <p:nvSpPr>
            <p:cNvPr id="18" name="Freeform 7">
              <a:extLst>
                <a:ext uri="{FF2B5EF4-FFF2-40B4-BE49-F238E27FC236}">
                  <a16:creationId xmlns:a16="http://schemas.microsoft.com/office/drawing/2014/main" id="{3DEB9809-C89A-4A58-9A81-ABAF9CE315F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defRPr/>
              </a:pPr>
              <a:endParaRPr lang="it-IT">
                <a:solidFill>
                  <a:srgbClr val="000000"/>
                </a:solidFill>
              </a:endParaRPr>
            </a:p>
          </p:txBody>
        </p:sp>
        <p:sp>
          <p:nvSpPr>
            <p:cNvPr id="22" name="Freeform 8">
              <a:extLst>
                <a:ext uri="{FF2B5EF4-FFF2-40B4-BE49-F238E27FC236}">
                  <a16:creationId xmlns:a16="http://schemas.microsoft.com/office/drawing/2014/main" id="{E1355289-BE5F-41B1-954C-B78211E4669F}"/>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defRPr/>
              </a:pPr>
              <a:endParaRPr lang="it-IT">
                <a:solidFill>
                  <a:srgbClr val="000000"/>
                </a:solidFill>
              </a:endParaRPr>
            </a:p>
          </p:txBody>
        </p:sp>
        <p:sp>
          <p:nvSpPr>
            <p:cNvPr id="30" name="Freeform 9">
              <a:extLst>
                <a:ext uri="{FF2B5EF4-FFF2-40B4-BE49-F238E27FC236}">
                  <a16:creationId xmlns:a16="http://schemas.microsoft.com/office/drawing/2014/main" id="{8A815911-1EC8-4303-988F-6009E820B583}"/>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defRPr/>
              </a:pPr>
              <a:endParaRPr lang="it-IT">
                <a:solidFill>
                  <a:srgbClr val="000000"/>
                </a:solidFill>
              </a:endParaRPr>
            </a:p>
          </p:txBody>
        </p:sp>
      </p:grpSp>
      <p:sp>
        <p:nvSpPr>
          <p:cNvPr id="13" name="Segnaposto testo 3"/>
          <p:cNvSpPr>
            <a:spLocks noGrp="1"/>
          </p:cNvSpPr>
          <p:nvPr>
            <p:ph type="body" sz="quarter" idx="10" hasCustomPrompt="1"/>
          </p:nvPr>
        </p:nvSpPr>
        <p:spPr>
          <a:xfrm>
            <a:off x="4608127" y="1689608"/>
            <a:ext cx="3889117" cy="634771"/>
          </a:xfrm>
          <a:prstGeom prst="rect">
            <a:avLst/>
          </a:prstGeom>
          <a:noFill/>
          <a:effectLst/>
        </p:spPr>
        <p:txBody>
          <a:bodyPr vert="horz" wrap="square" lIns="0" tIns="45720" rIns="0" bIns="144000" rtlCol="0" anchor="t">
            <a:spAutoFit/>
          </a:bodyPr>
          <a:lstStyle>
            <a:lvl1pPr algn="r">
              <a:defRPr lang="it-IT" sz="3200" b="0" dirty="0">
                <a:solidFill>
                  <a:schemeClr val="bg1"/>
                </a:solidFill>
                <a:latin typeface="+mj-lt"/>
                <a:ea typeface="+mj-ea"/>
                <a:cs typeface="+mj-cs"/>
              </a:defRPr>
            </a:lvl1pPr>
          </a:lstStyle>
          <a:p>
            <a:pPr lvl="0" algn="r">
              <a:spcBef>
                <a:spcPct val="0"/>
              </a:spcBef>
            </a:pPr>
            <a:r>
              <a:rPr lang="it-IT" dirty="0"/>
              <a:t>Sottotitolo </a:t>
            </a:r>
          </a:p>
        </p:txBody>
      </p:sp>
      <p:sp>
        <p:nvSpPr>
          <p:cNvPr id="4" name="Segnaposto testo 3"/>
          <p:cNvSpPr>
            <a:spLocks noGrp="1"/>
          </p:cNvSpPr>
          <p:nvPr>
            <p:ph type="body" sz="quarter" idx="11" hasCustomPrompt="1"/>
          </p:nvPr>
        </p:nvSpPr>
        <p:spPr>
          <a:xfrm>
            <a:off x="305992" y="4450767"/>
            <a:ext cx="1165160" cy="268723"/>
          </a:xfrm>
          <a:prstGeom prst="rect">
            <a:avLst/>
          </a:prstGeom>
        </p:spPr>
        <p:txBody>
          <a:bodyPr lIns="0" rIns="0"/>
          <a:lstStyle>
            <a:lvl1pPr algn="l">
              <a:defRPr sz="1400" b="1" baseline="0">
                <a:solidFill>
                  <a:schemeClr val="bg1"/>
                </a:solidFill>
              </a:defRPr>
            </a:lvl1pPr>
          </a:lstStyle>
          <a:p>
            <a:pPr lvl="0"/>
            <a:r>
              <a:rPr lang="it-IT" dirty="0"/>
              <a:t>00 Mese 0000</a:t>
            </a:r>
          </a:p>
        </p:txBody>
      </p:sp>
      <p:pic>
        <p:nvPicPr>
          <p:cNvPr id="20" name="Immagine 1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05996" y="4989534"/>
            <a:ext cx="883553" cy="556133"/>
          </a:xfrm>
          <a:prstGeom prst="rect">
            <a:avLst/>
          </a:prstGeom>
        </p:spPr>
      </p:pic>
    </p:spTree>
    <p:extLst>
      <p:ext uri="{BB962C8B-B14F-4D97-AF65-F5344CB8AC3E}">
        <p14:creationId xmlns:p14="http://schemas.microsoft.com/office/powerpoint/2010/main" val="263152362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 Id="rId5" Type="http://schemas.openxmlformats.org/officeDocument/2006/relationships/image" Target="../media/image1.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slideLayout" Target="../slideLayouts/slideLayout9.xml"/><Relationship Id="rId1" Type="http://schemas.openxmlformats.org/officeDocument/2006/relationships/slideLayout" Target="../slideLayouts/slideLayout8.xml"/><Relationship Id="rId5" Type="http://schemas.openxmlformats.org/officeDocument/2006/relationships/image" Target="../media/image1.pn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18" Type="http://schemas.openxmlformats.org/officeDocument/2006/relationships/slideLayout" Target="../slideLayouts/slideLayout28.xml"/><Relationship Id="rId3" Type="http://schemas.openxmlformats.org/officeDocument/2006/relationships/slideLayout" Target="../slideLayouts/slideLayout13.xml"/><Relationship Id="rId21" Type="http://schemas.openxmlformats.org/officeDocument/2006/relationships/slideLayout" Target="../slideLayouts/slideLayout31.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 Type="http://schemas.openxmlformats.org/officeDocument/2006/relationships/slideLayout" Target="../slideLayouts/slideLayout12.xml"/><Relationship Id="rId16" Type="http://schemas.openxmlformats.org/officeDocument/2006/relationships/slideLayout" Target="../slideLayouts/slideLayout26.xml"/><Relationship Id="rId20" Type="http://schemas.openxmlformats.org/officeDocument/2006/relationships/slideLayout" Target="../slideLayouts/slideLayout30.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slideLayout" Target="../slideLayouts/slideLayout25.xml"/><Relationship Id="rId23" Type="http://schemas.openxmlformats.org/officeDocument/2006/relationships/image" Target="../media/image5.png"/><Relationship Id="rId10" Type="http://schemas.openxmlformats.org/officeDocument/2006/relationships/slideLayout" Target="../slideLayouts/slideLayout20.xml"/><Relationship Id="rId19" Type="http://schemas.openxmlformats.org/officeDocument/2006/relationships/slideLayout" Target="../slideLayouts/slideLayout29.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 Id="rId22"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image" Target="../media/image5.png"/><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10" Type="http://schemas.openxmlformats.org/officeDocument/2006/relationships/slideLayout" Target="../slideLayouts/slideLayout41.xml"/><Relationship Id="rId19" Type="http://schemas.openxmlformats.org/officeDocument/2006/relationships/theme" Target="../theme/theme5.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62.xml"/><Relationship Id="rId18" Type="http://schemas.openxmlformats.org/officeDocument/2006/relationships/tags" Target="../tags/tag1.xml"/><Relationship Id="rId26" Type="http://schemas.openxmlformats.org/officeDocument/2006/relationships/tags" Target="../tags/tag9.xml"/><Relationship Id="rId21" Type="http://schemas.openxmlformats.org/officeDocument/2006/relationships/tags" Target="../tags/tag4.xml"/><Relationship Id="rId34" Type="http://schemas.openxmlformats.org/officeDocument/2006/relationships/tags" Target="../tags/tag17.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theme" Target="../theme/theme6.xml"/><Relationship Id="rId25" Type="http://schemas.openxmlformats.org/officeDocument/2006/relationships/tags" Target="../tags/tag8.xml"/><Relationship Id="rId33" Type="http://schemas.openxmlformats.org/officeDocument/2006/relationships/tags" Target="../tags/tag1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tags" Target="../tags/tag3.xml"/><Relationship Id="rId29" Type="http://schemas.openxmlformats.org/officeDocument/2006/relationships/tags" Target="../tags/tag12.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tags" Target="../tags/tag7.xml"/><Relationship Id="rId32" Type="http://schemas.openxmlformats.org/officeDocument/2006/relationships/tags" Target="../tags/tag15.xml"/><Relationship Id="rId37" Type="http://schemas.openxmlformats.org/officeDocument/2006/relationships/image" Target="../media/image7.emf"/><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tags" Target="../tags/tag6.xml"/><Relationship Id="rId28" Type="http://schemas.openxmlformats.org/officeDocument/2006/relationships/tags" Target="../tags/tag11.xml"/><Relationship Id="rId36" Type="http://schemas.openxmlformats.org/officeDocument/2006/relationships/oleObject" Target="../embeddings/oleObject1.bin"/><Relationship Id="rId10" Type="http://schemas.openxmlformats.org/officeDocument/2006/relationships/slideLayout" Target="../slideLayouts/slideLayout59.xml"/><Relationship Id="rId19" Type="http://schemas.openxmlformats.org/officeDocument/2006/relationships/tags" Target="../tags/tag2.xml"/><Relationship Id="rId31" Type="http://schemas.openxmlformats.org/officeDocument/2006/relationships/tags" Target="../tags/tag14.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tags" Target="../tags/tag5.xml"/><Relationship Id="rId27" Type="http://schemas.openxmlformats.org/officeDocument/2006/relationships/tags" Target="../tags/tag10.xml"/><Relationship Id="rId30" Type="http://schemas.openxmlformats.org/officeDocument/2006/relationships/tags" Target="../tags/tag13.xml"/><Relationship Id="rId35" Type="http://schemas.openxmlformats.org/officeDocument/2006/relationships/tags" Target="../tags/tag18.xml"/><Relationship Id="rId8" Type="http://schemas.openxmlformats.org/officeDocument/2006/relationships/slideLayout" Target="../slideLayouts/slideLayout57.xml"/><Relationship Id="rId3"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65000"/>
          </a:schemeClr>
        </a:solidFill>
        <a:effectLst/>
      </p:bgPr>
    </p:bg>
    <p:spTree>
      <p:nvGrpSpPr>
        <p:cNvPr id="1" name=""/>
        <p:cNvGrpSpPr/>
        <p:nvPr/>
      </p:nvGrpSpPr>
      <p:grpSpPr>
        <a:xfrm>
          <a:off x="0" y="0"/>
          <a:ext cx="0" cy="0"/>
          <a:chOff x="0" y="0"/>
          <a:chExt cx="0" cy="0"/>
        </a:xfrm>
      </p:grpSpPr>
      <p:pic>
        <p:nvPicPr>
          <p:cNvPr id="24" name="Immagine 23"/>
          <p:cNvPicPr>
            <a:picLocks noChangeAspect="1"/>
          </p:cNvPicPr>
          <p:nvPr userDrawn="1"/>
        </p:nvPicPr>
        <p:blipFill rotWithShape="1">
          <a:blip r:embed="rId6" cstate="email">
            <a:extLst>
              <a:ext uri="{28A0092B-C50C-407E-A947-70E740481C1C}">
                <a14:useLocalDpi xmlns:a14="http://schemas.microsoft.com/office/drawing/2010/main"/>
              </a:ext>
            </a:extLst>
          </a:blip>
          <a:srcRect t="35334" b="22889"/>
          <a:stretch/>
        </p:blipFill>
        <p:spPr>
          <a:xfrm>
            <a:off x="-30337" y="2985144"/>
            <a:ext cx="8998099" cy="2560523"/>
          </a:xfrm>
          <a:prstGeom prst="rect">
            <a:avLst/>
          </a:prstGeom>
        </p:spPr>
      </p:pic>
      <p:sp>
        <p:nvSpPr>
          <p:cNvPr id="10" name="Rettangolo 9">
            <a:extLst>
              <a:ext uri="{FF2B5EF4-FFF2-40B4-BE49-F238E27FC236}">
                <a16:creationId xmlns:a16="http://schemas.microsoft.com/office/drawing/2014/main" id="{7466584B-8BD1-48B2-BD0C-DC7DD5380BEF}"/>
              </a:ext>
            </a:extLst>
          </p:cNvPr>
          <p:cNvSpPr/>
          <p:nvPr userDrawn="1"/>
        </p:nvSpPr>
        <p:spPr>
          <a:xfrm>
            <a:off x="8789334" y="0"/>
            <a:ext cx="354666" cy="5715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it-IT">
              <a:solidFill>
                <a:srgbClr val="FFFFFF"/>
              </a:solidFill>
            </a:endParaRPr>
          </a:p>
        </p:txBody>
      </p:sp>
      <p:grpSp>
        <p:nvGrpSpPr>
          <p:cNvPr id="11"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8840262" y="75356"/>
            <a:ext cx="259620" cy="195357"/>
            <a:chOff x="-560" y="-1287"/>
            <a:chExt cx="6379" cy="4320"/>
          </a:xfrm>
        </p:grpSpPr>
        <p:sp>
          <p:nvSpPr>
            <p:cNvPr id="12"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400"/>
              <a:endParaRPr lang="it-IT">
                <a:solidFill>
                  <a:srgbClr val="000000"/>
                </a:solidFill>
              </a:endParaRPr>
            </a:p>
          </p:txBody>
        </p:sp>
        <p:sp>
          <p:nvSpPr>
            <p:cNvPr id="13"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400"/>
              <a:endParaRPr lang="it-IT">
                <a:solidFill>
                  <a:srgbClr val="000000"/>
                </a:solidFill>
              </a:endParaRPr>
            </a:p>
          </p:txBody>
        </p:sp>
        <p:sp>
          <p:nvSpPr>
            <p:cNvPr id="14"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it-IT">
                <a:solidFill>
                  <a:srgbClr val="000000"/>
                </a:solidFill>
              </a:endParaRPr>
            </a:p>
          </p:txBody>
        </p:sp>
        <p:sp>
          <p:nvSpPr>
            <p:cNvPr id="15"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it-IT">
                <a:solidFill>
                  <a:srgbClr val="000000"/>
                </a:solidFill>
              </a:endParaRPr>
            </a:p>
          </p:txBody>
        </p:sp>
        <p:sp>
          <p:nvSpPr>
            <p:cNvPr id="16"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it-IT">
                <a:solidFill>
                  <a:srgbClr val="000000"/>
                </a:solidFill>
              </a:endParaRPr>
            </a:p>
          </p:txBody>
        </p:sp>
        <p:sp>
          <p:nvSpPr>
            <p:cNvPr id="17"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it-IT">
                <a:solidFill>
                  <a:srgbClr val="000000"/>
                </a:solidFill>
              </a:endParaRPr>
            </a:p>
          </p:txBody>
        </p:sp>
      </p:grpSp>
      <p:sp>
        <p:nvSpPr>
          <p:cNvPr id="2" name="MSIPCMContentMarking" descr="{&quot;HashCode&quot;:-764840278,&quot;Placement&quot;:&quot;Footer&quot;,&quot;Top&quot;:429.343,&quot;Left&quot;:235.551178,&quot;SlideWidth&quot;:720,&quot;SlideHeight&quot;:450}"/>
          <p:cNvSpPr txBox="1"/>
          <p:nvPr userDrawn="1"/>
        </p:nvSpPr>
        <p:spPr>
          <a:xfrm>
            <a:off x="2991500" y="5452656"/>
            <a:ext cx="3160999" cy="262344"/>
          </a:xfrm>
          <a:prstGeom prst="rect">
            <a:avLst/>
          </a:prstGeom>
          <a:noFill/>
        </p:spPr>
        <p:txBody>
          <a:bodyPr vert="horz" wrap="square" lIns="0" tIns="0" rIns="0" bIns="0" rtlCol="0" anchor="ctr" anchorCtr="1">
            <a:spAutoFit/>
          </a:bodyPr>
          <a:lstStyle/>
          <a:p>
            <a:pPr algn="ctr">
              <a:spcBef>
                <a:spcPts val="0"/>
              </a:spcBef>
              <a:spcAft>
                <a:spcPts val="0"/>
              </a:spcAft>
            </a:pPr>
            <a:r>
              <a:rPr lang="it-IT" sz="1000">
                <a:solidFill>
                  <a:srgbClr val="000000"/>
                </a:solidFill>
                <a:latin typeface="Calibri" panose="020F0502020204030204" pitchFamily="34" charset="0"/>
              </a:rPr>
              <a:t>Informazione ad uso interno - Internal use information</a:t>
            </a:r>
          </a:p>
        </p:txBody>
      </p:sp>
    </p:spTree>
    <p:extLst>
      <p:ext uri="{BB962C8B-B14F-4D97-AF65-F5344CB8AC3E}">
        <p14:creationId xmlns:p14="http://schemas.microsoft.com/office/powerpoint/2010/main" val="298026146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91" r:id="rId4"/>
  </p:sldLayoutIdLst>
  <p:hf sldNum="0" hdr="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3657">
          <p15:clr>
            <a:srgbClr val="F26B43"/>
          </p15:clr>
        </p15:guide>
        <p15:guide id="4" orient="horz" pos="4192">
          <p15:clr>
            <a:srgbClr val="F26B43"/>
          </p15:clr>
        </p15:guide>
        <p15:guide id="5" pos="7297">
          <p15:clr>
            <a:srgbClr val="F26B43"/>
          </p15:clr>
        </p15:guide>
        <p15:guide id="6" pos="257">
          <p15:clr>
            <a:srgbClr val="F26B43"/>
          </p15:clr>
        </p15:guide>
        <p15:guide id="7" orient="horz" pos="112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85000"/>
          </a:schemeClr>
        </a:solidFill>
        <a:effectLst/>
      </p:bgPr>
    </p:bg>
    <p:spTree>
      <p:nvGrpSpPr>
        <p:cNvPr id="1" name=""/>
        <p:cNvGrpSpPr/>
        <p:nvPr/>
      </p:nvGrpSpPr>
      <p:grpSpPr>
        <a:xfrm>
          <a:off x="0" y="0"/>
          <a:ext cx="0" cy="0"/>
          <a:chOff x="0" y="0"/>
          <a:chExt cx="0" cy="0"/>
        </a:xfrm>
      </p:grpSpPr>
      <p:pic>
        <p:nvPicPr>
          <p:cNvPr id="21" name="Immagine 20"/>
          <p:cNvPicPr>
            <a:picLocks noChangeAspect="1"/>
          </p:cNvPicPr>
          <p:nvPr userDrawn="1"/>
        </p:nvPicPr>
        <p:blipFill rotWithShape="1">
          <a:blip r:embed="rId5" cstate="email">
            <a:extLst>
              <a:ext uri="{28A0092B-C50C-407E-A947-70E740481C1C}">
                <a14:useLocalDpi xmlns:a14="http://schemas.microsoft.com/office/drawing/2010/main"/>
              </a:ext>
            </a:extLst>
          </a:blip>
          <a:srcRect t="35334" b="22889"/>
          <a:stretch/>
        </p:blipFill>
        <p:spPr>
          <a:xfrm>
            <a:off x="-30337" y="2985144"/>
            <a:ext cx="8998099" cy="2560523"/>
          </a:xfrm>
          <a:prstGeom prst="rect">
            <a:avLst/>
          </a:prstGeom>
        </p:spPr>
      </p:pic>
      <p:sp>
        <p:nvSpPr>
          <p:cNvPr id="18" name="Rettangolo 17"/>
          <p:cNvSpPr/>
          <p:nvPr userDrawn="1"/>
        </p:nvSpPr>
        <p:spPr>
          <a:xfrm>
            <a:off x="-30342" y="2857500"/>
            <a:ext cx="9174341" cy="2857500"/>
          </a:xfrm>
          <a:prstGeom prst="rect">
            <a:avLst/>
          </a:prstGeom>
          <a:solidFill>
            <a:schemeClr val="bg1">
              <a:lumMod val="85000"/>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a:solidFill>
                <a:srgbClr val="FFFFFF"/>
              </a:solidFill>
            </a:endParaRPr>
          </a:p>
        </p:txBody>
      </p:sp>
      <p:sp>
        <p:nvSpPr>
          <p:cNvPr id="10" name="Rettangolo 9">
            <a:extLst>
              <a:ext uri="{FF2B5EF4-FFF2-40B4-BE49-F238E27FC236}">
                <a16:creationId xmlns:a16="http://schemas.microsoft.com/office/drawing/2014/main" id="{7466584B-8BD1-48B2-BD0C-DC7DD5380BEF}"/>
              </a:ext>
            </a:extLst>
          </p:cNvPr>
          <p:cNvSpPr/>
          <p:nvPr userDrawn="1"/>
        </p:nvSpPr>
        <p:spPr>
          <a:xfrm>
            <a:off x="8789334" y="0"/>
            <a:ext cx="354666" cy="5715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it-IT">
              <a:solidFill>
                <a:srgbClr val="FFFFFF"/>
              </a:solidFill>
            </a:endParaRPr>
          </a:p>
        </p:txBody>
      </p:sp>
      <p:grpSp>
        <p:nvGrpSpPr>
          <p:cNvPr id="11"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8840262" y="75356"/>
            <a:ext cx="259620" cy="195357"/>
            <a:chOff x="-560" y="-1287"/>
            <a:chExt cx="6379" cy="4320"/>
          </a:xfrm>
        </p:grpSpPr>
        <p:sp>
          <p:nvSpPr>
            <p:cNvPr id="12"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400"/>
              <a:endParaRPr lang="it-IT">
                <a:solidFill>
                  <a:srgbClr val="000000"/>
                </a:solidFill>
              </a:endParaRPr>
            </a:p>
          </p:txBody>
        </p:sp>
        <p:sp>
          <p:nvSpPr>
            <p:cNvPr id="13"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400"/>
              <a:endParaRPr lang="it-IT">
                <a:solidFill>
                  <a:srgbClr val="000000"/>
                </a:solidFill>
              </a:endParaRPr>
            </a:p>
          </p:txBody>
        </p:sp>
        <p:sp>
          <p:nvSpPr>
            <p:cNvPr id="14"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it-IT">
                <a:solidFill>
                  <a:srgbClr val="000000"/>
                </a:solidFill>
              </a:endParaRPr>
            </a:p>
          </p:txBody>
        </p:sp>
        <p:sp>
          <p:nvSpPr>
            <p:cNvPr id="15"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it-IT">
                <a:solidFill>
                  <a:srgbClr val="000000"/>
                </a:solidFill>
              </a:endParaRPr>
            </a:p>
          </p:txBody>
        </p:sp>
        <p:sp>
          <p:nvSpPr>
            <p:cNvPr id="16"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it-IT">
                <a:solidFill>
                  <a:srgbClr val="000000"/>
                </a:solidFill>
              </a:endParaRPr>
            </a:p>
          </p:txBody>
        </p:sp>
        <p:sp>
          <p:nvSpPr>
            <p:cNvPr id="17"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it-IT">
                <a:solidFill>
                  <a:srgbClr val="000000"/>
                </a:solidFill>
              </a:endParaRPr>
            </a:p>
          </p:txBody>
        </p:sp>
      </p:grpSp>
      <p:sp>
        <p:nvSpPr>
          <p:cNvPr id="19"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8788628" y="5413261"/>
            <a:ext cx="354666" cy="192644"/>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fld id="{B9D7DBFB-DCE9-42BC-A361-A0671D12ADFC}" type="slidenum">
              <a:rPr lang="it-IT">
                <a:solidFill>
                  <a:srgbClr val="FFFFFF"/>
                </a:solidFill>
              </a:rPr>
              <a:pPr defTabSz="1219170"/>
              <a:t>‹N›</a:t>
            </a:fld>
            <a:endParaRPr lang="it-IT" dirty="0">
              <a:solidFill>
                <a:srgbClr val="FFFFFF"/>
              </a:solidFill>
            </a:endParaRPr>
          </a:p>
        </p:txBody>
      </p:sp>
      <p:sp>
        <p:nvSpPr>
          <p:cNvPr id="2" name="MSIPCMContentMarking" descr="{&quot;HashCode&quot;:-764840278,&quot;Placement&quot;:&quot;Footer&quot;,&quot;Top&quot;:429.343,&quot;Left&quot;:235.551178,&quot;SlideWidth&quot;:720,&quot;SlideHeight&quot;:450}"/>
          <p:cNvSpPr txBox="1"/>
          <p:nvPr userDrawn="1"/>
        </p:nvSpPr>
        <p:spPr>
          <a:xfrm>
            <a:off x="2991500" y="5452656"/>
            <a:ext cx="3160999" cy="262344"/>
          </a:xfrm>
          <a:prstGeom prst="rect">
            <a:avLst/>
          </a:prstGeom>
          <a:noFill/>
        </p:spPr>
        <p:txBody>
          <a:bodyPr vert="horz" wrap="square" lIns="0" tIns="0" rIns="0" bIns="0" rtlCol="0" anchor="ctr" anchorCtr="1">
            <a:spAutoFit/>
          </a:bodyPr>
          <a:lstStyle/>
          <a:p>
            <a:pPr algn="ctr">
              <a:spcBef>
                <a:spcPts val="0"/>
              </a:spcBef>
              <a:spcAft>
                <a:spcPts val="0"/>
              </a:spcAft>
            </a:pPr>
            <a:r>
              <a:rPr lang="it-IT" sz="1000">
                <a:solidFill>
                  <a:srgbClr val="000000"/>
                </a:solidFill>
                <a:latin typeface="Calibri" panose="020F0502020204030204" pitchFamily="34" charset="0"/>
              </a:rPr>
              <a:t>Informazione ad uso interno - Internal use information</a:t>
            </a:r>
          </a:p>
        </p:txBody>
      </p:sp>
    </p:spTree>
    <p:extLst>
      <p:ext uri="{BB962C8B-B14F-4D97-AF65-F5344CB8AC3E}">
        <p14:creationId xmlns:p14="http://schemas.microsoft.com/office/powerpoint/2010/main" val="3542855832"/>
      </p:ext>
    </p:extLst>
  </p:cSld>
  <p:clrMap bg1="lt1" tx1="dk1" bg2="lt2" tx2="dk2" accent1="accent1" accent2="accent2" accent3="accent3" accent4="accent4" accent5="accent5" accent6="accent6" hlink="hlink" folHlink="folHlink"/>
  <p:sldLayoutIdLst>
    <p:sldLayoutId id="2147483665" r:id="rId1"/>
    <p:sldLayoutId id="2147483692" r:id="rId2"/>
    <p:sldLayoutId id="2147483693" r:id="rId3"/>
  </p:sldLayoutIdLst>
  <p:hf sldNum="0" hdr="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3657">
          <p15:clr>
            <a:srgbClr val="F26B43"/>
          </p15:clr>
        </p15:guide>
        <p15:guide id="4" orient="horz" pos="4192">
          <p15:clr>
            <a:srgbClr val="F26B43"/>
          </p15:clr>
        </p15:guide>
        <p15:guide id="5" pos="7297">
          <p15:clr>
            <a:srgbClr val="F26B43"/>
          </p15:clr>
        </p15:guide>
        <p15:guide id="6" pos="257">
          <p15:clr>
            <a:srgbClr val="F26B43"/>
          </p15:clr>
        </p15:guide>
        <p15:guide id="7" orient="horz" pos="112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85000"/>
          </a:schemeClr>
        </a:solidFill>
        <a:effectLst/>
      </p:bgPr>
    </p:bg>
    <p:spTree>
      <p:nvGrpSpPr>
        <p:cNvPr id="1" name=""/>
        <p:cNvGrpSpPr/>
        <p:nvPr/>
      </p:nvGrpSpPr>
      <p:grpSpPr>
        <a:xfrm>
          <a:off x="0" y="0"/>
          <a:ext cx="0" cy="0"/>
          <a:chOff x="0" y="0"/>
          <a:chExt cx="0" cy="0"/>
        </a:xfrm>
      </p:grpSpPr>
      <p:pic>
        <p:nvPicPr>
          <p:cNvPr id="21" name="Immagine 20"/>
          <p:cNvPicPr>
            <a:picLocks noChangeAspect="1"/>
          </p:cNvPicPr>
          <p:nvPr userDrawn="1"/>
        </p:nvPicPr>
        <p:blipFill rotWithShape="1">
          <a:blip r:embed="rId5" cstate="email">
            <a:extLst>
              <a:ext uri="{28A0092B-C50C-407E-A947-70E740481C1C}">
                <a14:useLocalDpi xmlns:a14="http://schemas.microsoft.com/office/drawing/2010/main"/>
              </a:ext>
            </a:extLst>
          </a:blip>
          <a:srcRect t="35334" b="22889"/>
          <a:stretch/>
        </p:blipFill>
        <p:spPr>
          <a:xfrm>
            <a:off x="-30342" y="2985144"/>
            <a:ext cx="8998099" cy="2560523"/>
          </a:xfrm>
          <a:prstGeom prst="rect">
            <a:avLst/>
          </a:prstGeom>
        </p:spPr>
      </p:pic>
      <p:sp>
        <p:nvSpPr>
          <p:cNvPr id="18" name="Rettangolo 17"/>
          <p:cNvSpPr/>
          <p:nvPr userDrawn="1"/>
        </p:nvSpPr>
        <p:spPr>
          <a:xfrm>
            <a:off x="-30342" y="2857500"/>
            <a:ext cx="9174341" cy="2857500"/>
          </a:xfrm>
          <a:prstGeom prst="rect">
            <a:avLst/>
          </a:prstGeom>
          <a:solidFill>
            <a:schemeClr val="bg1">
              <a:lumMod val="85000"/>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a:solidFill>
                <a:srgbClr val="FFFFFF"/>
              </a:solidFill>
            </a:endParaRPr>
          </a:p>
        </p:txBody>
      </p:sp>
      <p:sp>
        <p:nvSpPr>
          <p:cNvPr id="10" name="Rettangolo 9">
            <a:extLst>
              <a:ext uri="{FF2B5EF4-FFF2-40B4-BE49-F238E27FC236}">
                <a16:creationId xmlns:a16="http://schemas.microsoft.com/office/drawing/2014/main" id="{7466584B-8BD1-48B2-BD0C-DC7DD5380BEF}"/>
              </a:ext>
            </a:extLst>
          </p:cNvPr>
          <p:cNvSpPr/>
          <p:nvPr userDrawn="1"/>
        </p:nvSpPr>
        <p:spPr>
          <a:xfrm>
            <a:off x="8789334" y="0"/>
            <a:ext cx="354666" cy="5715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it-IT">
              <a:solidFill>
                <a:srgbClr val="FFFFFF"/>
              </a:solidFill>
            </a:endParaRPr>
          </a:p>
        </p:txBody>
      </p:sp>
      <p:grpSp>
        <p:nvGrpSpPr>
          <p:cNvPr id="11"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8840262" y="75356"/>
            <a:ext cx="259620" cy="195357"/>
            <a:chOff x="-560" y="-1287"/>
            <a:chExt cx="6379" cy="4320"/>
          </a:xfrm>
        </p:grpSpPr>
        <p:sp>
          <p:nvSpPr>
            <p:cNvPr id="12"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400"/>
              <a:endParaRPr lang="it-IT">
                <a:solidFill>
                  <a:srgbClr val="000000"/>
                </a:solidFill>
              </a:endParaRPr>
            </a:p>
          </p:txBody>
        </p:sp>
        <p:sp>
          <p:nvSpPr>
            <p:cNvPr id="13"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400"/>
              <a:endParaRPr lang="it-IT">
                <a:solidFill>
                  <a:srgbClr val="000000"/>
                </a:solidFill>
              </a:endParaRPr>
            </a:p>
          </p:txBody>
        </p:sp>
        <p:sp>
          <p:nvSpPr>
            <p:cNvPr id="14"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it-IT">
                <a:solidFill>
                  <a:srgbClr val="000000"/>
                </a:solidFill>
              </a:endParaRPr>
            </a:p>
          </p:txBody>
        </p:sp>
        <p:sp>
          <p:nvSpPr>
            <p:cNvPr id="15"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it-IT">
                <a:solidFill>
                  <a:srgbClr val="000000"/>
                </a:solidFill>
              </a:endParaRPr>
            </a:p>
          </p:txBody>
        </p:sp>
        <p:sp>
          <p:nvSpPr>
            <p:cNvPr id="16"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it-IT">
                <a:solidFill>
                  <a:srgbClr val="000000"/>
                </a:solidFill>
              </a:endParaRPr>
            </a:p>
          </p:txBody>
        </p:sp>
        <p:sp>
          <p:nvSpPr>
            <p:cNvPr id="17"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it-IT">
                <a:solidFill>
                  <a:srgbClr val="000000"/>
                </a:solidFill>
              </a:endParaRPr>
            </a:p>
          </p:txBody>
        </p:sp>
      </p:grpSp>
      <p:sp>
        <p:nvSpPr>
          <p:cNvPr id="19"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8788628" y="5413257"/>
            <a:ext cx="354666" cy="192644"/>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fld id="{B9D7DBFB-DCE9-42BC-A361-A0671D12ADFC}" type="slidenum">
              <a:rPr lang="it-IT">
                <a:solidFill>
                  <a:srgbClr val="FFFFFF"/>
                </a:solidFill>
              </a:rPr>
              <a:pPr defTabSz="1219170"/>
              <a:t>‹N›</a:t>
            </a:fld>
            <a:endParaRPr lang="it-IT" dirty="0">
              <a:solidFill>
                <a:srgbClr val="FFFFFF"/>
              </a:solidFill>
            </a:endParaRPr>
          </a:p>
        </p:txBody>
      </p:sp>
      <p:sp>
        <p:nvSpPr>
          <p:cNvPr id="2" name="MSIPCMContentMarking" descr="{&quot;HashCode&quot;:-764840278,&quot;Placement&quot;:&quot;Footer&quot;,&quot;Top&quot;:429.343,&quot;Left&quot;:235.551178,&quot;SlideWidth&quot;:720,&quot;SlideHeight&quot;:450}"/>
          <p:cNvSpPr txBox="1"/>
          <p:nvPr userDrawn="1"/>
        </p:nvSpPr>
        <p:spPr>
          <a:xfrm>
            <a:off x="2991500" y="5452656"/>
            <a:ext cx="3160999" cy="262344"/>
          </a:xfrm>
          <a:prstGeom prst="rect">
            <a:avLst/>
          </a:prstGeom>
          <a:noFill/>
        </p:spPr>
        <p:txBody>
          <a:bodyPr vert="horz" wrap="square" lIns="0" tIns="0" rIns="0" bIns="0" rtlCol="0" anchor="ctr" anchorCtr="1">
            <a:spAutoFit/>
          </a:bodyPr>
          <a:lstStyle/>
          <a:p>
            <a:pPr algn="ctr">
              <a:spcBef>
                <a:spcPts val="0"/>
              </a:spcBef>
              <a:spcAft>
                <a:spcPts val="0"/>
              </a:spcAft>
            </a:pPr>
            <a:r>
              <a:rPr lang="it-IT" sz="1000">
                <a:solidFill>
                  <a:srgbClr val="000000"/>
                </a:solidFill>
                <a:latin typeface="Calibri" panose="020F0502020204030204" pitchFamily="34" charset="0"/>
              </a:rPr>
              <a:t>Informazione ad uso interno - Internal use information</a:t>
            </a:r>
          </a:p>
        </p:txBody>
      </p:sp>
    </p:spTree>
    <p:extLst>
      <p:ext uri="{BB962C8B-B14F-4D97-AF65-F5344CB8AC3E}">
        <p14:creationId xmlns:p14="http://schemas.microsoft.com/office/powerpoint/2010/main" val="1980670457"/>
      </p:ext>
    </p:extLst>
  </p:cSld>
  <p:clrMap bg1="lt1" tx1="dk1" bg2="lt2" tx2="dk2" accent1="accent1" accent2="accent2" accent3="accent3" accent4="accent4" accent5="accent5" accent6="accent6" hlink="hlink" folHlink="folHlink"/>
  <p:sldLayoutIdLst>
    <p:sldLayoutId id="2147483667" r:id="rId1"/>
    <p:sldLayoutId id="2147483694" r:id="rId2"/>
    <p:sldLayoutId id="2147483695" r:id="rId3"/>
  </p:sldLayoutIdLst>
  <p:hf sldNum="0" hdr="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3657">
          <p15:clr>
            <a:srgbClr val="F26B43"/>
          </p15:clr>
        </p15:guide>
        <p15:guide id="4" orient="horz" pos="4192">
          <p15:clr>
            <a:srgbClr val="F26B43"/>
          </p15:clr>
        </p15:guide>
        <p15:guide id="5" pos="7297">
          <p15:clr>
            <a:srgbClr val="F26B43"/>
          </p15:clr>
        </p15:guide>
        <p15:guide id="6" pos="257">
          <p15:clr>
            <a:srgbClr val="F26B43"/>
          </p15:clr>
        </p15:guide>
        <p15:guide id="7" orient="horz" pos="112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ttangolo 9">
            <a:extLst>
              <a:ext uri="{FF2B5EF4-FFF2-40B4-BE49-F238E27FC236}">
                <a16:creationId xmlns:a16="http://schemas.microsoft.com/office/drawing/2014/main" id="{7466584B-8BD1-48B2-BD0C-DC7DD5380BEF}"/>
              </a:ext>
            </a:extLst>
          </p:cNvPr>
          <p:cNvSpPr/>
          <p:nvPr userDrawn="1"/>
        </p:nvSpPr>
        <p:spPr>
          <a:xfrm>
            <a:off x="8789334" y="0"/>
            <a:ext cx="354666" cy="5715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it-IT">
              <a:solidFill>
                <a:srgbClr val="FFFFFF"/>
              </a:solidFill>
            </a:endParaRPr>
          </a:p>
        </p:txBody>
      </p:sp>
      <p:grpSp>
        <p:nvGrpSpPr>
          <p:cNvPr id="11"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8840262" y="75356"/>
            <a:ext cx="259620" cy="195357"/>
            <a:chOff x="-560" y="-1287"/>
            <a:chExt cx="6379" cy="4320"/>
          </a:xfrm>
        </p:grpSpPr>
        <p:sp>
          <p:nvSpPr>
            <p:cNvPr id="12"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400"/>
              <a:endParaRPr lang="it-IT">
                <a:solidFill>
                  <a:srgbClr val="000000"/>
                </a:solidFill>
              </a:endParaRPr>
            </a:p>
          </p:txBody>
        </p:sp>
        <p:sp>
          <p:nvSpPr>
            <p:cNvPr id="13"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400"/>
              <a:endParaRPr lang="it-IT">
                <a:solidFill>
                  <a:srgbClr val="000000"/>
                </a:solidFill>
              </a:endParaRPr>
            </a:p>
          </p:txBody>
        </p:sp>
        <p:sp>
          <p:nvSpPr>
            <p:cNvPr id="14"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it-IT">
                <a:solidFill>
                  <a:srgbClr val="000000"/>
                </a:solidFill>
              </a:endParaRPr>
            </a:p>
          </p:txBody>
        </p:sp>
        <p:sp>
          <p:nvSpPr>
            <p:cNvPr id="15"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it-IT">
                <a:solidFill>
                  <a:srgbClr val="000000"/>
                </a:solidFill>
              </a:endParaRPr>
            </a:p>
          </p:txBody>
        </p:sp>
        <p:sp>
          <p:nvSpPr>
            <p:cNvPr id="16"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it-IT">
                <a:solidFill>
                  <a:srgbClr val="000000"/>
                </a:solidFill>
              </a:endParaRPr>
            </a:p>
          </p:txBody>
        </p:sp>
        <p:sp>
          <p:nvSpPr>
            <p:cNvPr id="17"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it-IT">
                <a:solidFill>
                  <a:srgbClr val="000000"/>
                </a:solidFill>
              </a:endParaRPr>
            </a:p>
          </p:txBody>
        </p:sp>
      </p:grpSp>
      <p:sp>
        <p:nvSpPr>
          <p:cNvPr id="36"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8788628" y="5413257"/>
            <a:ext cx="354666" cy="192644"/>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fld id="{B9D7DBFB-DCE9-42BC-A361-A0671D12ADFC}" type="slidenum">
              <a:rPr lang="it-IT">
                <a:solidFill>
                  <a:srgbClr val="FFFFFF"/>
                </a:solidFill>
              </a:rPr>
              <a:pPr defTabSz="1219170"/>
              <a:t>‹N›</a:t>
            </a:fld>
            <a:endParaRPr lang="it-IT" dirty="0">
              <a:solidFill>
                <a:srgbClr val="FFFFFF"/>
              </a:solidFill>
            </a:endParaRPr>
          </a:p>
        </p:txBody>
      </p:sp>
      <p:sp>
        <p:nvSpPr>
          <p:cNvPr id="42" name="Rectangle 2"/>
          <p:cNvSpPr>
            <a:spLocks noGrp="1" noChangeArrowheads="1"/>
          </p:cNvSpPr>
          <p:nvPr>
            <p:ph type="title"/>
          </p:nvPr>
        </p:nvSpPr>
        <p:spPr bwMode="auto">
          <a:xfrm>
            <a:off x="305100" y="0"/>
            <a:ext cx="8383500" cy="72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6800" rIns="90000" bIns="46800" numCol="1" anchor="b" anchorCtr="0" compatLnSpc="1">
            <a:prstTxWarp prst="textNoShape">
              <a:avLst/>
            </a:prstTxWarp>
          </a:bodyPr>
          <a:lstStyle/>
          <a:p>
            <a:pPr lvl="0"/>
            <a:r>
              <a:rPr lang="it-IT" dirty="0"/>
              <a:t>Titolo Calibri 28pt </a:t>
            </a:r>
          </a:p>
        </p:txBody>
      </p:sp>
      <p:sp>
        <p:nvSpPr>
          <p:cNvPr id="43" name="Rectangle 3"/>
          <p:cNvSpPr>
            <a:spLocks noGrp="1" noChangeArrowheads="1"/>
          </p:cNvSpPr>
          <p:nvPr>
            <p:ph type="body" idx="1"/>
          </p:nvPr>
        </p:nvSpPr>
        <p:spPr bwMode="auto">
          <a:xfrm>
            <a:off x="305333" y="1058708"/>
            <a:ext cx="8373665" cy="3501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it-IT" dirty="0"/>
              <a:t>Testo Calibri 20pt</a:t>
            </a:r>
          </a:p>
          <a:p>
            <a:pPr lvl="1"/>
            <a:r>
              <a:rPr lang="it-IT" dirty="0"/>
              <a:t>Secondo livello 18pt</a:t>
            </a:r>
          </a:p>
          <a:p>
            <a:pPr lvl="2"/>
            <a:r>
              <a:rPr lang="it-IT" dirty="0"/>
              <a:t>Terzo livello 16pt</a:t>
            </a:r>
          </a:p>
          <a:p>
            <a:pPr lvl="3"/>
            <a:r>
              <a:rPr lang="it-IT" dirty="0"/>
              <a:t>Quarto livello 14pt</a:t>
            </a:r>
          </a:p>
          <a:p>
            <a:pPr lvl="4"/>
            <a:r>
              <a:rPr lang="it-IT" dirty="0"/>
              <a:t>Quinto livello 12pt</a:t>
            </a:r>
          </a:p>
        </p:txBody>
      </p:sp>
      <p:sp>
        <p:nvSpPr>
          <p:cNvPr id="20"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8197475" y="5335410"/>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r>
              <a:rPr>
                <a:solidFill>
                  <a:srgbClr val="DC002E"/>
                </a:solidFill>
              </a:rPr>
              <a:t>23/04/2019</a:t>
            </a:r>
            <a:endParaRPr lang="en-GB" dirty="0">
              <a:solidFill>
                <a:srgbClr val="DC002E"/>
              </a:solidFill>
            </a:endParaRPr>
          </a:p>
        </p:txBody>
      </p:sp>
      <p:sp>
        <p:nvSpPr>
          <p:cNvPr id="21"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2339070" y="5459999"/>
            <a:ext cx="6349277"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a:solidFill>
                  <a:srgbClr val="717073"/>
                </a:solidFill>
              </a:rPr>
              <a:t>Coordinamento Territoriale Sicilia</a:t>
            </a:r>
            <a:endParaRPr lang="en-GB" dirty="0">
              <a:solidFill>
                <a:srgbClr val="717073"/>
              </a:solidFill>
            </a:endParaRPr>
          </a:p>
        </p:txBody>
      </p:sp>
      <p:pic>
        <p:nvPicPr>
          <p:cNvPr id="3" name="Immagine 2"/>
          <p:cNvPicPr>
            <a:picLocks noChangeAspect="1"/>
          </p:cNvPicPr>
          <p:nvPr userDrawn="1"/>
        </p:nvPicPr>
        <p:blipFill>
          <a:blip r:embed="rId23" cstate="print">
            <a:extLst>
              <a:ext uri="{28A0092B-C50C-407E-A947-70E740481C1C}">
                <a14:useLocalDpi xmlns:a14="http://schemas.microsoft.com/office/drawing/2010/main"/>
              </a:ext>
            </a:extLst>
          </a:blip>
          <a:stretch>
            <a:fillRect/>
          </a:stretch>
        </p:blipFill>
        <p:spPr>
          <a:xfrm>
            <a:off x="305993" y="5097930"/>
            <a:ext cx="711341" cy="447738"/>
          </a:xfrm>
          <a:prstGeom prst="rect">
            <a:avLst/>
          </a:prstGeom>
        </p:spPr>
      </p:pic>
      <p:sp>
        <p:nvSpPr>
          <p:cNvPr id="2" name="MSIPCMContentMarking" descr="{&quot;HashCode&quot;:-764840278,&quot;Placement&quot;:&quot;Footer&quot;,&quot;Top&quot;:429.343,&quot;Left&quot;:235.551178,&quot;SlideWidth&quot;:720,&quot;SlideHeight&quot;:450}"/>
          <p:cNvSpPr txBox="1"/>
          <p:nvPr userDrawn="1"/>
        </p:nvSpPr>
        <p:spPr>
          <a:xfrm>
            <a:off x="2991500" y="5452656"/>
            <a:ext cx="3160999" cy="262344"/>
          </a:xfrm>
          <a:prstGeom prst="rect">
            <a:avLst/>
          </a:prstGeom>
          <a:noFill/>
        </p:spPr>
        <p:txBody>
          <a:bodyPr vert="horz" wrap="square" lIns="0" tIns="0" rIns="0" bIns="0" rtlCol="0" anchor="ctr" anchorCtr="1">
            <a:spAutoFit/>
          </a:bodyPr>
          <a:lstStyle/>
          <a:p>
            <a:pPr algn="ctr">
              <a:spcBef>
                <a:spcPts val="0"/>
              </a:spcBef>
              <a:spcAft>
                <a:spcPts val="0"/>
              </a:spcAft>
            </a:pPr>
            <a:r>
              <a:rPr lang="it-IT" sz="1000">
                <a:solidFill>
                  <a:srgbClr val="000000"/>
                </a:solidFill>
                <a:latin typeface="Calibri" panose="020F0502020204030204" pitchFamily="34" charset="0"/>
              </a:rPr>
              <a:t>Informazione ad uso interno - Internal use information</a:t>
            </a:r>
          </a:p>
        </p:txBody>
      </p:sp>
    </p:spTree>
    <p:extLst>
      <p:ext uri="{BB962C8B-B14F-4D97-AF65-F5344CB8AC3E}">
        <p14:creationId xmlns:p14="http://schemas.microsoft.com/office/powerpoint/2010/main" val="174739101"/>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 id="2147483680" r:id="rId12"/>
    <p:sldLayoutId id="2147483681" r:id="rId13"/>
    <p:sldLayoutId id="2147483682" r:id="rId14"/>
    <p:sldLayoutId id="2147483683" r:id="rId15"/>
    <p:sldLayoutId id="2147483684" r:id="rId16"/>
    <p:sldLayoutId id="2147483685" r:id="rId17"/>
    <p:sldLayoutId id="2147483686" r:id="rId18"/>
    <p:sldLayoutId id="2147483696" r:id="rId19"/>
    <p:sldLayoutId id="2147483697" r:id="rId20"/>
    <p:sldLayoutId id="2147483739" r:id="rId21"/>
  </p:sldLayoutIdLst>
  <p:hf sldNum="0" hdr="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tabLst>
          <a:tab pos="806450" algn="l"/>
        </a:tabLst>
        <a:defRPr sz="1800" kern="1200">
          <a:solidFill>
            <a:schemeClr val="tx1"/>
          </a:solidFill>
          <a:latin typeface="+mn-lt"/>
          <a:ea typeface="+mn-ea"/>
          <a:cs typeface="+mn-cs"/>
        </a:defRPr>
      </a:lvl2pPr>
      <a:lvl3pPr marL="914400" indent="0" algn="l" defTabSz="714375"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3657">
          <p15:clr>
            <a:srgbClr val="F26B43"/>
          </p15:clr>
        </p15:guide>
        <p15:guide id="4" orient="horz" pos="4192">
          <p15:clr>
            <a:srgbClr val="F26B43"/>
          </p15:clr>
        </p15:guide>
        <p15:guide id="5" pos="7297">
          <p15:clr>
            <a:srgbClr val="F26B43"/>
          </p15:clr>
        </p15:guide>
        <p15:guide id="6" pos="257">
          <p15:clr>
            <a:srgbClr val="F26B43"/>
          </p15:clr>
        </p15:guide>
        <p15:guide id="7" orient="horz" pos="112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ttangolo 9">
            <a:extLst>
              <a:ext uri="{FF2B5EF4-FFF2-40B4-BE49-F238E27FC236}">
                <a16:creationId xmlns:a16="http://schemas.microsoft.com/office/drawing/2014/main" id="{7466584B-8BD1-48B2-BD0C-DC7DD5380BEF}"/>
              </a:ext>
            </a:extLst>
          </p:cNvPr>
          <p:cNvSpPr/>
          <p:nvPr userDrawn="1"/>
        </p:nvSpPr>
        <p:spPr>
          <a:xfrm>
            <a:off x="8789334" y="0"/>
            <a:ext cx="354666" cy="5715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it-IT" sz="1350">
              <a:solidFill>
                <a:srgbClr val="FFFFFF"/>
              </a:solidFill>
            </a:endParaRPr>
          </a:p>
        </p:txBody>
      </p:sp>
      <p:grpSp>
        <p:nvGrpSpPr>
          <p:cNvPr id="11"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8840262" y="75356"/>
            <a:ext cx="259620" cy="195357"/>
            <a:chOff x="-560" y="-1287"/>
            <a:chExt cx="6379" cy="4320"/>
          </a:xfrm>
        </p:grpSpPr>
        <p:sp>
          <p:nvSpPr>
            <p:cNvPr id="12"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685800"/>
              <a:endParaRPr lang="it-IT" sz="1350">
                <a:solidFill>
                  <a:srgbClr val="000000"/>
                </a:solidFill>
              </a:endParaRPr>
            </a:p>
          </p:txBody>
        </p:sp>
        <p:sp>
          <p:nvSpPr>
            <p:cNvPr id="13"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685800"/>
              <a:endParaRPr lang="it-IT" sz="1350">
                <a:solidFill>
                  <a:srgbClr val="000000"/>
                </a:solidFill>
              </a:endParaRPr>
            </a:p>
          </p:txBody>
        </p:sp>
        <p:sp>
          <p:nvSpPr>
            <p:cNvPr id="14"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685800"/>
              <a:endParaRPr lang="it-IT" sz="1350">
                <a:solidFill>
                  <a:srgbClr val="000000"/>
                </a:solidFill>
              </a:endParaRPr>
            </a:p>
          </p:txBody>
        </p:sp>
        <p:sp>
          <p:nvSpPr>
            <p:cNvPr id="15"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685800"/>
              <a:endParaRPr lang="it-IT" sz="1350">
                <a:solidFill>
                  <a:srgbClr val="000000"/>
                </a:solidFill>
              </a:endParaRPr>
            </a:p>
          </p:txBody>
        </p:sp>
        <p:sp>
          <p:nvSpPr>
            <p:cNvPr id="16"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685800"/>
              <a:endParaRPr lang="it-IT" sz="1350">
                <a:solidFill>
                  <a:srgbClr val="000000"/>
                </a:solidFill>
              </a:endParaRPr>
            </a:p>
          </p:txBody>
        </p:sp>
        <p:sp>
          <p:nvSpPr>
            <p:cNvPr id="17"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685800"/>
              <a:endParaRPr lang="it-IT" sz="1350">
                <a:solidFill>
                  <a:srgbClr val="000000"/>
                </a:solidFill>
              </a:endParaRPr>
            </a:p>
          </p:txBody>
        </p:sp>
      </p:grpSp>
      <p:sp>
        <p:nvSpPr>
          <p:cNvPr id="36"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8788628" y="5413256"/>
            <a:ext cx="354666" cy="192644"/>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8"/>
            <a:fld id="{B9D7DBFB-DCE9-42BC-A361-A0671D12ADFC}" type="slidenum">
              <a:rPr lang="it-IT" sz="750">
                <a:solidFill>
                  <a:srgbClr val="FFFFFF"/>
                </a:solidFill>
              </a:rPr>
              <a:pPr defTabSz="914378"/>
              <a:t>‹N›</a:t>
            </a:fld>
            <a:endParaRPr lang="it-IT" sz="750" dirty="0">
              <a:solidFill>
                <a:srgbClr val="FFFFFF"/>
              </a:solidFill>
            </a:endParaRPr>
          </a:p>
        </p:txBody>
      </p:sp>
      <p:sp>
        <p:nvSpPr>
          <p:cNvPr id="42" name="Rectangle 2"/>
          <p:cNvSpPr>
            <a:spLocks noGrp="1" noChangeArrowheads="1"/>
          </p:cNvSpPr>
          <p:nvPr>
            <p:ph type="title"/>
          </p:nvPr>
        </p:nvSpPr>
        <p:spPr bwMode="auto">
          <a:xfrm>
            <a:off x="305100" y="0"/>
            <a:ext cx="8383500" cy="72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6800" rIns="90000" bIns="46800" numCol="1" anchor="b" anchorCtr="0" compatLnSpc="1">
            <a:prstTxWarp prst="textNoShape">
              <a:avLst/>
            </a:prstTxWarp>
          </a:bodyPr>
          <a:lstStyle/>
          <a:p>
            <a:pPr lvl="0"/>
            <a:r>
              <a:rPr lang="it-IT" dirty="0"/>
              <a:t>Titolo Calibri 28pt </a:t>
            </a:r>
          </a:p>
        </p:txBody>
      </p:sp>
      <p:sp>
        <p:nvSpPr>
          <p:cNvPr id="43" name="Rectangle 3"/>
          <p:cNvSpPr>
            <a:spLocks noGrp="1" noChangeArrowheads="1"/>
          </p:cNvSpPr>
          <p:nvPr>
            <p:ph type="body" idx="1"/>
          </p:nvPr>
        </p:nvSpPr>
        <p:spPr bwMode="auto">
          <a:xfrm>
            <a:off x="305333" y="1058709"/>
            <a:ext cx="8373665" cy="3501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it-IT" dirty="0"/>
              <a:t>Testo Calibri 20pt</a:t>
            </a:r>
          </a:p>
          <a:p>
            <a:pPr lvl="1"/>
            <a:r>
              <a:rPr lang="it-IT" dirty="0"/>
              <a:t>Secondo livello 18pt</a:t>
            </a:r>
          </a:p>
          <a:p>
            <a:pPr lvl="2"/>
            <a:r>
              <a:rPr lang="it-IT" dirty="0"/>
              <a:t>Terzo livello 16pt</a:t>
            </a:r>
          </a:p>
          <a:p>
            <a:pPr lvl="3"/>
            <a:r>
              <a:rPr lang="it-IT" dirty="0"/>
              <a:t>Quarto livello 14pt</a:t>
            </a:r>
          </a:p>
          <a:p>
            <a:pPr lvl="4"/>
            <a:r>
              <a:rPr lang="it-IT" dirty="0"/>
              <a:t>Quinto livello 12pt</a:t>
            </a:r>
          </a:p>
        </p:txBody>
      </p:sp>
      <p:sp>
        <p:nvSpPr>
          <p:cNvPr id="20"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8184647" y="5350798"/>
            <a:ext cx="503344" cy="92333"/>
          </a:xfrm>
          <a:prstGeom prst="rect">
            <a:avLst/>
          </a:prstGeom>
          <a:solidFill>
            <a:schemeClr val="bg1"/>
          </a:solidFill>
          <a:effectLst/>
        </p:spPr>
        <p:txBody>
          <a:bodyPr wrap="none" lIns="0" tIns="0" rIns="0" bIns="0" rtlCol="0" anchor="ctr">
            <a:spAutoFit/>
          </a:bodyPr>
          <a:lstStyle>
            <a:lvl1pPr algn="r">
              <a:defRPr lang="it-IT" sz="600" smtClean="0">
                <a:solidFill>
                  <a:schemeClr val="tx2"/>
                </a:solidFill>
                <a:effectLst/>
              </a:defRPr>
            </a:lvl1pPr>
          </a:lstStyle>
          <a:p>
            <a:pPr defTabSz="914378"/>
            <a:r>
              <a:rPr lang="it-IT">
                <a:solidFill>
                  <a:srgbClr val="DC002E"/>
                </a:solidFill>
              </a:rPr>
              <a:t>27 ottobre 2020</a:t>
            </a:r>
            <a:endParaRPr lang="it-IT" dirty="0">
              <a:solidFill>
                <a:srgbClr val="DC002E"/>
              </a:solidFill>
            </a:endParaRPr>
          </a:p>
        </p:txBody>
      </p:sp>
      <p:sp>
        <p:nvSpPr>
          <p:cNvPr id="21"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2339068" y="5459996"/>
            <a:ext cx="6349277" cy="92333"/>
          </a:xfrm>
          <a:prstGeom prst="rect">
            <a:avLst/>
          </a:prstGeom>
          <a:noFill/>
        </p:spPr>
        <p:txBody>
          <a:bodyPr wrap="square" lIns="0" tIns="0" rIns="0" bIns="0" rtlCol="0">
            <a:spAutoFit/>
          </a:bodyPr>
          <a:lstStyle>
            <a:lvl1pPr>
              <a:defRPr lang="it-IT" sz="600" i="0">
                <a:solidFill>
                  <a:schemeClr val="bg2"/>
                </a:solidFill>
              </a:defRPr>
            </a:lvl1pPr>
          </a:lstStyle>
          <a:p>
            <a:pPr algn="r" defTabSz="914378"/>
            <a:endParaRPr lang="en-GB" dirty="0">
              <a:solidFill>
                <a:srgbClr val="717073"/>
              </a:solidFill>
            </a:endParaRPr>
          </a:p>
        </p:txBody>
      </p:sp>
      <p:pic>
        <p:nvPicPr>
          <p:cNvPr id="3" name="Immagine 2"/>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305991" y="5097929"/>
            <a:ext cx="711341" cy="447738"/>
          </a:xfrm>
          <a:prstGeom prst="rect">
            <a:avLst/>
          </a:prstGeom>
        </p:spPr>
      </p:pic>
      <p:sp>
        <p:nvSpPr>
          <p:cNvPr id="2" name="MSIPCMContentMarking" descr="{&quot;HashCode&quot;:-764840278,&quot;Placement&quot;:&quot;Footer&quot;,&quot;Top&quot;:429.343,&quot;Left&quot;:235.551178,&quot;SlideWidth&quot;:720,&quot;SlideHeight&quot;:450}"/>
          <p:cNvSpPr txBox="1"/>
          <p:nvPr userDrawn="1"/>
        </p:nvSpPr>
        <p:spPr>
          <a:xfrm>
            <a:off x="2991500" y="5452656"/>
            <a:ext cx="3160999" cy="262344"/>
          </a:xfrm>
          <a:prstGeom prst="rect">
            <a:avLst/>
          </a:prstGeom>
          <a:noFill/>
        </p:spPr>
        <p:txBody>
          <a:bodyPr vert="horz" wrap="square" lIns="0" tIns="0" rIns="0" bIns="0" rtlCol="0" anchor="ctr" anchorCtr="1">
            <a:spAutoFit/>
          </a:bodyPr>
          <a:lstStyle/>
          <a:p>
            <a:pPr algn="ctr">
              <a:spcBef>
                <a:spcPts val="0"/>
              </a:spcBef>
              <a:spcAft>
                <a:spcPts val="0"/>
              </a:spcAft>
            </a:pPr>
            <a:r>
              <a:rPr lang="it-IT" sz="1000">
                <a:solidFill>
                  <a:srgbClr val="000000"/>
                </a:solidFill>
                <a:latin typeface="Calibri" panose="020F0502020204030204" pitchFamily="34" charset="0"/>
              </a:rPr>
              <a:t>Informazione ad uso interno - Internal use information</a:t>
            </a:r>
          </a:p>
        </p:txBody>
      </p:sp>
    </p:spTree>
    <p:extLst>
      <p:ext uri="{BB962C8B-B14F-4D97-AF65-F5344CB8AC3E}">
        <p14:creationId xmlns:p14="http://schemas.microsoft.com/office/powerpoint/2010/main" val="2303363130"/>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 id="2147483712" r:id="rId14"/>
    <p:sldLayoutId id="2147483713" r:id="rId15"/>
    <p:sldLayoutId id="2147483714" r:id="rId16"/>
    <p:sldLayoutId id="2147483715" r:id="rId17"/>
    <p:sldLayoutId id="2147483716" r:id="rId18"/>
  </p:sldLayoutIdLst>
  <p:hf sldNum="0" hdr="0" ftr="0"/>
  <p:txStyles>
    <p:titleStyle>
      <a:lvl1pPr algn="l" defTabSz="685800" rtl="0" eaLnBrk="1" latinLnBrk="0" hangingPunct="1">
        <a:lnSpc>
          <a:spcPct val="90000"/>
        </a:lnSpc>
        <a:spcBef>
          <a:spcPct val="0"/>
        </a:spcBef>
        <a:buNone/>
        <a:defRPr sz="2100" b="1" kern="1200">
          <a:solidFill>
            <a:schemeClr val="tx2"/>
          </a:solidFill>
          <a:latin typeface="+mj-lt"/>
          <a:ea typeface="+mj-ea"/>
          <a:cs typeface="+mj-cs"/>
        </a:defRPr>
      </a:lvl1pPr>
    </p:titleStyle>
    <p:body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n-lt"/>
          <a:ea typeface="+mn-ea"/>
          <a:cs typeface="+mn-cs"/>
        </a:defRPr>
      </a:lvl1pPr>
      <a:lvl2pPr marL="342900" indent="0" algn="l" defTabSz="685800" rtl="0" eaLnBrk="1" latinLnBrk="0" hangingPunct="1">
        <a:lnSpc>
          <a:spcPct val="90000"/>
        </a:lnSpc>
        <a:spcBef>
          <a:spcPts val="375"/>
        </a:spcBef>
        <a:buFont typeface="Arial" panose="020B0604020202020204" pitchFamily="34" charset="0"/>
        <a:buNone/>
        <a:tabLst>
          <a:tab pos="604838" algn="l"/>
        </a:tabLst>
        <a:defRPr sz="1350" kern="1200">
          <a:solidFill>
            <a:schemeClr val="tx1"/>
          </a:solidFill>
          <a:latin typeface="+mn-lt"/>
          <a:ea typeface="+mn-ea"/>
          <a:cs typeface="+mn-cs"/>
        </a:defRPr>
      </a:lvl2pPr>
      <a:lvl3pPr marL="685800" indent="0" algn="l" defTabSz="535781"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3pPr>
      <a:lvl4pPr marL="1028700" indent="0" algn="l" defTabSz="685800" rtl="0" eaLnBrk="1" latinLnBrk="0" hangingPunct="1">
        <a:lnSpc>
          <a:spcPct val="90000"/>
        </a:lnSpc>
        <a:spcBef>
          <a:spcPts val="375"/>
        </a:spcBef>
        <a:buFont typeface="Arial" panose="020B0604020202020204" pitchFamily="34" charset="0"/>
        <a:buNone/>
        <a:defRPr sz="1050" kern="1200">
          <a:solidFill>
            <a:schemeClr val="tx1"/>
          </a:solidFill>
          <a:latin typeface="+mn-lt"/>
          <a:ea typeface="+mn-ea"/>
          <a:cs typeface="+mn-cs"/>
        </a:defRPr>
      </a:lvl4pPr>
      <a:lvl5pPr marL="1371600" indent="0" algn="l" defTabSz="685800" rtl="0" eaLnBrk="1" latinLnBrk="0" hangingPunct="1">
        <a:lnSpc>
          <a:spcPct val="90000"/>
        </a:lnSpc>
        <a:spcBef>
          <a:spcPts val="375"/>
        </a:spcBef>
        <a:buFont typeface="Arial" panose="020B0604020202020204" pitchFamily="34" charset="0"/>
        <a:buNone/>
        <a:defRPr sz="9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3657">
          <p15:clr>
            <a:srgbClr val="F26B43"/>
          </p15:clr>
        </p15:guide>
        <p15:guide id="4" orient="horz" pos="4192">
          <p15:clr>
            <a:srgbClr val="F26B43"/>
          </p15:clr>
        </p15:guide>
        <p15:guide id="5" pos="7297">
          <p15:clr>
            <a:srgbClr val="F26B43"/>
          </p15:clr>
        </p15:guide>
        <p15:guide id="6" pos="257">
          <p15:clr>
            <a:srgbClr val="F26B43"/>
          </p15:clr>
        </p15:guide>
        <p15:guide id="7" orient="horz" pos="1127">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8"/>
            </p:custDataLst>
          </p:nvPr>
        </p:nvGraphicFramePr>
        <p:xfrm>
          <a:off x="0" y="0"/>
          <a:ext cx="161984" cy="134978"/>
        </p:xfrm>
        <a:graphic>
          <a:graphicData uri="http://schemas.openxmlformats.org/presentationml/2006/ole">
            <mc:AlternateContent xmlns:mc="http://schemas.openxmlformats.org/markup-compatibility/2006">
              <mc:Choice xmlns:v="urn:schemas-microsoft-com:vml" Requires="v">
                <p:oleObj name="think-cell Slide" r:id="rId36" imgW="360" imgH="360" progId="">
                  <p:embed/>
                </p:oleObj>
              </mc:Choice>
              <mc:Fallback>
                <p:oleObj name="think-cell Slide" r:id="rId36" imgW="360" imgH="360" progId="">
                  <p:embed/>
                  <p:pic>
                    <p:nvPicPr>
                      <p:cNvPr id="0" name=""/>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0" y="0"/>
                        <a:ext cx="161984" cy="13497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19"/>
            </p:custDataLst>
          </p:nvPr>
        </p:nvSpPr>
        <p:spPr>
          <a:xfrm>
            <a:off x="0" y="0"/>
            <a:ext cx="121483" cy="134978"/>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699722" fontAlgn="base">
              <a:spcBef>
                <a:spcPct val="0"/>
              </a:spcBef>
              <a:spcAft>
                <a:spcPct val="0"/>
              </a:spcAft>
              <a:defRPr/>
            </a:pPr>
            <a:endParaRPr lang="en-US" sz="2143" b="1" dirty="0" err="1">
              <a:solidFill>
                <a:srgbClr val="FFFFFF"/>
              </a:solidFill>
              <a:sym typeface="Calibri" panose="020F0502020204030204" pitchFamily="34" charset="0"/>
            </a:endParaRPr>
          </a:p>
        </p:txBody>
      </p:sp>
      <p:sp>
        <p:nvSpPr>
          <p:cNvPr id="19" name="Title Placeholder 2"/>
          <p:cNvSpPr>
            <a:spLocks noGrp="1" noChangeArrowheads="1"/>
          </p:cNvSpPr>
          <p:nvPr>
            <p:ph type="title"/>
          </p:nvPr>
        </p:nvSpPr>
        <p:spPr bwMode="auto">
          <a:xfrm>
            <a:off x="246313" y="175407"/>
            <a:ext cx="8367578" cy="3297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dirty="0"/>
              <a:t>Click to edit Master title style</a:t>
            </a:r>
            <a:endParaRPr lang="en-US" noProof="0" dirty="0"/>
          </a:p>
        </p:txBody>
      </p:sp>
      <p:sp>
        <p:nvSpPr>
          <p:cNvPr id="10" name="1. On-page tracker" hidden="1"/>
          <p:cNvSpPr>
            <a:spLocks noChangeArrowheads="1"/>
          </p:cNvSpPr>
          <p:nvPr/>
        </p:nvSpPr>
        <p:spPr bwMode="auto">
          <a:xfrm>
            <a:off x="246313" y="64420"/>
            <a:ext cx="362279" cy="117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99722" fontAlgn="base">
              <a:spcBef>
                <a:spcPct val="0"/>
              </a:spcBef>
              <a:spcAft>
                <a:spcPct val="0"/>
              </a:spcAft>
              <a:defRPr/>
            </a:pPr>
            <a:r>
              <a:rPr lang="en-US" sz="765" cap="all" dirty="0">
                <a:solidFill>
                  <a:srgbClr val="FFFFFF">
                    <a:lumMod val="50000"/>
                  </a:srgbClr>
                </a:solidFill>
                <a:sym typeface="Calibri" panose="020F0502020204030204" pitchFamily="34" charset="0"/>
              </a:rPr>
              <a:t>TRACKER</a:t>
            </a:r>
          </a:p>
        </p:txBody>
      </p:sp>
      <p:sp>
        <p:nvSpPr>
          <p:cNvPr id="11" name="3. Unit of measure" hidden="1"/>
          <p:cNvSpPr txBox="1">
            <a:spLocks noChangeArrowheads="1"/>
          </p:cNvSpPr>
          <p:nvPr/>
        </p:nvSpPr>
        <p:spPr bwMode="auto">
          <a:xfrm>
            <a:off x="246313" y="594111"/>
            <a:ext cx="8580882" cy="2355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fontAlgn="base">
              <a:spcBef>
                <a:spcPct val="0"/>
              </a:spcBef>
              <a:spcAft>
                <a:spcPct val="0"/>
              </a:spcAft>
              <a:defRPr lang="x-none"/>
            </a:pPr>
            <a:r>
              <a:rPr lang="en-US" sz="1531" dirty="0">
                <a:solidFill>
                  <a:srgbClr val="7F7F7F"/>
                </a:solidFill>
                <a:latin typeface="Calibri" panose="020F0502020204030204" pitchFamily="34" charset="0"/>
                <a:sym typeface="Calibri" panose="020F0502020204030204" pitchFamily="34" charset="0"/>
              </a:rPr>
              <a:t>Unit of measure</a:t>
            </a:r>
          </a:p>
        </p:txBody>
      </p:sp>
      <p:sp>
        <p:nvSpPr>
          <p:cNvPr id="3" name="Text Placeholder 2"/>
          <p:cNvSpPr>
            <a:spLocks noGrp="1"/>
          </p:cNvSpPr>
          <p:nvPr>
            <p:ph type="body" idx="1"/>
          </p:nvPr>
        </p:nvSpPr>
        <p:spPr bwMode="auto">
          <a:xfrm>
            <a:off x="1482156" y="1690709"/>
            <a:ext cx="5318444" cy="1217972"/>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5" name="ACET" hidden="1"/>
          <p:cNvGrpSpPr>
            <a:grpSpLocks/>
          </p:cNvGrpSpPr>
          <p:nvPr/>
        </p:nvGrpSpPr>
        <p:grpSpPr bwMode="auto">
          <a:xfrm>
            <a:off x="1482156" y="1184293"/>
            <a:ext cx="5318444" cy="442729"/>
            <a:chOff x="915" y="702"/>
            <a:chExt cx="2686" cy="328"/>
          </a:xfrm>
        </p:grpSpPr>
        <p:cxnSp>
          <p:nvCxnSpPr>
            <p:cNvPr id="16" name="AutoShape 249"/>
            <p:cNvCxnSpPr>
              <a:cxnSpLocks noChangeShapeType="1"/>
              <a:stCxn id="18" idx="4"/>
              <a:endCxn id="18" idx="6"/>
            </p:cNvCxnSpPr>
            <p:nvPr/>
          </p:nvCxnSpPr>
          <p:spPr bwMode="auto">
            <a:xfrm>
              <a:off x="915" y="1030"/>
              <a:ext cx="2686" cy="0"/>
            </a:xfrm>
            <a:prstGeom prst="straightConnector1">
              <a:avLst/>
            </a:prstGeom>
            <a:noFill/>
            <a:ln w="9525">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699722" fontAlgn="base">
                <a:spcBef>
                  <a:spcPct val="0"/>
                </a:spcBef>
                <a:spcAft>
                  <a:spcPct val="0"/>
                </a:spcAft>
                <a:defRPr/>
              </a:pPr>
              <a:r>
                <a:rPr lang="en-US" sz="1378" b="1" dirty="0">
                  <a:solidFill>
                    <a:srgbClr val="D90000"/>
                  </a:solidFill>
                  <a:sym typeface="Calibri" panose="020F0502020204030204" pitchFamily="34" charset="0"/>
                </a:rPr>
                <a:t>Title</a:t>
              </a:r>
            </a:p>
            <a:p>
              <a:pPr defTabSz="699722" fontAlgn="base">
                <a:spcBef>
                  <a:spcPct val="0"/>
                </a:spcBef>
                <a:spcAft>
                  <a:spcPct val="0"/>
                </a:spcAft>
                <a:defRPr/>
              </a:pPr>
              <a:r>
                <a:rPr lang="en-US" sz="1378" dirty="0">
                  <a:solidFill>
                    <a:srgbClr val="7F7F7F"/>
                  </a:solidFill>
                  <a:sym typeface="Calibri" panose="020F0502020204030204" pitchFamily="34" charset="0"/>
                </a:rPr>
                <a:t>Unit of measure</a:t>
              </a:r>
            </a:p>
          </p:txBody>
        </p:sp>
      </p:grpSp>
      <p:grpSp>
        <p:nvGrpSpPr>
          <p:cNvPr id="26" name="LegendBoxes" hidden="1"/>
          <p:cNvGrpSpPr/>
          <p:nvPr/>
        </p:nvGrpSpPr>
        <p:grpSpPr bwMode="auto">
          <a:xfrm>
            <a:off x="7848581" y="1074695"/>
            <a:ext cx="630832" cy="836868"/>
            <a:chOff x="7835905" y="279400"/>
            <a:chExt cx="862953" cy="984251"/>
          </a:xfrm>
        </p:grpSpPr>
        <p:sp>
          <p:nvSpPr>
            <p:cNvPr id="27"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fontAlgn="base">
                <a:spcBef>
                  <a:spcPct val="0"/>
                </a:spcBef>
                <a:spcAft>
                  <a:spcPct val="0"/>
                </a:spcAft>
                <a:defRPr/>
              </a:pPr>
              <a:endParaRPr lang="en-US" sz="1224" dirty="0">
                <a:solidFill>
                  <a:srgbClr val="000000"/>
                </a:solidFill>
                <a:sym typeface="Calibri" panose="020F0502020204030204" pitchFamily="34" charset="0"/>
              </a:endParaRPr>
            </a:p>
          </p:txBody>
        </p:sp>
        <p:sp>
          <p:nvSpPr>
            <p:cNvPr id="28"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fontAlgn="base">
                <a:spcBef>
                  <a:spcPct val="0"/>
                </a:spcBef>
                <a:spcAft>
                  <a:spcPct val="0"/>
                </a:spcAft>
                <a:defRPr/>
              </a:pPr>
              <a:endParaRPr lang="en-US" sz="1224" dirty="0">
                <a:solidFill>
                  <a:srgbClr val="000000"/>
                </a:solidFill>
                <a:sym typeface="Calibri" panose="020F0502020204030204" pitchFamily="34" charset="0"/>
              </a:endParaRPr>
            </a:p>
          </p:txBody>
        </p:sp>
        <p:sp>
          <p:nvSpPr>
            <p:cNvPr id="29"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fontAlgn="base">
                <a:spcBef>
                  <a:spcPct val="0"/>
                </a:spcBef>
                <a:spcAft>
                  <a:spcPct val="0"/>
                </a:spcAft>
                <a:defRPr/>
              </a:pPr>
              <a:endParaRPr lang="en-US" sz="1224" dirty="0">
                <a:solidFill>
                  <a:srgbClr val="000000"/>
                </a:solidFill>
                <a:sym typeface="Calibri" panose="020F0502020204030204" pitchFamily="34" charset="0"/>
              </a:endParaRPr>
            </a:p>
          </p:txBody>
        </p:sp>
        <p:sp>
          <p:nvSpPr>
            <p:cNvPr id="30"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fontAlgn="base">
                <a:spcBef>
                  <a:spcPct val="0"/>
                </a:spcBef>
                <a:spcAft>
                  <a:spcPct val="0"/>
                </a:spcAft>
                <a:defRPr/>
              </a:pPr>
              <a:endParaRPr lang="en-US" sz="1224" dirty="0">
                <a:solidFill>
                  <a:srgbClr val="000000"/>
                </a:solidFill>
                <a:sym typeface="Calibri" panose="020F0502020204030204" pitchFamily="34" charset="0"/>
              </a:endParaRPr>
            </a:p>
          </p:txBody>
        </p:sp>
        <p:sp>
          <p:nvSpPr>
            <p:cNvPr id="31" name="Legend1"/>
            <p:cNvSpPr>
              <a:spLocks noChangeArrowheads="1"/>
            </p:cNvSpPr>
            <p:nvPr/>
          </p:nvSpPr>
          <p:spPr bwMode="auto">
            <a:xfrm>
              <a:off x="8089905" y="279400"/>
              <a:ext cx="608953" cy="162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671510" fontAlgn="base">
                <a:spcBef>
                  <a:spcPct val="0"/>
                </a:spcBef>
                <a:spcAft>
                  <a:spcPct val="0"/>
                </a:spcAft>
                <a:buClr>
                  <a:srgbClr val="D90000"/>
                </a:buClr>
                <a:defRPr/>
              </a:pPr>
              <a:r>
                <a:rPr lang="en-US" sz="900" dirty="0">
                  <a:solidFill>
                    <a:srgbClr val="000000"/>
                  </a:solidFill>
                  <a:sym typeface="Calibri" panose="020F0502020204030204" pitchFamily="34" charset="0"/>
                </a:rPr>
                <a:t>Legend</a:t>
              </a:r>
            </a:p>
          </p:txBody>
        </p:sp>
        <p:sp>
          <p:nvSpPr>
            <p:cNvPr id="32" name="Legend2"/>
            <p:cNvSpPr>
              <a:spLocks noChangeArrowheads="1"/>
            </p:cNvSpPr>
            <p:nvPr/>
          </p:nvSpPr>
          <p:spPr bwMode="auto">
            <a:xfrm>
              <a:off x="8089905" y="549276"/>
              <a:ext cx="608952" cy="162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671510" fontAlgn="base">
                <a:spcBef>
                  <a:spcPct val="0"/>
                </a:spcBef>
                <a:spcAft>
                  <a:spcPct val="0"/>
                </a:spcAft>
                <a:buClr>
                  <a:srgbClr val="D90000"/>
                </a:buClr>
                <a:defRPr/>
              </a:pPr>
              <a:r>
                <a:rPr lang="en-US" sz="900" dirty="0">
                  <a:solidFill>
                    <a:srgbClr val="000000"/>
                  </a:solidFill>
                  <a:sym typeface="Calibri" panose="020F0502020204030204" pitchFamily="34" charset="0"/>
                </a:rPr>
                <a:t>Legend</a:t>
              </a:r>
            </a:p>
          </p:txBody>
        </p:sp>
        <p:sp>
          <p:nvSpPr>
            <p:cNvPr id="33" name="Legend3"/>
            <p:cNvSpPr>
              <a:spLocks noChangeArrowheads="1"/>
            </p:cNvSpPr>
            <p:nvPr/>
          </p:nvSpPr>
          <p:spPr bwMode="auto">
            <a:xfrm>
              <a:off x="8089905" y="820738"/>
              <a:ext cx="608952" cy="162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671510" fontAlgn="base">
                <a:spcBef>
                  <a:spcPct val="0"/>
                </a:spcBef>
                <a:spcAft>
                  <a:spcPct val="0"/>
                </a:spcAft>
                <a:buClr>
                  <a:srgbClr val="D90000"/>
                </a:buClr>
                <a:defRPr/>
              </a:pPr>
              <a:r>
                <a:rPr lang="en-US" sz="900" dirty="0">
                  <a:solidFill>
                    <a:srgbClr val="000000"/>
                  </a:solidFill>
                  <a:sym typeface="Calibri" panose="020F0502020204030204" pitchFamily="34" charset="0"/>
                </a:rPr>
                <a:t>Legend</a:t>
              </a:r>
            </a:p>
          </p:txBody>
        </p:sp>
        <p:sp>
          <p:nvSpPr>
            <p:cNvPr id="34" name="Legend4"/>
            <p:cNvSpPr>
              <a:spLocks noChangeArrowheads="1"/>
            </p:cNvSpPr>
            <p:nvPr/>
          </p:nvSpPr>
          <p:spPr bwMode="auto">
            <a:xfrm>
              <a:off x="8089905" y="1092202"/>
              <a:ext cx="608952" cy="162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671510" fontAlgn="base">
                <a:spcBef>
                  <a:spcPct val="0"/>
                </a:spcBef>
                <a:spcAft>
                  <a:spcPct val="0"/>
                </a:spcAft>
                <a:buClr>
                  <a:srgbClr val="D90000"/>
                </a:buClr>
                <a:defRPr/>
              </a:pPr>
              <a:r>
                <a:rPr lang="en-US" sz="900" dirty="0">
                  <a:solidFill>
                    <a:srgbClr val="000000"/>
                  </a:solidFill>
                  <a:sym typeface="Calibri" panose="020F0502020204030204" pitchFamily="34" charset="0"/>
                </a:rPr>
                <a:t>Legend</a:t>
              </a:r>
            </a:p>
          </p:txBody>
        </p:sp>
      </p:grpSp>
      <p:grpSp>
        <p:nvGrpSpPr>
          <p:cNvPr id="35" name="LegendLines" hidden="1"/>
          <p:cNvGrpSpPr/>
          <p:nvPr/>
        </p:nvGrpSpPr>
        <p:grpSpPr bwMode="auto">
          <a:xfrm>
            <a:off x="7915852" y="1049558"/>
            <a:ext cx="609473" cy="602826"/>
            <a:chOff x="7540629" y="279400"/>
            <a:chExt cx="1380280" cy="708991"/>
          </a:xfrm>
        </p:grpSpPr>
        <p:sp>
          <p:nvSpPr>
            <p:cNvPr id="36"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699722" fontAlgn="base">
                <a:spcBef>
                  <a:spcPct val="0"/>
                </a:spcBef>
                <a:spcAft>
                  <a:spcPct val="0"/>
                </a:spcAft>
                <a:defRPr/>
              </a:pPr>
              <a:endParaRPr lang="en-US" sz="1224" dirty="0">
                <a:solidFill>
                  <a:srgbClr val="000000"/>
                </a:solidFill>
                <a:sym typeface="Calibri" panose="020F0502020204030204" pitchFamily="34" charset="0"/>
              </a:endParaRPr>
            </a:p>
          </p:txBody>
        </p:sp>
        <p:sp>
          <p:nvSpPr>
            <p:cNvPr id="37"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699722" fontAlgn="base">
                <a:spcBef>
                  <a:spcPct val="0"/>
                </a:spcBef>
                <a:spcAft>
                  <a:spcPct val="0"/>
                </a:spcAft>
                <a:defRPr/>
              </a:pPr>
              <a:endParaRPr lang="en-US" sz="1224" dirty="0">
                <a:solidFill>
                  <a:srgbClr val="000000"/>
                </a:solidFill>
                <a:sym typeface="Calibri" panose="020F0502020204030204" pitchFamily="34" charset="0"/>
              </a:endParaRPr>
            </a:p>
          </p:txBody>
        </p:sp>
        <p:sp>
          <p:nvSpPr>
            <p:cNvPr id="38"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699722" fontAlgn="base">
                <a:spcBef>
                  <a:spcPct val="0"/>
                </a:spcBef>
                <a:spcAft>
                  <a:spcPct val="0"/>
                </a:spcAft>
                <a:defRPr/>
              </a:pPr>
              <a:endParaRPr lang="en-US" sz="1224" dirty="0">
                <a:solidFill>
                  <a:srgbClr val="000000"/>
                </a:solidFill>
                <a:sym typeface="Calibri" panose="020F0502020204030204" pitchFamily="34" charset="0"/>
              </a:endParaRPr>
            </a:p>
          </p:txBody>
        </p:sp>
        <p:sp>
          <p:nvSpPr>
            <p:cNvPr id="39" name="Legend1"/>
            <p:cNvSpPr>
              <a:spLocks noChangeArrowheads="1"/>
            </p:cNvSpPr>
            <p:nvPr/>
          </p:nvSpPr>
          <p:spPr bwMode="auto">
            <a:xfrm>
              <a:off x="8102603" y="279400"/>
              <a:ext cx="818306" cy="162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671510" fontAlgn="base">
                <a:spcBef>
                  <a:spcPct val="0"/>
                </a:spcBef>
                <a:spcAft>
                  <a:spcPct val="0"/>
                </a:spcAft>
                <a:buClr>
                  <a:srgbClr val="D90000"/>
                </a:buClr>
                <a:defRPr/>
              </a:pPr>
              <a:r>
                <a:rPr lang="en-US" sz="900" dirty="0">
                  <a:solidFill>
                    <a:srgbClr val="000000"/>
                  </a:solidFill>
                  <a:sym typeface="Calibri" panose="020F0502020204030204" pitchFamily="34" charset="0"/>
                </a:rPr>
                <a:t>Legend</a:t>
              </a:r>
            </a:p>
          </p:txBody>
        </p:sp>
        <p:sp>
          <p:nvSpPr>
            <p:cNvPr id="40" name="Legend2"/>
            <p:cNvSpPr>
              <a:spLocks noChangeArrowheads="1"/>
            </p:cNvSpPr>
            <p:nvPr/>
          </p:nvSpPr>
          <p:spPr bwMode="auto">
            <a:xfrm>
              <a:off x="8102603" y="546100"/>
              <a:ext cx="818301" cy="162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671510" fontAlgn="base">
                <a:spcBef>
                  <a:spcPct val="0"/>
                </a:spcBef>
                <a:spcAft>
                  <a:spcPct val="0"/>
                </a:spcAft>
                <a:buClr>
                  <a:srgbClr val="D90000"/>
                </a:buClr>
                <a:defRPr/>
              </a:pPr>
              <a:r>
                <a:rPr lang="en-US" sz="900" dirty="0">
                  <a:solidFill>
                    <a:srgbClr val="000000"/>
                  </a:solidFill>
                  <a:sym typeface="Calibri" panose="020F0502020204030204" pitchFamily="34" charset="0"/>
                </a:rPr>
                <a:t>Legend</a:t>
              </a:r>
            </a:p>
          </p:txBody>
        </p:sp>
        <p:sp>
          <p:nvSpPr>
            <p:cNvPr id="41" name="Legend3"/>
            <p:cNvSpPr>
              <a:spLocks noChangeArrowheads="1"/>
            </p:cNvSpPr>
            <p:nvPr/>
          </p:nvSpPr>
          <p:spPr bwMode="auto">
            <a:xfrm>
              <a:off x="8102603" y="825501"/>
              <a:ext cx="818301" cy="162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671510" fontAlgn="base">
                <a:spcBef>
                  <a:spcPct val="0"/>
                </a:spcBef>
                <a:spcAft>
                  <a:spcPct val="0"/>
                </a:spcAft>
                <a:buClr>
                  <a:srgbClr val="D90000"/>
                </a:buClr>
                <a:defRPr/>
              </a:pPr>
              <a:r>
                <a:rPr lang="en-US" sz="900" dirty="0">
                  <a:solidFill>
                    <a:srgbClr val="000000"/>
                  </a:solidFill>
                  <a:sym typeface="Calibri" panose="020F0502020204030204" pitchFamily="34" charset="0"/>
                </a:rPr>
                <a:t>Legend</a:t>
              </a:r>
            </a:p>
          </p:txBody>
        </p:sp>
      </p:grpSp>
      <p:grpSp>
        <p:nvGrpSpPr>
          <p:cNvPr id="42" name="LegendMoons" hidden="1"/>
          <p:cNvGrpSpPr/>
          <p:nvPr/>
        </p:nvGrpSpPr>
        <p:grpSpPr bwMode="auto">
          <a:xfrm>
            <a:off x="7833021" y="1121097"/>
            <a:ext cx="588936" cy="1110878"/>
            <a:chOff x="7769196" y="250825"/>
            <a:chExt cx="758231" cy="1306516"/>
          </a:xfrm>
        </p:grpSpPr>
        <p:grpSp>
          <p:nvGrpSpPr>
            <p:cNvPr id="43" name="MoonLegend1"/>
            <p:cNvGrpSpPr>
              <a:grpSpLocks noChangeAspect="1"/>
            </p:cNvGrpSpPr>
            <p:nvPr>
              <p:custDataLst>
                <p:tags r:id="rId21"/>
              </p:custDataLst>
            </p:nvPr>
          </p:nvGrpSpPr>
          <p:grpSpPr bwMode="auto">
            <a:xfrm>
              <a:off x="7769225" y="250825"/>
              <a:ext cx="209550" cy="209551"/>
              <a:chOff x="4533" y="183"/>
              <a:chExt cx="144" cy="144"/>
            </a:xfrm>
          </p:grpSpPr>
          <p:sp>
            <p:nvSpPr>
              <p:cNvPr id="61" name="Oval 38"/>
              <p:cNvSpPr>
                <a:spLocks noChangeAspect="1" noChangeArrowheads="1"/>
              </p:cNvSpPr>
              <p:nvPr>
                <p:custDataLst>
                  <p:tags r:id="rId34"/>
                </p:custDataLst>
              </p:nvPr>
            </p:nvSpPr>
            <p:spPr bwMode="auto">
              <a:xfrm>
                <a:off x="4533" y="183"/>
                <a:ext cx="144" cy="144"/>
              </a:xfrm>
              <a:prstGeom prst="ellipse">
                <a:avLst/>
              </a:prstGeom>
              <a:solidFill>
                <a:schemeClr val="bg1"/>
              </a:solidFill>
              <a:ln w="9525">
                <a:solidFill>
                  <a:schemeClr val="bg1">
                    <a:lumMod val="50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fontAlgn="base">
                  <a:spcBef>
                    <a:spcPct val="0"/>
                  </a:spcBef>
                  <a:spcAft>
                    <a:spcPct val="0"/>
                  </a:spcAft>
                  <a:defRPr/>
                </a:pPr>
                <a:endParaRPr lang="en-US" sz="1224" dirty="0">
                  <a:solidFill>
                    <a:srgbClr val="000000"/>
                  </a:solidFill>
                  <a:sym typeface="Calibri" panose="020F0502020204030204" pitchFamily="34" charset="0"/>
                </a:endParaRPr>
              </a:p>
            </p:txBody>
          </p:sp>
          <p:sp>
            <p:nvSpPr>
              <p:cNvPr id="62" name="Arc 39"/>
              <p:cNvSpPr>
                <a:spLocks noChangeAspect="1"/>
              </p:cNvSpPr>
              <p:nvPr>
                <p:custDataLst>
                  <p:tags r:id="rId35"/>
                </p:custDataLst>
              </p:nvPr>
            </p:nvSpPr>
            <p:spPr bwMode="auto">
              <a:xfrm>
                <a:off x="4533" y="183"/>
                <a:ext cx="144" cy="144"/>
              </a:xfrm>
              <a:prstGeom prst="arc">
                <a:avLst>
                  <a:gd name="adj1" fmla="val 16200000"/>
                  <a:gd name="adj2" fmla="val 5400000"/>
                </a:avLst>
              </a:prstGeom>
              <a:solidFill>
                <a:schemeClr val="bg2"/>
              </a:solidFill>
              <a:ln w="9525">
                <a:solidFill>
                  <a:schemeClr val="bg1">
                    <a:lumMod val="50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fontAlgn="base">
                  <a:spcBef>
                    <a:spcPct val="0"/>
                  </a:spcBef>
                  <a:spcAft>
                    <a:spcPct val="0"/>
                  </a:spcAft>
                  <a:defRPr/>
                </a:pPr>
                <a:endParaRPr lang="en-US" sz="1224" dirty="0">
                  <a:solidFill>
                    <a:srgbClr val="000000"/>
                  </a:solidFill>
                  <a:sym typeface="Calibri" panose="020F0502020204030204" pitchFamily="34" charset="0"/>
                </a:endParaRPr>
              </a:p>
            </p:txBody>
          </p:sp>
        </p:grpSp>
        <p:grpSp>
          <p:nvGrpSpPr>
            <p:cNvPr id="44" name="MoonLegend2"/>
            <p:cNvGrpSpPr>
              <a:grpSpLocks noChangeAspect="1"/>
            </p:cNvGrpSpPr>
            <p:nvPr>
              <p:custDataLst>
                <p:tags r:id="rId22"/>
              </p:custDataLst>
            </p:nvPr>
          </p:nvGrpSpPr>
          <p:grpSpPr bwMode="auto">
            <a:xfrm>
              <a:off x="7769225" y="525066"/>
              <a:ext cx="209550" cy="209551"/>
              <a:chOff x="1694" y="2044"/>
              <a:chExt cx="160" cy="160"/>
            </a:xfrm>
          </p:grpSpPr>
          <p:sp>
            <p:nvSpPr>
              <p:cNvPr id="59" name="Oval 41"/>
              <p:cNvSpPr>
                <a:spLocks noChangeAspect="1" noChangeArrowheads="1"/>
              </p:cNvSpPr>
              <p:nvPr>
                <p:custDataLst>
                  <p:tags r:id="rId32"/>
                </p:custDataLst>
              </p:nvPr>
            </p:nvSpPr>
            <p:spPr bwMode="auto">
              <a:xfrm>
                <a:off x="1694" y="2044"/>
                <a:ext cx="160" cy="160"/>
              </a:xfrm>
              <a:prstGeom prst="ellipse">
                <a:avLst/>
              </a:prstGeom>
              <a:solidFill>
                <a:schemeClr val="bg1"/>
              </a:solidFill>
              <a:ln w="9525">
                <a:solidFill>
                  <a:schemeClr val="bg1">
                    <a:lumMod val="50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fontAlgn="base">
                  <a:spcBef>
                    <a:spcPct val="0"/>
                  </a:spcBef>
                  <a:spcAft>
                    <a:spcPct val="0"/>
                  </a:spcAft>
                  <a:defRPr/>
                </a:pPr>
                <a:endParaRPr lang="en-US" sz="1224" dirty="0">
                  <a:solidFill>
                    <a:srgbClr val="000000"/>
                  </a:solidFill>
                  <a:sym typeface="Calibri" panose="020F0502020204030204" pitchFamily="34" charset="0"/>
                </a:endParaRPr>
              </a:p>
            </p:txBody>
          </p:sp>
          <p:sp>
            <p:nvSpPr>
              <p:cNvPr id="60" name="Arc 42"/>
              <p:cNvSpPr>
                <a:spLocks noChangeAspect="1"/>
              </p:cNvSpPr>
              <p:nvPr>
                <p:custDataLst>
                  <p:tags r:id="rId33"/>
                </p:custDataLst>
              </p:nvPr>
            </p:nvSpPr>
            <p:spPr bwMode="auto">
              <a:xfrm>
                <a:off x="1694" y="2044"/>
                <a:ext cx="160" cy="160"/>
              </a:xfrm>
              <a:prstGeom prst="arc">
                <a:avLst/>
              </a:prstGeom>
              <a:solidFill>
                <a:schemeClr val="bg2"/>
              </a:solidFill>
              <a:ln w="9525">
                <a:solidFill>
                  <a:schemeClr val="bg1">
                    <a:lumMod val="50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fontAlgn="base">
                  <a:spcBef>
                    <a:spcPct val="0"/>
                  </a:spcBef>
                  <a:spcAft>
                    <a:spcPct val="0"/>
                  </a:spcAft>
                  <a:defRPr/>
                </a:pPr>
                <a:endParaRPr lang="en-US" sz="1224" dirty="0">
                  <a:solidFill>
                    <a:srgbClr val="000000"/>
                  </a:solidFill>
                  <a:sym typeface="Calibri" panose="020F0502020204030204" pitchFamily="34" charset="0"/>
                </a:endParaRPr>
              </a:p>
            </p:txBody>
          </p:sp>
        </p:grpSp>
        <p:grpSp>
          <p:nvGrpSpPr>
            <p:cNvPr id="45" name="MoonLegend4"/>
            <p:cNvGrpSpPr>
              <a:grpSpLocks noChangeAspect="1"/>
            </p:cNvGrpSpPr>
            <p:nvPr>
              <p:custDataLst>
                <p:tags r:id="rId23"/>
              </p:custDataLst>
            </p:nvPr>
          </p:nvGrpSpPr>
          <p:grpSpPr bwMode="auto">
            <a:xfrm>
              <a:off x="7769225" y="1073548"/>
              <a:ext cx="209550" cy="209551"/>
              <a:chOff x="4495" y="1198"/>
              <a:chExt cx="160" cy="160"/>
            </a:xfrm>
          </p:grpSpPr>
          <p:sp>
            <p:nvSpPr>
              <p:cNvPr id="57" name="Oval 47"/>
              <p:cNvSpPr>
                <a:spLocks noChangeAspect="1" noChangeArrowheads="1"/>
              </p:cNvSpPr>
              <p:nvPr>
                <p:custDataLst>
                  <p:tags r:id="rId30"/>
                </p:custDataLst>
              </p:nvPr>
            </p:nvSpPr>
            <p:spPr bwMode="auto">
              <a:xfrm>
                <a:off x="4495" y="1198"/>
                <a:ext cx="160" cy="160"/>
              </a:xfrm>
              <a:prstGeom prst="ellipse">
                <a:avLst/>
              </a:prstGeom>
              <a:solidFill>
                <a:schemeClr val="bg1"/>
              </a:solidFill>
              <a:ln w="9525">
                <a:solidFill>
                  <a:schemeClr val="bg1">
                    <a:lumMod val="50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fontAlgn="base">
                  <a:spcBef>
                    <a:spcPct val="0"/>
                  </a:spcBef>
                  <a:spcAft>
                    <a:spcPct val="0"/>
                  </a:spcAft>
                  <a:defRPr/>
                </a:pPr>
                <a:endParaRPr lang="en-US" sz="1224" dirty="0">
                  <a:solidFill>
                    <a:srgbClr val="000000"/>
                  </a:solidFill>
                  <a:sym typeface="Calibri" panose="020F0502020204030204" pitchFamily="34" charset="0"/>
                </a:endParaRPr>
              </a:p>
            </p:txBody>
          </p:sp>
          <p:sp>
            <p:nvSpPr>
              <p:cNvPr id="58" name="Arc 48"/>
              <p:cNvSpPr>
                <a:spLocks noChangeAspect="1"/>
              </p:cNvSpPr>
              <p:nvPr>
                <p:custDataLst>
                  <p:tags r:id="rId31"/>
                </p:custDataLst>
              </p:nvPr>
            </p:nvSpPr>
            <p:spPr bwMode="auto">
              <a:xfrm>
                <a:off x="4495" y="1198"/>
                <a:ext cx="160" cy="160"/>
              </a:xfrm>
              <a:prstGeom prst="arc">
                <a:avLst>
                  <a:gd name="adj1" fmla="val 16200000"/>
                  <a:gd name="adj2" fmla="val 10800000"/>
                </a:avLst>
              </a:prstGeom>
              <a:solidFill>
                <a:schemeClr val="bg2"/>
              </a:solidFill>
              <a:ln w="9525">
                <a:solidFill>
                  <a:schemeClr val="bg1">
                    <a:lumMod val="50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fontAlgn="base">
                  <a:spcBef>
                    <a:spcPct val="0"/>
                  </a:spcBef>
                  <a:spcAft>
                    <a:spcPct val="0"/>
                  </a:spcAft>
                  <a:defRPr/>
                </a:pPr>
                <a:endParaRPr lang="en-US" sz="1224" dirty="0">
                  <a:solidFill>
                    <a:srgbClr val="000000"/>
                  </a:solidFill>
                  <a:sym typeface="Calibri" panose="020F0502020204030204" pitchFamily="34" charset="0"/>
                </a:endParaRPr>
              </a:p>
            </p:txBody>
          </p:sp>
        </p:grpSp>
        <p:grpSp>
          <p:nvGrpSpPr>
            <p:cNvPr id="46" name="MoonLegend5"/>
            <p:cNvGrpSpPr>
              <a:grpSpLocks noChangeAspect="1"/>
            </p:cNvGrpSpPr>
            <p:nvPr>
              <p:custDataLst>
                <p:tags r:id="rId24"/>
              </p:custDataLst>
            </p:nvPr>
          </p:nvGrpSpPr>
          <p:grpSpPr bwMode="auto">
            <a:xfrm>
              <a:off x="7769196" y="1347790"/>
              <a:ext cx="209549" cy="209551"/>
              <a:chOff x="4495" y="1440"/>
              <a:chExt cx="160" cy="160"/>
            </a:xfrm>
          </p:grpSpPr>
          <p:sp>
            <p:nvSpPr>
              <p:cNvPr id="55" name="Oval 50"/>
              <p:cNvSpPr>
                <a:spLocks noChangeAspect="1" noChangeArrowheads="1"/>
              </p:cNvSpPr>
              <p:nvPr>
                <p:custDataLst>
                  <p:tags r:id="rId28"/>
                </p:custDataLst>
              </p:nvPr>
            </p:nvSpPr>
            <p:spPr bwMode="auto">
              <a:xfrm>
                <a:off x="4495" y="1440"/>
                <a:ext cx="160" cy="160"/>
              </a:xfrm>
              <a:prstGeom prst="ellipse">
                <a:avLst/>
              </a:prstGeom>
              <a:solidFill>
                <a:schemeClr val="bg1"/>
              </a:solidFill>
              <a:ln w="9525">
                <a:solidFill>
                  <a:schemeClr val="bg1">
                    <a:lumMod val="50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fontAlgn="base">
                  <a:spcBef>
                    <a:spcPct val="0"/>
                  </a:spcBef>
                  <a:spcAft>
                    <a:spcPct val="0"/>
                  </a:spcAft>
                  <a:defRPr/>
                </a:pPr>
                <a:endParaRPr lang="en-US" sz="1224" dirty="0">
                  <a:solidFill>
                    <a:srgbClr val="000000"/>
                  </a:solidFill>
                  <a:sym typeface="Calibri" panose="020F0502020204030204" pitchFamily="34" charset="0"/>
                </a:endParaRPr>
              </a:p>
            </p:txBody>
          </p:sp>
          <p:sp>
            <p:nvSpPr>
              <p:cNvPr id="56" name="Oval 51"/>
              <p:cNvSpPr>
                <a:spLocks noChangeAspect="1" noChangeArrowheads="1"/>
              </p:cNvSpPr>
              <p:nvPr>
                <p:custDataLst>
                  <p:tags r:id="rId29"/>
                </p:custDataLst>
              </p:nvPr>
            </p:nvSpPr>
            <p:spPr bwMode="auto">
              <a:xfrm>
                <a:off x="4495" y="1440"/>
                <a:ext cx="160" cy="160"/>
              </a:xfrm>
              <a:prstGeom prst="arc">
                <a:avLst>
                  <a:gd name="adj1" fmla="val 16200000"/>
                  <a:gd name="adj2" fmla="val 16200000"/>
                </a:avLst>
              </a:prstGeom>
              <a:solidFill>
                <a:schemeClr val="bg2"/>
              </a:solidFill>
              <a:ln w="9525">
                <a:solidFill>
                  <a:schemeClr val="bg1">
                    <a:lumMod val="50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fontAlgn="base">
                  <a:spcBef>
                    <a:spcPct val="0"/>
                  </a:spcBef>
                  <a:spcAft>
                    <a:spcPct val="0"/>
                  </a:spcAft>
                  <a:defRPr/>
                </a:pPr>
                <a:endParaRPr lang="en-US" sz="1224" dirty="0">
                  <a:solidFill>
                    <a:srgbClr val="000000"/>
                  </a:solidFill>
                  <a:sym typeface="Calibri" panose="020F0502020204030204" pitchFamily="34" charset="0"/>
                </a:endParaRPr>
              </a:p>
            </p:txBody>
          </p:sp>
        </p:grpSp>
        <p:grpSp>
          <p:nvGrpSpPr>
            <p:cNvPr id="47" name="MoonLegend3"/>
            <p:cNvGrpSpPr>
              <a:grpSpLocks noChangeAspect="1"/>
            </p:cNvGrpSpPr>
            <p:nvPr>
              <p:custDataLst>
                <p:tags r:id="rId25"/>
              </p:custDataLst>
            </p:nvPr>
          </p:nvGrpSpPr>
          <p:grpSpPr bwMode="auto">
            <a:xfrm>
              <a:off x="7769225" y="799307"/>
              <a:ext cx="209550" cy="209551"/>
              <a:chOff x="4495" y="1198"/>
              <a:chExt cx="160" cy="160"/>
            </a:xfrm>
          </p:grpSpPr>
          <p:sp>
            <p:nvSpPr>
              <p:cNvPr id="53" name="Oval 47"/>
              <p:cNvSpPr>
                <a:spLocks noChangeAspect="1" noChangeArrowheads="1"/>
              </p:cNvSpPr>
              <p:nvPr>
                <p:custDataLst>
                  <p:tags r:id="rId26"/>
                </p:custDataLst>
              </p:nvPr>
            </p:nvSpPr>
            <p:spPr bwMode="auto">
              <a:xfrm>
                <a:off x="4495" y="1198"/>
                <a:ext cx="160" cy="160"/>
              </a:xfrm>
              <a:prstGeom prst="ellipse">
                <a:avLst/>
              </a:prstGeom>
              <a:solidFill>
                <a:schemeClr val="bg1"/>
              </a:solidFill>
              <a:ln w="9525">
                <a:solidFill>
                  <a:schemeClr val="bg1">
                    <a:lumMod val="50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fontAlgn="base">
                  <a:spcBef>
                    <a:spcPct val="0"/>
                  </a:spcBef>
                  <a:spcAft>
                    <a:spcPct val="0"/>
                  </a:spcAft>
                  <a:defRPr/>
                </a:pPr>
                <a:endParaRPr lang="en-US" sz="1224" dirty="0">
                  <a:solidFill>
                    <a:srgbClr val="000000"/>
                  </a:solidFill>
                  <a:sym typeface="Calibri" panose="020F0502020204030204" pitchFamily="34" charset="0"/>
                </a:endParaRPr>
              </a:p>
            </p:txBody>
          </p:sp>
          <p:sp>
            <p:nvSpPr>
              <p:cNvPr id="54" name="Arc 48"/>
              <p:cNvSpPr>
                <a:spLocks noChangeAspect="1"/>
              </p:cNvSpPr>
              <p:nvPr>
                <p:custDataLst>
                  <p:tags r:id="rId27"/>
                </p:custDataLst>
              </p:nvPr>
            </p:nvSpPr>
            <p:spPr bwMode="auto">
              <a:xfrm>
                <a:off x="4495" y="1198"/>
                <a:ext cx="160" cy="160"/>
              </a:xfrm>
              <a:prstGeom prst="arc">
                <a:avLst>
                  <a:gd name="adj1" fmla="val 16200000"/>
                  <a:gd name="adj2" fmla="val 5400000"/>
                </a:avLst>
              </a:prstGeom>
              <a:solidFill>
                <a:schemeClr val="bg2"/>
              </a:solidFill>
              <a:ln w="9525">
                <a:solidFill>
                  <a:schemeClr val="bg1">
                    <a:lumMod val="50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fontAlgn="base">
                  <a:spcBef>
                    <a:spcPct val="0"/>
                  </a:spcBef>
                  <a:spcAft>
                    <a:spcPct val="0"/>
                  </a:spcAft>
                  <a:defRPr/>
                </a:pPr>
                <a:endParaRPr lang="en-US" sz="1224" dirty="0">
                  <a:solidFill>
                    <a:srgbClr val="000000"/>
                  </a:solidFill>
                  <a:sym typeface="Calibri" panose="020F0502020204030204" pitchFamily="34" charset="0"/>
                </a:endParaRPr>
              </a:p>
            </p:txBody>
          </p:sp>
        </p:grpSp>
        <p:sp>
          <p:nvSpPr>
            <p:cNvPr id="48" name="Legend1"/>
            <p:cNvSpPr>
              <a:spLocks noChangeArrowheads="1"/>
            </p:cNvSpPr>
            <p:nvPr/>
          </p:nvSpPr>
          <p:spPr bwMode="auto">
            <a:xfrm>
              <a:off x="8089900" y="263525"/>
              <a:ext cx="437527" cy="162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0" fontAlgn="base">
                <a:spcBef>
                  <a:spcPct val="0"/>
                </a:spcBef>
                <a:spcAft>
                  <a:spcPct val="0"/>
                </a:spcAft>
                <a:buClr>
                  <a:srgbClr val="D90000"/>
                </a:buClr>
                <a:defRPr/>
              </a:pPr>
              <a:r>
                <a:rPr lang="en-US" sz="900" dirty="0">
                  <a:solidFill>
                    <a:srgbClr val="000000"/>
                  </a:solidFill>
                  <a:sym typeface="Calibri" panose="020F0502020204030204" pitchFamily="34" charset="0"/>
                </a:rPr>
                <a:t>Legend</a:t>
              </a:r>
            </a:p>
          </p:txBody>
        </p:sp>
        <p:sp>
          <p:nvSpPr>
            <p:cNvPr id="49" name="Legend2"/>
            <p:cNvSpPr>
              <a:spLocks noChangeArrowheads="1"/>
            </p:cNvSpPr>
            <p:nvPr/>
          </p:nvSpPr>
          <p:spPr bwMode="auto">
            <a:xfrm>
              <a:off x="8089899" y="538163"/>
              <a:ext cx="437526" cy="162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0" fontAlgn="base">
                <a:spcBef>
                  <a:spcPct val="0"/>
                </a:spcBef>
                <a:spcAft>
                  <a:spcPct val="0"/>
                </a:spcAft>
                <a:buClr>
                  <a:srgbClr val="D90000"/>
                </a:buClr>
                <a:defRPr/>
              </a:pPr>
              <a:r>
                <a:rPr lang="en-US" sz="900" dirty="0">
                  <a:solidFill>
                    <a:srgbClr val="000000"/>
                  </a:solidFill>
                  <a:sym typeface="Calibri" panose="020F0502020204030204" pitchFamily="34" charset="0"/>
                </a:rPr>
                <a:t>Legend</a:t>
              </a:r>
            </a:p>
          </p:txBody>
        </p:sp>
        <p:sp>
          <p:nvSpPr>
            <p:cNvPr id="50" name="Legend3"/>
            <p:cNvSpPr>
              <a:spLocks noChangeArrowheads="1"/>
            </p:cNvSpPr>
            <p:nvPr/>
          </p:nvSpPr>
          <p:spPr bwMode="auto">
            <a:xfrm>
              <a:off x="8089899" y="812801"/>
              <a:ext cx="437526" cy="162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0" fontAlgn="base">
                <a:spcBef>
                  <a:spcPct val="0"/>
                </a:spcBef>
                <a:spcAft>
                  <a:spcPct val="0"/>
                </a:spcAft>
                <a:buClr>
                  <a:srgbClr val="D90000"/>
                </a:buClr>
                <a:defRPr/>
              </a:pPr>
              <a:r>
                <a:rPr lang="en-US" sz="900" dirty="0">
                  <a:solidFill>
                    <a:srgbClr val="000000"/>
                  </a:solidFill>
                  <a:sym typeface="Calibri" panose="020F0502020204030204" pitchFamily="34" charset="0"/>
                </a:rPr>
                <a:t>Legend</a:t>
              </a:r>
            </a:p>
          </p:txBody>
        </p:sp>
        <p:sp>
          <p:nvSpPr>
            <p:cNvPr id="51" name="Legend4"/>
            <p:cNvSpPr>
              <a:spLocks noChangeArrowheads="1"/>
            </p:cNvSpPr>
            <p:nvPr/>
          </p:nvSpPr>
          <p:spPr bwMode="auto">
            <a:xfrm>
              <a:off x="8089899" y="1084266"/>
              <a:ext cx="437526" cy="162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0" fontAlgn="base">
                <a:spcBef>
                  <a:spcPct val="0"/>
                </a:spcBef>
                <a:spcAft>
                  <a:spcPct val="0"/>
                </a:spcAft>
                <a:buClr>
                  <a:srgbClr val="D90000"/>
                </a:buClr>
                <a:defRPr/>
              </a:pPr>
              <a:r>
                <a:rPr lang="en-US" sz="900" dirty="0">
                  <a:solidFill>
                    <a:srgbClr val="000000"/>
                  </a:solidFill>
                  <a:sym typeface="Calibri" panose="020F0502020204030204" pitchFamily="34" charset="0"/>
                </a:rPr>
                <a:t>Legend</a:t>
              </a:r>
            </a:p>
          </p:txBody>
        </p:sp>
        <p:sp>
          <p:nvSpPr>
            <p:cNvPr id="52" name="Legend5"/>
            <p:cNvSpPr>
              <a:spLocks noChangeArrowheads="1"/>
            </p:cNvSpPr>
            <p:nvPr/>
          </p:nvSpPr>
          <p:spPr bwMode="auto">
            <a:xfrm>
              <a:off x="8089899" y="1360491"/>
              <a:ext cx="437526" cy="162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0" fontAlgn="base">
                <a:spcBef>
                  <a:spcPct val="0"/>
                </a:spcBef>
                <a:spcAft>
                  <a:spcPct val="0"/>
                </a:spcAft>
                <a:buClr>
                  <a:srgbClr val="D90000"/>
                </a:buClr>
                <a:defRPr/>
              </a:pPr>
              <a:r>
                <a:rPr lang="en-US" sz="900" dirty="0">
                  <a:solidFill>
                    <a:srgbClr val="000000"/>
                  </a:solidFill>
                  <a:sym typeface="Calibri" panose="020F0502020204030204" pitchFamily="34" charset="0"/>
                </a:rPr>
                <a:t>Legend</a:t>
              </a:r>
            </a:p>
          </p:txBody>
        </p:sp>
      </p:grpSp>
      <p:grpSp>
        <p:nvGrpSpPr>
          <p:cNvPr id="67" name="Moon" hidden="1"/>
          <p:cNvGrpSpPr/>
          <p:nvPr>
            <p:custDataLst>
              <p:tags r:id="rId20"/>
            </p:custDataLst>
          </p:nvPr>
        </p:nvGrpSpPr>
        <p:grpSpPr bwMode="auto">
          <a:xfrm>
            <a:off x="7295415" y="1289218"/>
            <a:ext cx="188956" cy="211667"/>
            <a:chOff x="762000" y="1270000"/>
            <a:chExt cx="254000" cy="254000"/>
          </a:xfrm>
        </p:grpSpPr>
        <p:sp>
          <p:nvSpPr>
            <p:cNvPr id="68" name="Oval 67"/>
            <p:cNvSpPr/>
            <p:nvPr/>
          </p:nvSpPr>
          <p:spPr bwMode="auto">
            <a:xfrm>
              <a:off x="762000" y="1270000"/>
              <a:ext cx="254000" cy="254000"/>
            </a:xfrm>
            <a:prstGeom prst="ellipse">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defTabSz="699722" fontAlgn="base">
                <a:spcBef>
                  <a:spcPct val="0"/>
                </a:spcBef>
                <a:spcAft>
                  <a:spcPct val="0"/>
                </a:spcAft>
                <a:defRPr/>
              </a:pPr>
              <a:endParaRPr lang="en-US" sz="1050" dirty="0">
                <a:solidFill>
                  <a:srgbClr val="FFFFFF"/>
                </a:solidFill>
                <a:sym typeface="Calibri" panose="020F0502020204030204" pitchFamily="34" charset="0"/>
              </a:endParaRPr>
            </a:p>
          </p:txBody>
        </p:sp>
        <p:sp>
          <p:nvSpPr>
            <p:cNvPr id="69" name="Arc 68"/>
            <p:cNvSpPr/>
            <p:nvPr/>
          </p:nvSpPr>
          <p:spPr bwMode="auto">
            <a:xfrm>
              <a:off x="762000" y="1270000"/>
              <a:ext cx="254000" cy="254000"/>
            </a:xfrm>
            <a:prstGeom prst="arc">
              <a:avLst/>
            </a:prstGeom>
            <a:solidFill>
              <a:schemeClr val="bg2"/>
            </a:solidFill>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99722" fontAlgn="base">
                <a:spcBef>
                  <a:spcPct val="0"/>
                </a:spcBef>
                <a:spcAft>
                  <a:spcPct val="0"/>
                </a:spcAft>
                <a:defRPr/>
              </a:pPr>
              <a:endParaRPr lang="en-US" sz="1200" dirty="0">
                <a:solidFill>
                  <a:srgbClr val="000000"/>
                </a:solidFill>
                <a:sym typeface="Calibri" panose="020F0502020204030204" pitchFamily="34" charset="0"/>
              </a:endParaRPr>
            </a:p>
          </p:txBody>
        </p:sp>
      </p:grpSp>
      <p:grpSp>
        <p:nvGrpSpPr>
          <p:cNvPr id="4" name="Slide Elements" hidden="1"/>
          <p:cNvGrpSpPr>
            <a:grpSpLocks/>
          </p:cNvGrpSpPr>
          <p:nvPr/>
        </p:nvGrpSpPr>
        <p:grpSpPr bwMode="auto">
          <a:xfrm>
            <a:off x="1229512" y="5341839"/>
            <a:ext cx="7343629" cy="249728"/>
            <a:chOff x="119063" y="6449874"/>
            <a:chExt cx="8618537" cy="181510"/>
          </a:xfrm>
        </p:grpSpPr>
        <p:sp>
          <p:nvSpPr>
            <p:cNvPr id="13" name="4. Footnote"/>
            <p:cNvSpPr txBox="1">
              <a:spLocks noChangeArrowheads="1"/>
            </p:cNvSpPr>
            <p:nvPr/>
          </p:nvSpPr>
          <p:spPr bwMode="auto">
            <a:xfrm>
              <a:off x="119063" y="6449874"/>
              <a:ext cx="8618537" cy="770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53578" indent="-53578" fontAlgn="base">
                <a:spcBef>
                  <a:spcPct val="0"/>
                </a:spcBef>
                <a:spcAft>
                  <a:spcPct val="0"/>
                </a:spcAft>
                <a:defRPr lang="x-none"/>
              </a:pPr>
              <a:r>
                <a:rPr lang="en-US" sz="689" dirty="0">
                  <a:solidFill>
                    <a:srgbClr val="000000"/>
                  </a:solidFill>
                  <a:latin typeface="Calibri" panose="020F0502020204030204" pitchFamily="34" charset="0"/>
                  <a:sym typeface="Calibri" panose="020F0502020204030204" pitchFamily="34" charset="0"/>
                </a:rPr>
                <a:t>1 Footnote</a:t>
              </a:r>
            </a:p>
          </p:txBody>
        </p:sp>
        <p:sp>
          <p:nvSpPr>
            <p:cNvPr id="14" name="5. Source"/>
            <p:cNvSpPr>
              <a:spLocks noChangeArrowheads="1"/>
            </p:cNvSpPr>
            <p:nvPr/>
          </p:nvSpPr>
          <p:spPr bwMode="auto">
            <a:xfrm>
              <a:off x="119063" y="6554300"/>
              <a:ext cx="8618364" cy="770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00036" indent="-300036" defTabSz="671510" fontAlgn="base">
                <a:spcBef>
                  <a:spcPct val="0"/>
                </a:spcBef>
                <a:spcAft>
                  <a:spcPct val="0"/>
                </a:spcAft>
                <a:tabLst>
                  <a:tab pos="459580" algn="l"/>
                </a:tabLst>
                <a:defRPr/>
              </a:pPr>
              <a:r>
                <a:rPr lang="en-US" sz="689" dirty="0">
                  <a:solidFill>
                    <a:srgbClr val="000000"/>
                  </a:solidFill>
                  <a:sym typeface="Calibri" panose="020F0502020204030204" pitchFamily="34" charset="0"/>
                </a:rPr>
                <a:t>SOURCE : Source</a:t>
              </a:r>
            </a:p>
          </p:txBody>
        </p:sp>
      </p:grpSp>
      <p:sp>
        <p:nvSpPr>
          <p:cNvPr id="86" name="Rettangolo 9">
            <a:extLst>
              <a:ext uri="{FF2B5EF4-FFF2-40B4-BE49-F238E27FC236}">
                <a16:creationId xmlns:a16="http://schemas.microsoft.com/office/drawing/2014/main" id="{F1399F1A-6F8D-423F-8125-8D4847A42AFF}"/>
              </a:ext>
            </a:extLst>
          </p:cNvPr>
          <p:cNvSpPr/>
          <p:nvPr/>
        </p:nvSpPr>
        <p:spPr>
          <a:xfrm>
            <a:off x="8783339" y="1"/>
            <a:ext cx="361875" cy="5715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722" fontAlgn="base">
              <a:spcBef>
                <a:spcPct val="0"/>
              </a:spcBef>
              <a:spcAft>
                <a:spcPct val="0"/>
              </a:spcAft>
              <a:defRPr/>
            </a:pPr>
            <a:endParaRPr lang="it-IT" sz="1224">
              <a:solidFill>
                <a:srgbClr val="FFFFFF"/>
              </a:solidFill>
            </a:endParaRPr>
          </a:p>
        </p:txBody>
      </p:sp>
      <p:grpSp>
        <p:nvGrpSpPr>
          <p:cNvPr id="98" name="Group 4">
            <a:extLst>
              <a:ext uri="{FF2B5EF4-FFF2-40B4-BE49-F238E27FC236}">
                <a16:creationId xmlns:a16="http://schemas.microsoft.com/office/drawing/2014/main" id="{4F66F3EB-1150-47DF-B924-796E77377D7B}"/>
              </a:ext>
            </a:extLst>
          </p:cNvPr>
          <p:cNvGrpSpPr>
            <a:grpSpLocks noChangeAspect="1"/>
          </p:cNvGrpSpPr>
          <p:nvPr/>
        </p:nvGrpSpPr>
        <p:grpSpPr bwMode="auto">
          <a:xfrm>
            <a:off x="8835302" y="76887"/>
            <a:ext cx="264897" cy="199325"/>
            <a:chOff x="-560" y="-1287"/>
            <a:chExt cx="6379" cy="4320"/>
          </a:xfrm>
        </p:grpSpPr>
        <p:sp>
          <p:nvSpPr>
            <p:cNvPr id="99" name="AutoShape 3">
              <a:extLst>
                <a:ext uri="{FF2B5EF4-FFF2-40B4-BE49-F238E27FC236}">
                  <a16:creationId xmlns:a16="http://schemas.microsoft.com/office/drawing/2014/main" id="{D40E63AC-5A9B-4521-B5CA-C9ED04BA2B79}"/>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699722" fontAlgn="base">
                <a:spcBef>
                  <a:spcPct val="0"/>
                </a:spcBef>
                <a:spcAft>
                  <a:spcPct val="0"/>
                </a:spcAft>
                <a:defRPr/>
              </a:pPr>
              <a:endParaRPr lang="it-IT" sz="1224">
                <a:solidFill>
                  <a:srgbClr val="000000"/>
                </a:solidFill>
                <a:latin typeface="Arial" charset="0"/>
              </a:endParaRPr>
            </a:p>
          </p:txBody>
        </p:sp>
        <p:sp>
          <p:nvSpPr>
            <p:cNvPr id="100" name="Rectangle 5">
              <a:extLst>
                <a:ext uri="{FF2B5EF4-FFF2-40B4-BE49-F238E27FC236}">
                  <a16:creationId xmlns:a16="http://schemas.microsoft.com/office/drawing/2014/main" id="{9094E444-D7D0-46C8-A505-6D59A303380C}"/>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699722" fontAlgn="base">
                <a:spcBef>
                  <a:spcPct val="0"/>
                </a:spcBef>
                <a:spcAft>
                  <a:spcPct val="0"/>
                </a:spcAft>
                <a:defRPr/>
              </a:pPr>
              <a:endParaRPr lang="it-IT" sz="1224">
                <a:solidFill>
                  <a:srgbClr val="000000"/>
                </a:solidFill>
                <a:latin typeface="Arial" charset="0"/>
              </a:endParaRPr>
            </a:p>
          </p:txBody>
        </p:sp>
        <p:sp>
          <p:nvSpPr>
            <p:cNvPr id="101" name="Freeform 6">
              <a:extLst>
                <a:ext uri="{FF2B5EF4-FFF2-40B4-BE49-F238E27FC236}">
                  <a16:creationId xmlns:a16="http://schemas.microsoft.com/office/drawing/2014/main" id="{00BA6BE2-B07B-45C1-A24C-772387F5B351}"/>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699722" fontAlgn="base">
                <a:spcBef>
                  <a:spcPct val="0"/>
                </a:spcBef>
                <a:spcAft>
                  <a:spcPct val="0"/>
                </a:spcAft>
                <a:defRPr/>
              </a:pPr>
              <a:endParaRPr lang="it-IT" sz="1224">
                <a:solidFill>
                  <a:srgbClr val="000000"/>
                </a:solidFill>
                <a:latin typeface="Arial" charset="0"/>
              </a:endParaRPr>
            </a:p>
          </p:txBody>
        </p:sp>
        <p:sp>
          <p:nvSpPr>
            <p:cNvPr id="102" name="Freeform 7">
              <a:extLst>
                <a:ext uri="{FF2B5EF4-FFF2-40B4-BE49-F238E27FC236}">
                  <a16:creationId xmlns:a16="http://schemas.microsoft.com/office/drawing/2014/main" id="{EA246AE0-C69D-4C47-92BD-7C9E1654AAD6}"/>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699722" fontAlgn="base">
                <a:spcBef>
                  <a:spcPct val="0"/>
                </a:spcBef>
                <a:spcAft>
                  <a:spcPct val="0"/>
                </a:spcAft>
                <a:defRPr/>
              </a:pPr>
              <a:endParaRPr lang="it-IT" sz="1224">
                <a:solidFill>
                  <a:srgbClr val="000000"/>
                </a:solidFill>
                <a:latin typeface="Arial" charset="0"/>
              </a:endParaRPr>
            </a:p>
          </p:txBody>
        </p:sp>
        <p:sp>
          <p:nvSpPr>
            <p:cNvPr id="103" name="Freeform 8">
              <a:extLst>
                <a:ext uri="{FF2B5EF4-FFF2-40B4-BE49-F238E27FC236}">
                  <a16:creationId xmlns:a16="http://schemas.microsoft.com/office/drawing/2014/main" id="{8452FB28-BA78-4BCA-A413-C9B485A6B6B7}"/>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699722" fontAlgn="base">
                <a:spcBef>
                  <a:spcPct val="0"/>
                </a:spcBef>
                <a:spcAft>
                  <a:spcPct val="0"/>
                </a:spcAft>
                <a:defRPr/>
              </a:pPr>
              <a:endParaRPr lang="it-IT" sz="1224">
                <a:solidFill>
                  <a:srgbClr val="000000"/>
                </a:solidFill>
                <a:latin typeface="Arial" charset="0"/>
              </a:endParaRPr>
            </a:p>
          </p:txBody>
        </p:sp>
        <p:sp>
          <p:nvSpPr>
            <p:cNvPr id="104" name="Freeform 9">
              <a:extLst>
                <a:ext uri="{FF2B5EF4-FFF2-40B4-BE49-F238E27FC236}">
                  <a16:creationId xmlns:a16="http://schemas.microsoft.com/office/drawing/2014/main" id="{5CBF253E-2D8E-4BD1-B1A9-97B9B1A6FBEF}"/>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699722" fontAlgn="base">
                <a:spcBef>
                  <a:spcPct val="0"/>
                </a:spcBef>
                <a:spcAft>
                  <a:spcPct val="0"/>
                </a:spcAft>
                <a:defRPr/>
              </a:pPr>
              <a:endParaRPr lang="it-IT" sz="1224">
                <a:solidFill>
                  <a:srgbClr val="000000"/>
                </a:solidFill>
                <a:latin typeface="Arial" charset="0"/>
              </a:endParaRPr>
            </a:p>
          </p:txBody>
        </p:sp>
      </p:grpSp>
      <p:sp>
        <p:nvSpPr>
          <p:cNvPr id="63" name="Slide Number"/>
          <p:cNvSpPr txBox="1">
            <a:spLocks/>
          </p:cNvSpPr>
          <p:nvPr/>
        </p:nvSpPr>
        <p:spPr bwMode="auto">
          <a:xfrm>
            <a:off x="8835302" y="5467308"/>
            <a:ext cx="229890" cy="117725"/>
          </a:xfrm>
          <a:prstGeom prst="rect">
            <a:avLst/>
          </a:prstGeom>
        </p:spPr>
        <p:txBody>
          <a:bodyPr vert="horz" wrap="square" lIns="0" tIns="0" rIns="0" bIns="0" rtlCol="0" anchor="ctr">
            <a:spAutoFit/>
          </a:bodyPr>
          <a:lstStyle>
            <a:defPPr>
              <a:defRPr lang="x-none"/>
            </a:defPPr>
            <a:lvl1pPr>
              <a:defRPr lang="x-none" sz="1000" baseline="0">
                <a:latin typeface="+mn-lt"/>
              </a:defRPr>
            </a:lvl1pPr>
          </a:lstStyle>
          <a:p>
            <a:pPr algn="ctr" defTabSz="699722" fontAlgn="base">
              <a:spcBef>
                <a:spcPct val="0"/>
              </a:spcBef>
              <a:spcAft>
                <a:spcPct val="0"/>
              </a:spcAft>
              <a:defRPr/>
            </a:pPr>
            <a:fld id="{42C328C1-A84F-4A39-A664-DBA00541A8C6}" type="slidenum">
              <a:rPr lang="en-US" sz="765" smtClean="0">
                <a:solidFill>
                  <a:srgbClr val="FFFFFF"/>
                </a:solidFill>
                <a:sym typeface="Calibri" panose="020F0502020204030204" pitchFamily="34" charset="0"/>
              </a:rPr>
              <a:pPr algn="ctr" defTabSz="699722" fontAlgn="base">
                <a:spcBef>
                  <a:spcPct val="0"/>
                </a:spcBef>
                <a:spcAft>
                  <a:spcPct val="0"/>
                </a:spcAft>
                <a:defRPr/>
              </a:pPr>
              <a:t>‹N›</a:t>
            </a:fld>
            <a:endParaRPr lang="en-US" sz="765" dirty="0">
              <a:solidFill>
                <a:srgbClr val="FFFFFF"/>
              </a:solidFill>
              <a:sym typeface="Calibri" panose="020F0502020204030204" pitchFamily="34" charset="0"/>
            </a:endParaRPr>
          </a:p>
        </p:txBody>
      </p:sp>
      <p:grpSp>
        <p:nvGrpSpPr>
          <p:cNvPr id="66" name="McKSticker" hidden="1">
            <a:extLst>
              <a:ext uri="{FF2B5EF4-FFF2-40B4-BE49-F238E27FC236}">
                <a16:creationId xmlns:a16="http://schemas.microsoft.com/office/drawing/2014/main" id="{96625DAE-DA2D-43E7-BAEE-4AFB00A5EB38}"/>
              </a:ext>
            </a:extLst>
          </p:cNvPr>
          <p:cNvGrpSpPr/>
          <p:nvPr/>
        </p:nvGrpSpPr>
        <p:grpSpPr bwMode="gray">
          <a:xfrm>
            <a:off x="8186168" y="200719"/>
            <a:ext cx="415628" cy="168957"/>
            <a:chOff x="8197644" y="285750"/>
            <a:chExt cx="543131" cy="198712"/>
          </a:xfrm>
        </p:grpSpPr>
        <p:sp>
          <p:nvSpPr>
            <p:cNvPr id="70" name="StickerRectangle">
              <a:extLst>
                <a:ext uri="{FF2B5EF4-FFF2-40B4-BE49-F238E27FC236}">
                  <a16:creationId xmlns:a16="http://schemas.microsoft.com/office/drawing/2014/main" id="{9707832B-8320-4CDF-AB5F-F49F45384AB7}"/>
                </a:ext>
              </a:extLst>
            </p:cNvPr>
            <p:cNvSpPr>
              <a:spLocks noChangeArrowheads="1"/>
            </p:cNvSpPr>
            <p:nvPr/>
          </p:nvSpPr>
          <p:spPr bwMode="gray">
            <a:xfrm>
              <a:off x="8197644" y="285750"/>
              <a:ext cx="543131" cy="19871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685145" fontAlgn="base">
                <a:spcBef>
                  <a:spcPct val="0"/>
                </a:spcBef>
                <a:spcAft>
                  <a:spcPct val="0"/>
                </a:spcAft>
                <a:buClr>
                  <a:srgbClr val="002960"/>
                </a:buClr>
                <a:defRPr/>
              </a:pPr>
              <a:r>
                <a:rPr lang="en-US" sz="918" dirty="0">
                  <a:solidFill>
                    <a:srgbClr val="7F7F7F"/>
                  </a:solidFill>
                </a:rPr>
                <a:t>STICKER</a:t>
              </a:r>
            </a:p>
          </p:txBody>
        </p:sp>
        <p:cxnSp>
          <p:nvCxnSpPr>
            <p:cNvPr id="71" name="AutoShape 31">
              <a:extLst>
                <a:ext uri="{FF2B5EF4-FFF2-40B4-BE49-F238E27FC236}">
                  <a16:creationId xmlns:a16="http://schemas.microsoft.com/office/drawing/2014/main" id="{453502E3-738F-4254-ACA5-09A60681DD29}"/>
                </a:ext>
              </a:extLst>
            </p:cNvPr>
            <p:cNvCxnSpPr>
              <a:cxnSpLocks noChangeShapeType="1"/>
              <a:stCxn id="70" idx="2"/>
              <a:endCxn id="70" idx="4"/>
            </p:cNvCxnSpPr>
            <p:nvPr/>
          </p:nvCxnSpPr>
          <p:spPr bwMode="gray">
            <a:xfrm>
              <a:off x="8197644" y="285750"/>
              <a:ext cx="0" cy="198712"/>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72" name="AutoShape 32">
              <a:extLst>
                <a:ext uri="{FF2B5EF4-FFF2-40B4-BE49-F238E27FC236}">
                  <a16:creationId xmlns:a16="http://schemas.microsoft.com/office/drawing/2014/main" id="{C985702B-FF3A-46C5-832A-F1BDF19A86D1}"/>
                </a:ext>
              </a:extLst>
            </p:cNvPr>
            <p:cNvCxnSpPr>
              <a:cxnSpLocks noChangeShapeType="1"/>
              <a:stCxn id="70" idx="4"/>
              <a:endCxn id="70" idx="6"/>
            </p:cNvCxnSpPr>
            <p:nvPr/>
          </p:nvCxnSpPr>
          <p:spPr bwMode="gray">
            <a:xfrm>
              <a:off x="8197644" y="484462"/>
              <a:ext cx="543131"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6" name="MSIPCMContentMarking" descr="{&quot;HashCode&quot;:-764840278,&quot;Placement&quot;:&quot;Footer&quot;,&quot;Top&quot;:429.343,&quot;Left&quot;:235.551178,&quot;SlideWidth&quot;:720,&quot;SlideHeight&quot;:450}"/>
          <p:cNvSpPr txBox="1"/>
          <p:nvPr userDrawn="1"/>
        </p:nvSpPr>
        <p:spPr>
          <a:xfrm>
            <a:off x="2991500" y="5452656"/>
            <a:ext cx="3160999" cy="262344"/>
          </a:xfrm>
          <a:prstGeom prst="rect">
            <a:avLst/>
          </a:prstGeom>
          <a:noFill/>
        </p:spPr>
        <p:txBody>
          <a:bodyPr vert="horz" wrap="square" lIns="0" tIns="0" rIns="0" bIns="0" rtlCol="0" anchor="ctr" anchorCtr="1">
            <a:spAutoFit/>
          </a:bodyPr>
          <a:lstStyle/>
          <a:p>
            <a:pPr algn="ctr">
              <a:spcBef>
                <a:spcPts val="0"/>
              </a:spcBef>
              <a:spcAft>
                <a:spcPts val="0"/>
              </a:spcAft>
            </a:pPr>
            <a:r>
              <a:rPr lang="it-IT" sz="1000">
                <a:solidFill>
                  <a:srgbClr val="000000"/>
                </a:solidFill>
                <a:latin typeface="Calibri" panose="020F0502020204030204" pitchFamily="34" charset="0"/>
              </a:rPr>
              <a:t>Informazione ad uso interno - Internal use information</a:t>
            </a:r>
          </a:p>
        </p:txBody>
      </p:sp>
    </p:spTree>
    <p:extLst>
      <p:ext uri="{BB962C8B-B14F-4D97-AF65-F5344CB8AC3E}">
        <p14:creationId xmlns:p14="http://schemas.microsoft.com/office/powerpoint/2010/main" val="4236852707"/>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Lst>
  <p:hf sldNum="0" hdr="0" ftr="0" dt="0"/>
  <p:txStyles>
    <p:titleStyle>
      <a:lvl1pPr algn="l" defTabSz="671510" rtl="0" eaLnBrk="1" fontAlgn="base" hangingPunct="1">
        <a:spcBef>
          <a:spcPct val="0"/>
        </a:spcBef>
        <a:spcAft>
          <a:spcPct val="0"/>
        </a:spcAft>
        <a:tabLst>
          <a:tab pos="202405" algn="l"/>
        </a:tabLst>
        <a:defRPr lang="x-none" sz="2143" b="1" baseline="0">
          <a:solidFill>
            <a:schemeClr val="tx2"/>
          </a:solidFill>
          <a:latin typeface="Calibri" panose="020F0502020204030204" pitchFamily="34" charset="0"/>
          <a:ea typeface="+mj-ea"/>
          <a:cs typeface="+mj-cs"/>
          <a:sym typeface="Calibri" panose="020F0502020204030204" pitchFamily="34" charset="0"/>
        </a:defRPr>
      </a:lvl1pPr>
      <a:lvl2pPr algn="l" defTabSz="671510" rtl="0" eaLnBrk="1" fontAlgn="base" hangingPunct="1">
        <a:spcBef>
          <a:spcPct val="0"/>
        </a:spcBef>
        <a:spcAft>
          <a:spcPct val="0"/>
        </a:spcAft>
        <a:defRPr lang="x-none" sz="1425" b="1">
          <a:solidFill>
            <a:schemeClr val="tx2"/>
          </a:solidFill>
          <a:latin typeface="Arial" charset="0"/>
        </a:defRPr>
      </a:lvl2pPr>
      <a:lvl3pPr algn="l" defTabSz="671510" rtl="0" eaLnBrk="1" fontAlgn="base" hangingPunct="1">
        <a:spcBef>
          <a:spcPct val="0"/>
        </a:spcBef>
        <a:spcAft>
          <a:spcPct val="0"/>
        </a:spcAft>
        <a:defRPr lang="x-none" sz="1425" b="1">
          <a:solidFill>
            <a:schemeClr val="tx2"/>
          </a:solidFill>
          <a:latin typeface="Arial" charset="0"/>
        </a:defRPr>
      </a:lvl3pPr>
      <a:lvl4pPr algn="l" defTabSz="671510" rtl="0" eaLnBrk="1" fontAlgn="base" hangingPunct="1">
        <a:spcBef>
          <a:spcPct val="0"/>
        </a:spcBef>
        <a:spcAft>
          <a:spcPct val="0"/>
        </a:spcAft>
        <a:defRPr lang="x-none" sz="1425" b="1">
          <a:solidFill>
            <a:schemeClr val="tx2"/>
          </a:solidFill>
          <a:latin typeface="Arial" charset="0"/>
        </a:defRPr>
      </a:lvl4pPr>
      <a:lvl5pPr algn="l" defTabSz="671510" rtl="0" eaLnBrk="1" fontAlgn="base" hangingPunct="1">
        <a:spcBef>
          <a:spcPct val="0"/>
        </a:spcBef>
        <a:spcAft>
          <a:spcPct val="0"/>
        </a:spcAft>
        <a:defRPr lang="x-none" sz="1425" b="1">
          <a:solidFill>
            <a:schemeClr val="tx2"/>
          </a:solidFill>
          <a:latin typeface="Arial" charset="0"/>
        </a:defRPr>
      </a:lvl5pPr>
      <a:lvl6pPr marL="342899" algn="l" defTabSz="671510" rtl="0" eaLnBrk="1" fontAlgn="base" hangingPunct="1">
        <a:spcBef>
          <a:spcPct val="0"/>
        </a:spcBef>
        <a:spcAft>
          <a:spcPct val="0"/>
        </a:spcAft>
        <a:defRPr lang="x-none" sz="1425" b="1">
          <a:solidFill>
            <a:schemeClr val="tx2"/>
          </a:solidFill>
          <a:latin typeface="Arial" charset="0"/>
        </a:defRPr>
      </a:lvl6pPr>
      <a:lvl7pPr marL="685797" algn="l" defTabSz="671510" rtl="0" eaLnBrk="1" fontAlgn="base" hangingPunct="1">
        <a:spcBef>
          <a:spcPct val="0"/>
        </a:spcBef>
        <a:spcAft>
          <a:spcPct val="0"/>
        </a:spcAft>
        <a:defRPr lang="x-none" sz="1425" b="1">
          <a:solidFill>
            <a:schemeClr val="tx2"/>
          </a:solidFill>
          <a:latin typeface="Arial" charset="0"/>
        </a:defRPr>
      </a:lvl7pPr>
      <a:lvl8pPr marL="1028696" algn="l" defTabSz="671510" rtl="0" eaLnBrk="1" fontAlgn="base" hangingPunct="1">
        <a:spcBef>
          <a:spcPct val="0"/>
        </a:spcBef>
        <a:spcAft>
          <a:spcPct val="0"/>
        </a:spcAft>
        <a:defRPr lang="x-none" sz="1425" b="1">
          <a:solidFill>
            <a:schemeClr val="tx2"/>
          </a:solidFill>
          <a:latin typeface="Arial" charset="0"/>
        </a:defRPr>
      </a:lvl8pPr>
      <a:lvl9pPr marL="1371595" algn="l" defTabSz="671510" rtl="0" eaLnBrk="1" fontAlgn="base" hangingPunct="1">
        <a:spcBef>
          <a:spcPct val="0"/>
        </a:spcBef>
        <a:spcAft>
          <a:spcPct val="0"/>
        </a:spcAft>
        <a:defRPr lang="x-none" sz="1425" b="1">
          <a:solidFill>
            <a:schemeClr val="tx2"/>
          </a:solidFill>
          <a:latin typeface="Arial" charset="0"/>
        </a:defRPr>
      </a:lvl9pPr>
    </p:titleStyle>
    <p:bodyStyle>
      <a:lvl1pPr marL="0" indent="0" algn="l" defTabSz="685145" rtl="0" eaLnBrk="1" fontAlgn="base" latinLnBrk="0" hangingPunct="1">
        <a:lnSpc>
          <a:spcPct val="95000"/>
        </a:lnSpc>
        <a:spcBef>
          <a:spcPct val="0"/>
        </a:spcBef>
        <a:spcAft>
          <a:spcPct val="0"/>
        </a:spcAft>
        <a:buClr>
          <a:schemeClr val="tx2"/>
        </a:buClr>
        <a:buSzPct val="100000"/>
        <a:defRPr lang="en-US" sz="1378" baseline="0" dirty="0">
          <a:solidFill>
            <a:schemeClr val="tx1"/>
          </a:solidFill>
          <a:latin typeface="Calibri" panose="020F0502020204030204" pitchFamily="34" charset="0"/>
          <a:ea typeface="+mn-ea"/>
          <a:cs typeface="+mn-cs"/>
          <a:sym typeface="Calibri" panose="020F0502020204030204" pitchFamily="34" charset="0"/>
        </a:defRPr>
      </a:lvl1pPr>
      <a:lvl2pPr marL="137160" indent="-137160" algn="l" defTabSz="685145" rtl="0" eaLnBrk="1" fontAlgn="base" latinLnBrk="0" hangingPunct="1">
        <a:lnSpc>
          <a:spcPct val="95000"/>
        </a:lnSpc>
        <a:spcBef>
          <a:spcPct val="0"/>
        </a:spcBef>
        <a:spcAft>
          <a:spcPct val="0"/>
        </a:spcAft>
        <a:buClr>
          <a:schemeClr val="tx2"/>
        </a:buClr>
        <a:buSzPct val="100000"/>
        <a:buFont typeface="Arial" panose="020B0604020202020204" pitchFamily="34" charset="0"/>
        <a:buChar char="•"/>
        <a:defRPr lang="en-US" sz="1378" baseline="0" dirty="0">
          <a:solidFill>
            <a:schemeClr val="tx1"/>
          </a:solidFill>
          <a:latin typeface="Calibri" panose="020F0502020204030204" pitchFamily="34" charset="0"/>
          <a:ea typeface="+mn-ea"/>
          <a:cs typeface="+mn-cs"/>
          <a:sym typeface="Calibri" panose="020F0502020204030204" pitchFamily="34" charset="0"/>
        </a:defRPr>
      </a:lvl2pPr>
      <a:lvl3pPr marL="267461" indent="-137160" algn="l" defTabSz="685145" rtl="0" eaLnBrk="1" fontAlgn="base" latinLnBrk="0" hangingPunct="1">
        <a:lnSpc>
          <a:spcPct val="95000"/>
        </a:lnSpc>
        <a:spcBef>
          <a:spcPct val="0"/>
        </a:spcBef>
        <a:spcAft>
          <a:spcPct val="0"/>
        </a:spcAft>
        <a:buClr>
          <a:schemeClr val="tx2"/>
        </a:buClr>
        <a:buSzPct val="100000"/>
        <a:buFont typeface="Calibri" panose="020F0502020204030204" pitchFamily="34" charset="0"/>
        <a:buChar char="–"/>
        <a:defRPr lang="en-US" sz="1378" baseline="0" dirty="0">
          <a:solidFill>
            <a:schemeClr val="tx1"/>
          </a:solidFill>
          <a:latin typeface="Calibri" panose="020F0502020204030204" pitchFamily="34" charset="0"/>
          <a:ea typeface="+mn-ea"/>
          <a:cs typeface="+mn-cs"/>
          <a:sym typeface="Calibri" panose="020F0502020204030204" pitchFamily="34" charset="0"/>
        </a:defRPr>
      </a:lvl3pPr>
      <a:lvl4pPr marL="404621" indent="-137160" algn="l" defTabSz="685145" rtl="0" eaLnBrk="1" fontAlgn="base" latinLnBrk="0" hangingPunct="1">
        <a:lnSpc>
          <a:spcPct val="95000"/>
        </a:lnSpc>
        <a:spcBef>
          <a:spcPct val="0"/>
        </a:spcBef>
        <a:spcAft>
          <a:spcPct val="0"/>
        </a:spcAft>
        <a:buClr>
          <a:schemeClr val="tx2"/>
        </a:buClr>
        <a:buSzPct val="100000"/>
        <a:buFont typeface="Arial" panose="020B0604020202020204" pitchFamily="34" charset="0"/>
        <a:buChar char="▫"/>
        <a:defRPr lang="en-US" sz="1378" baseline="0" dirty="0">
          <a:solidFill>
            <a:schemeClr val="tx1"/>
          </a:solidFill>
          <a:latin typeface="Calibri" panose="020F0502020204030204" pitchFamily="34" charset="0"/>
          <a:ea typeface="+mn-ea"/>
          <a:cs typeface="+mn-cs"/>
          <a:sym typeface="Calibri" panose="020F0502020204030204" pitchFamily="34" charset="0"/>
        </a:defRPr>
      </a:lvl4pPr>
      <a:lvl5pPr marL="541780" indent="-137160" algn="l" defTabSz="685145" rtl="0" eaLnBrk="1" fontAlgn="base" latinLnBrk="0" hangingPunct="1">
        <a:lnSpc>
          <a:spcPct val="95000"/>
        </a:lnSpc>
        <a:spcBef>
          <a:spcPct val="0"/>
        </a:spcBef>
        <a:spcAft>
          <a:spcPct val="0"/>
        </a:spcAft>
        <a:buClr>
          <a:schemeClr val="tx2"/>
        </a:buClr>
        <a:buSzPct val="100000"/>
        <a:buFont typeface="Calibri" panose="020F0502020204030204" pitchFamily="34" charset="0"/>
        <a:buChar char="∙"/>
        <a:defRPr lang="en-US" sz="1378" baseline="0" dirty="0">
          <a:solidFill>
            <a:schemeClr val="tx1"/>
          </a:solidFill>
          <a:latin typeface="Calibri" panose="020F0502020204030204" pitchFamily="34" charset="0"/>
          <a:ea typeface="+mn-ea"/>
          <a:cs typeface="+mn-cs"/>
          <a:sym typeface="Calibri" panose="020F0502020204030204" pitchFamily="34" charset="0"/>
        </a:defRPr>
      </a:lvl5pPr>
      <a:lvl6pPr marL="562354" indent="-97631" algn="l" defTabSz="671510"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6pPr>
      <a:lvl7pPr marL="562354" indent="-97631" algn="l" defTabSz="671510"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7pPr>
      <a:lvl8pPr marL="562354" indent="-97631" algn="l" defTabSz="671510"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8pPr>
      <a:lvl9pPr marL="562354" indent="-97631" algn="l" defTabSz="671510"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9pPr>
    </p:bodyStyle>
    <p:otherStyle>
      <a:defPPr>
        <a:defRPr lang="x-none"/>
      </a:defPPr>
      <a:lvl1pPr marL="0" algn="l" defTabSz="685797" rtl="0" eaLnBrk="1" latinLnBrk="0" hangingPunct="1">
        <a:defRPr lang="x-none" sz="1350" kern="1200">
          <a:solidFill>
            <a:schemeClr val="tx1"/>
          </a:solidFill>
          <a:latin typeface="+mn-lt"/>
          <a:ea typeface="+mn-ea"/>
          <a:cs typeface="+mn-cs"/>
        </a:defRPr>
      </a:lvl1pPr>
      <a:lvl2pPr marL="342899" algn="l" defTabSz="685797" rtl="0" eaLnBrk="1" latinLnBrk="0" hangingPunct="1">
        <a:defRPr lang="x-none" sz="1350" kern="1200">
          <a:solidFill>
            <a:schemeClr val="tx1"/>
          </a:solidFill>
          <a:latin typeface="+mn-lt"/>
          <a:ea typeface="+mn-ea"/>
          <a:cs typeface="+mn-cs"/>
        </a:defRPr>
      </a:lvl2pPr>
      <a:lvl3pPr marL="685797" algn="l" defTabSz="685797" rtl="0" eaLnBrk="1" latinLnBrk="0" hangingPunct="1">
        <a:defRPr lang="x-none" sz="1350" kern="1200">
          <a:solidFill>
            <a:schemeClr val="tx1"/>
          </a:solidFill>
          <a:latin typeface="+mn-lt"/>
          <a:ea typeface="+mn-ea"/>
          <a:cs typeface="+mn-cs"/>
        </a:defRPr>
      </a:lvl3pPr>
      <a:lvl4pPr marL="1028696" algn="l" defTabSz="685797" rtl="0" eaLnBrk="1" latinLnBrk="0" hangingPunct="1">
        <a:defRPr lang="x-none" sz="1350" kern="1200">
          <a:solidFill>
            <a:schemeClr val="tx1"/>
          </a:solidFill>
          <a:latin typeface="+mn-lt"/>
          <a:ea typeface="+mn-ea"/>
          <a:cs typeface="+mn-cs"/>
        </a:defRPr>
      </a:lvl4pPr>
      <a:lvl5pPr marL="1371595" algn="l" defTabSz="685797" rtl="0" eaLnBrk="1" latinLnBrk="0" hangingPunct="1">
        <a:defRPr lang="x-none" sz="1350" kern="1200">
          <a:solidFill>
            <a:schemeClr val="tx1"/>
          </a:solidFill>
          <a:latin typeface="+mn-lt"/>
          <a:ea typeface="+mn-ea"/>
          <a:cs typeface="+mn-cs"/>
        </a:defRPr>
      </a:lvl5pPr>
      <a:lvl6pPr marL="1714493" algn="l" defTabSz="685797" rtl="0" eaLnBrk="1" latinLnBrk="0" hangingPunct="1">
        <a:defRPr lang="x-none" sz="1350" kern="1200">
          <a:solidFill>
            <a:schemeClr val="tx1"/>
          </a:solidFill>
          <a:latin typeface="+mn-lt"/>
          <a:ea typeface="+mn-ea"/>
          <a:cs typeface="+mn-cs"/>
        </a:defRPr>
      </a:lvl6pPr>
      <a:lvl7pPr marL="2057392" algn="l" defTabSz="685797" rtl="0" eaLnBrk="1" latinLnBrk="0" hangingPunct="1">
        <a:defRPr lang="x-none" sz="1350" kern="1200">
          <a:solidFill>
            <a:schemeClr val="tx1"/>
          </a:solidFill>
          <a:latin typeface="+mn-lt"/>
          <a:ea typeface="+mn-ea"/>
          <a:cs typeface="+mn-cs"/>
        </a:defRPr>
      </a:lvl7pPr>
      <a:lvl8pPr marL="2400290" algn="l" defTabSz="685797" rtl="0" eaLnBrk="1" latinLnBrk="0" hangingPunct="1">
        <a:defRPr lang="x-none" sz="1350" kern="1200">
          <a:solidFill>
            <a:schemeClr val="tx1"/>
          </a:solidFill>
          <a:latin typeface="+mn-lt"/>
          <a:ea typeface="+mn-ea"/>
          <a:cs typeface="+mn-cs"/>
        </a:defRPr>
      </a:lvl8pPr>
      <a:lvl9pPr marL="2743190" algn="l" defTabSz="685797" rtl="0" eaLnBrk="1" latinLnBrk="0" hangingPunct="1">
        <a:defRPr lang="x-none" sz="13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30.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30.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chart" Target="../charts/chart10.xml"/><Relationship Id="rId1" Type="http://schemas.openxmlformats.org/officeDocument/2006/relationships/slideLayout" Target="../slideLayouts/slideLayout30.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chart" Target="../charts/chart11.xml"/><Relationship Id="rId1" Type="http://schemas.openxmlformats.org/officeDocument/2006/relationships/slideLayout" Target="../slideLayouts/slideLayout30.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14.xml.rels><?xml version="1.0" encoding="UTF-8" standalone="yes"?>
<Relationships xmlns="http://schemas.openxmlformats.org/package/2006/relationships"><Relationship Id="rId8" Type="http://schemas.microsoft.com/office/2007/relationships/diagramDrawing" Target="../diagrams/drawing14.xml"/><Relationship Id="rId3" Type="http://schemas.openxmlformats.org/officeDocument/2006/relationships/image" Target="../media/image25.png"/><Relationship Id="rId7" Type="http://schemas.openxmlformats.org/officeDocument/2006/relationships/diagramColors" Target="../diagrams/colors14.xml"/><Relationship Id="rId2" Type="http://schemas.openxmlformats.org/officeDocument/2006/relationships/notesSlide" Target="../notesSlides/notesSlide3.xml"/><Relationship Id="rId1" Type="http://schemas.openxmlformats.org/officeDocument/2006/relationships/slideLayout" Target="../slideLayouts/slideLayout15.xml"/><Relationship Id="rId6" Type="http://schemas.openxmlformats.org/officeDocument/2006/relationships/diagramQuickStyle" Target="../diagrams/quickStyle14.xml"/><Relationship Id="rId5" Type="http://schemas.openxmlformats.org/officeDocument/2006/relationships/diagramLayout" Target="../diagrams/layout14.xml"/><Relationship Id="rId4" Type="http://schemas.openxmlformats.org/officeDocument/2006/relationships/diagramData" Target="../diagrams/data14.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15.xml"/><Relationship Id="rId2" Type="http://schemas.openxmlformats.org/officeDocument/2006/relationships/diagramData" Target="../diagrams/data15.xml"/><Relationship Id="rId1" Type="http://schemas.openxmlformats.org/officeDocument/2006/relationships/slideLayout" Target="../slideLayouts/slideLayout14.xml"/><Relationship Id="rId6" Type="http://schemas.microsoft.com/office/2007/relationships/diagramDrawing" Target="../diagrams/drawing15.xml"/><Relationship Id="rId5" Type="http://schemas.openxmlformats.org/officeDocument/2006/relationships/diagramColors" Target="../diagrams/colors15.xml"/><Relationship Id="rId4" Type="http://schemas.openxmlformats.org/officeDocument/2006/relationships/diagramQuickStyle" Target="../diagrams/quickStyle15.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16.xml"/><Relationship Id="rId2" Type="http://schemas.openxmlformats.org/officeDocument/2006/relationships/diagramData" Target="../diagrams/data16.xml"/><Relationship Id="rId1" Type="http://schemas.openxmlformats.org/officeDocument/2006/relationships/slideLayout" Target="../slideLayouts/slideLayout14.xml"/><Relationship Id="rId6" Type="http://schemas.microsoft.com/office/2007/relationships/diagramDrawing" Target="../diagrams/drawing16.xml"/><Relationship Id="rId5" Type="http://schemas.openxmlformats.org/officeDocument/2006/relationships/diagramColors" Target="../diagrams/colors16.xml"/><Relationship Id="rId4" Type="http://schemas.openxmlformats.org/officeDocument/2006/relationships/diagramQuickStyle" Target="../diagrams/quickStyle16.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17.xml"/><Relationship Id="rId2" Type="http://schemas.openxmlformats.org/officeDocument/2006/relationships/diagramData" Target="../diagrams/data17.xml"/><Relationship Id="rId1" Type="http://schemas.openxmlformats.org/officeDocument/2006/relationships/slideLayout" Target="../slideLayouts/slideLayout14.xml"/><Relationship Id="rId6" Type="http://schemas.microsoft.com/office/2007/relationships/diagramDrawing" Target="../diagrams/drawing17.xml"/><Relationship Id="rId5" Type="http://schemas.openxmlformats.org/officeDocument/2006/relationships/diagramColors" Target="../diagrams/colors17.xml"/><Relationship Id="rId4" Type="http://schemas.openxmlformats.org/officeDocument/2006/relationships/diagramQuickStyle" Target="../diagrams/quickStyle17.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18.xml"/><Relationship Id="rId2" Type="http://schemas.openxmlformats.org/officeDocument/2006/relationships/diagramData" Target="../diagrams/data18.xml"/><Relationship Id="rId1" Type="http://schemas.openxmlformats.org/officeDocument/2006/relationships/slideLayout" Target="../slideLayouts/slideLayout14.xml"/><Relationship Id="rId6" Type="http://schemas.microsoft.com/office/2007/relationships/diagramDrawing" Target="../diagrams/drawing18.xml"/><Relationship Id="rId5" Type="http://schemas.openxmlformats.org/officeDocument/2006/relationships/diagramColors" Target="../diagrams/colors18.xml"/><Relationship Id="rId4" Type="http://schemas.openxmlformats.org/officeDocument/2006/relationships/diagramQuickStyle" Target="../diagrams/quickStyle18.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19.xml"/><Relationship Id="rId7" Type="http://schemas.microsoft.com/office/2007/relationships/diagramDrawing" Target="../diagrams/drawing19.xml"/><Relationship Id="rId2" Type="http://schemas.openxmlformats.org/officeDocument/2006/relationships/image" Target="../media/image17.jpg"/><Relationship Id="rId1" Type="http://schemas.openxmlformats.org/officeDocument/2006/relationships/slideLayout" Target="../slideLayouts/slideLayout16.xml"/><Relationship Id="rId6" Type="http://schemas.openxmlformats.org/officeDocument/2006/relationships/diagramColors" Target="../diagrams/colors19.xml"/><Relationship Id="rId5" Type="http://schemas.openxmlformats.org/officeDocument/2006/relationships/diagramQuickStyle" Target="../diagrams/quickStyle19.xml"/><Relationship Id="rId4" Type="http://schemas.openxmlformats.org/officeDocument/2006/relationships/diagramLayout" Target="../diagrams/layout19.xml"/></Relationships>
</file>

<file path=ppt/slides/_rels/slide2.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7.jpg"/><Relationship Id="rId7" Type="http://schemas.openxmlformats.org/officeDocument/2006/relationships/diagramColors" Target="../diagrams/colors1.xml"/><Relationship Id="rId2" Type="http://schemas.openxmlformats.org/officeDocument/2006/relationships/notesSlide" Target="../notesSlides/notesSlide1.xml"/><Relationship Id="rId1" Type="http://schemas.openxmlformats.org/officeDocument/2006/relationships/slideLayout" Target="../slideLayouts/slideLayout30.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20.xml"/><Relationship Id="rId2" Type="http://schemas.openxmlformats.org/officeDocument/2006/relationships/diagramData" Target="../diagrams/data20.xml"/><Relationship Id="rId1" Type="http://schemas.openxmlformats.org/officeDocument/2006/relationships/slideLayout" Target="../slideLayouts/slideLayout16.xml"/><Relationship Id="rId6" Type="http://schemas.microsoft.com/office/2007/relationships/diagramDrawing" Target="../diagrams/drawing20.xml"/><Relationship Id="rId5" Type="http://schemas.openxmlformats.org/officeDocument/2006/relationships/diagramColors" Target="../diagrams/colors20.xml"/><Relationship Id="rId4" Type="http://schemas.openxmlformats.org/officeDocument/2006/relationships/diagramQuickStyle" Target="../diagrams/quickStyle20.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21.xml"/><Relationship Id="rId2" Type="http://schemas.openxmlformats.org/officeDocument/2006/relationships/diagramData" Target="../diagrams/data21.xml"/><Relationship Id="rId1" Type="http://schemas.openxmlformats.org/officeDocument/2006/relationships/slideLayout" Target="../slideLayouts/slideLayout16.xml"/><Relationship Id="rId6" Type="http://schemas.microsoft.com/office/2007/relationships/diagramDrawing" Target="../diagrams/drawing21.xml"/><Relationship Id="rId5" Type="http://schemas.openxmlformats.org/officeDocument/2006/relationships/diagramColors" Target="../diagrams/colors21.xml"/><Relationship Id="rId4" Type="http://schemas.openxmlformats.org/officeDocument/2006/relationships/diagramQuickStyle" Target="../diagrams/quickStyle21.xml"/></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22.xml"/><Relationship Id="rId2" Type="http://schemas.openxmlformats.org/officeDocument/2006/relationships/diagramData" Target="../diagrams/data22.xml"/><Relationship Id="rId1" Type="http://schemas.openxmlformats.org/officeDocument/2006/relationships/slideLayout" Target="../slideLayouts/slideLayout16.xml"/><Relationship Id="rId6" Type="http://schemas.microsoft.com/office/2007/relationships/diagramDrawing" Target="../diagrams/drawing22.xml"/><Relationship Id="rId5" Type="http://schemas.openxmlformats.org/officeDocument/2006/relationships/diagramColors" Target="../diagrams/colors22.xml"/><Relationship Id="rId4" Type="http://schemas.openxmlformats.org/officeDocument/2006/relationships/diagramQuickStyle" Target="../diagrams/quickStyle22.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23.xml"/><Relationship Id="rId2" Type="http://schemas.openxmlformats.org/officeDocument/2006/relationships/diagramData" Target="../diagrams/data23.xml"/><Relationship Id="rId1" Type="http://schemas.openxmlformats.org/officeDocument/2006/relationships/slideLayout" Target="../slideLayouts/slideLayout16.xml"/><Relationship Id="rId6" Type="http://schemas.microsoft.com/office/2007/relationships/diagramDrawing" Target="../diagrams/drawing23.xml"/><Relationship Id="rId5" Type="http://schemas.openxmlformats.org/officeDocument/2006/relationships/diagramColors" Target="../diagrams/colors23.xml"/><Relationship Id="rId4" Type="http://schemas.openxmlformats.org/officeDocument/2006/relationships/diagramQuickStyle" Target="../diagrams/quickStyle23.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24.xml"/><Relationship Id="rId2" Type="http://schemas.openxmlformats.org/officeDocument/2006/relationships/diagramData" Target="../diagrams/data24.xml"/><Relationship Id="rId1" Type="http://schemas.openxmlformats.org/officeDocument/2006/relationships/slideLayout" Target="../slideLayouts/slideLayout16.xml"/><Relationship Id="rId6" Type="http://schemas.microsoft.com/office/2007/relationships/diagramDrawing" Target="../diagrams/drawing24.xml"/><Relationship Id="rId5" Type="http://schemas.openxmlformats.org/officeDocument/2006/relationships/diagramColors" Target="../diagrams/colors24.xml"/><Relationship Id="rId4" Type="http://schemas.openxmlformats.org/officeDocument/2006/relationships/diagramQuickStyle" Target="../diagrams/quickStyle24.xml"/></Relationships>
</file>

<file path=ppt/slides/_rels/slide26.xml.rels><?xml version="1.0" encoding="UTF-8" standalone="yes"?>
<Relationships xmlns="http://schemas.openxmlformats.org/package/2006/relationships"><Relationship Id="rId3" Type="http://schemas.openxmlformats.org/officeDocument/2006/relationships/diagramLayout" Target="../diagrams/layout25.xml"/><Relationship Id="rId2" Type="http://schemas.openxmlformats.org/officeDocument/2006/relationships/diagramData" Target="../diagrams/data25.xml"/><Relationship Id="rId1" Type="http://schemas.openxmlformats.org/officeDocument/2006/relationships/slideLayout" Target="../slideLayouts/slideLayout16.xml"/><Relationship Id="rId6" Type="http://schemas.microsoft.com/office/2007/relationships/diagramDrawing" Target="../diagrams/drawing25.xml"/><Relationship Id="rId5" Type="http://schemas.openxmlformats.org/officeDocument/2006/relationships/diagramColors" Target="../diagrams/colors25.xml"/><Relationship Id="rId4" Type="http://schemas.openxmlformats.org/officeDocument/2006/relationships/diagramQuickStyle" Target="../diagrams/quickStyle25.xml"/></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26.xml"/><Relationship Id="rId2" Type="http://schemas.openxmlformats.org/officeDocument/2006/relationships/diagramData" Target="../diagrams/data26.xml"/><Relationship Id="rId1" Type="http://schemas.openxmlformats.org/officeDocument/2006/relationships/slideLayout" Target="../slideLayouts/slideLayout30.xml"/><Relationship Id="rId6" Type="http://schemas.microsoft.com/office/2007/relationships/diagramDrawing" Target="../diagrams/drawing26.xml"/><Relationship Id="rId5" Type="http://schemas.openxmlformats.org/officeDocument/2006/relationships/diagramColors" Target="../diagrams/colors26.xml"/><Relationship Id="rId4" Type="http://schemas.openxmlformats.org/officeDocument/2006/relationships/diagramQuickStyle" Target="../diagrams/quickStyle26.xml"/></Relationships>
</file>

<file path=ppt/slides/_rels/slide28.xml.rels><?xml version="1.0" encoding="UTF-8" standalone="yes"?>
<Relationships xmlns="http://schemas.openxmlformats.org/package/2006/relationships"><Relationship Id="rId8" Type="http://schemas.microsoft.com/office/2007/relationships/diagramDrawing" Target="../diagrams/drawing27.xml"/><Relationship Id="rId3" Type="http://schemas.openxmlformats.org/officeDocument/2006/relationships/chart" Target="../charts/chart13.xml"/><Relationship Id="rId7" Type="http://schemas.openxmlformats.org/officeDocument/2006/relationships/diagramColors" Target="../diagrams/colors27.xml"/><Relationship Id="rId2" Type="http://schemas.openxmlformats.org/officeDocument/2006/relationships/chart" Target="../charts/chart12.xml"/><Relationship Id="rId1" Type="http://schemas.openxmlformats.org/officeDocument/2006/relationships/slideLayout" Target="../slideLayouts/slideLayout21.xml"/><Relationship Id="rId6" Type="http://schemas.openxmlformats.org/officeDocument/2006/relationships/diagramQuickStyle" Target="../diagrams/quickStyle27.xml"/><Relationship Id="rId5" Type="http://schemas.openxmlformats.org/officeDocument/2006/relationships/diagramLayout" Target="../diagrams/layout27.xml"/><Relationship Id="rId4" Type="http://schemas.openxmlformats.org/officeDocument/2006/relationships/diagramData" Target="../diagrams/data27.xml"/></Relationships>
</file>

<file path=ppt/slides/_rels/slide29.xml.rels><?xml version="1.0" encoding="UTF-8" standalone="yes"?>
<Relationships xmlns="http://schemas.openxmlformats.org/package/2006/relationships"><Relationship Id="rId8" Type="http://schemas.openxmlformats.org/officeDocument/2006/relationships/diagramColors" Target="../diagrams/colors28.xml"/><Relationship Id="rId3" Type="http://schemas.openxmlformats.org/officeDocument/2006/relationships/slideLayout" Target="../slideLayouts/slideLayout31.xml"/><Relationship Id="rId7" Type="http://schemas.openxmlformats.org/officeDocument/2006/relationships/diagramQuickStyle" Target="../diagrams/quickStyle28.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diagramLayout" Target="../diagrams/layout28.xml"/><Relationship Id="rId5" Type="http://schemas.openxmlformats.org/officeDocument/2006/relationships/diagramData" Target="../diagrams/data28.xml"/><Relationship Id="rId4" Type="http://schemas.openxmlformats.org/officeDocument/2006/relationships/image" Target="../media/image26.png"/><Relationship Id="rId9" Type="http://schemas.microsoft.com/office/2007/relationships/diagramDrawing" Target="../diagrams/drawing28.xml"/></Relationships>
</file>

<file path=ppt/slides/_rels/slide3.xml.rels><?xml version="1.0" encoding="UTF-8" standalone="yes"?>
<Relationships xmlns="http://schemas.openxmlformats.org/package/2006/relationships"><Relationship Id="rId8" Type="http://schemas.openxmlformats.org/officeDocument/2006/relationships/diagramQuickStyle" Target="../diagrams/quickStyle2.xml"/><Relationship Id="rId13" Type="http://schemas.openxmlformats.org/officeDocument/2006/relationships/diagramQuickStyle" Target="../diagrams/quickStyle3.xml"/><Relationship Id="rId3" Type="http://schemas.openxmlformats.org/officeDocument/2006/relationships/chart" Target="../charts/chart1.xml"/><Relationship Id="rId7" Type="http://schemas.openxmlformats.org/officeDocument/2006/relationships/diagramLayout" Target="../diagrams/layout2.xml"/><Relationship Id="rId12" Type="http://schemas.openxmlformats.org/officeDocument/2006/relationships/diagramLayout" Target="../diagrams/layout3.xml"/><Relationship Id="rId2" Type="http://schemas.openxmlformats.org/officeDocument/2006/relationships/notesSlide" Target="../notesSlides/notesSlide2.xml"/><Relationship Id="rId1" Type="http://schemas.openxmlformats.org/officeDocument/2006/relationships/slideLayout" Target="../slideLayouts/slideLayout30.xml"/><Relationship Id="rId6" Type="http://schemas.openxmlformats.org/officeDocument/2006/relationships/diagramData" Target="../diagrams/data2.xml"/><Relationship Id="rId11" Type="http://schemas.openxmlformats.org/officeDocument/2006/relationships/diagramData" Target="../diagrams/data3.xml"/><Relationship Id="rId5" Type="http://schemas.openxmlformats.org/officeDocument/2006/relationships/chart" Target="../charts/chart3.xml"/><Relationship Id="rId15" Type="http://schemas.microsoft.com/office/2007/relationships/diagramDrawing" Target="../diagrams/drawing3.xml"/><Relationship Id="rId10" Type="http://schemas.microsoft.com/office/2007/relationships/diagramDrawing" Target="../diagrams/drawing2.xml"/><Relationship Id="rId4" Type="http://schemas.openxmlformats.org/officeDocument/2006/relationships/chart" Target="../charts/chart2.xml"/><Relationship Id="rId9" Type="http://schemas.openxmlformats.org/officeDocument/2006/relationships/diagramColors" Target="../diagrams/colors2.xml"/><Relationship Id="rId14" Type="http://schemas.openxmlformats.org/officeDocument/2006/relationships/diagramColors" Target="../diagrams/colors3.xml"/></Relationships>
</file>

<file path=ppt/slides/_rels/slide30.xml.rels><?xml version="1.0" encoding="UTF-8" standalone="yes"?>
<Relationships xmlns="http://schemas.openxmlformats.org/package/2006/relationships"><Relationship Id="rId8" Type="http://schemas.openxmlformats.org/officeDocument/2006/relationships/diagramLayout" Target="../diagrams/layout29.xml"/><Relationship Id="rId3" Type="http://schemas.openxmlformats.org/officeDocument/2006/relationships/tags" Target="../tags/tag26.xml"/><Relationship Id="rId7" Type="http://schemas.openxmlformats.org/officeDocument/2006/relationships/diagramData" Target="../diagrams/data29.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27.jpeg"/><Relationship Id="rId11" Type="http://schemas.microsoft.com/office/2007/relationships/diagramDrawing" Target="../diagrams/drawing29.xml"/><Relationship Id="rId5" Type="http://schemas.openxmlformats.org/officeDocument/2006/relationships/slideLayout" Target="../slideLayouts/slideLayout31.xml"/><Relationship Id="rId10" Type="http://schemas.openxmlformats.org/officeDocument/2006/relationships/diagramColors" Target="../diagrams/colors29.xml"/><Relationship Id="rId4" Type="http://schemas.openxmlformats.org/officeDocument/2006/relationships/tags" Target="../tags/tag27.xml"/><Relationship Id="rId9" Type="http://schemas.openxmlformats.org/officeDocument/2006/relationships/diagramQuickStyle" Target="../diagrams/quickStyle29.xml"/></Relationships>
</file>

<file path=ppt/slides/_rels/slide31.xml.rels><?xml version="1.0" encoding="UTF-8" standalone="yes"?>
<Relationships xmlns="http://schemas.openxmlformats.org/package/2006/relationships"><Relationship Id="rId8" Type="http://schemas.openxmlformats.org/officeDocument/2006/relationships/image" Target="../media/image28.jpeg"/><Relationship Id="rId13" Type="http://schemas.microsoft.com/office/2007/relationships/diagramDrawing" Target="../diagrams/drawing30.xml"/><Relationship Id="rId3" Type="http://schemas.openxmlformats.org/officeDocument/2006/relationships/tags" Target="../tags/tag30.xml"/><Relationship Id="rId7" Type="http://schemas.openxmlformats.org/officeDocument/2006/relationships/slideLayout" Target="../slideLayouts/slideLayout31.xml"/><Relationship Id="rId12" Type="http://schemas.openxmlformats.org/officeDocument/2006/relationships/diagramColors" Target="../diagrams/colors30.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tags" Target="../tags/tag33.xml"/><Relationship Id="rId11" Type="http://schemas.openxmlformats.org/officeDocument/2006/relationships/diagramQuickStyle" Target="../diagrams/quickStyle30.xml"/><Relationship Id="rId5" Type="http://schemas.openxmlformats.org/officeDocument/2006/relationships/tags" Target="../tags/tag32.xml"/><Relationship Id="rId10" Type="http://schemas.openxmlformats.org/officeDocument/2006/relationships/diagramLayout" Target="../diagrams/layout30.xml"/><Relationship Id="rId4" Type="http://schemas.openxmlformats.org/officeDocument/2006/relationships/tags" Target="../tags/tag31.xml"/><Relationship Id="rId9" Type="http://schemas.openxmlformats.org/officeDocument/2006/relationships/diagramData" Target="../diagrams/data30.xml"/></Relationships>
</file>

<file path=ppt/slides/_rels/slide32.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tags" Target="../tags/tag46.xml"/><Relationship Id="rId18" Type="http://schemas.openxmlformats.org/officeDocument/2006/relationships/tags" Target="../tags/tag51.xml"/><Relationship Id="rId26" Type="http://schemas.openxmlformats.org/officeDocument/2006/relationships/diagramQuickStyle" Target="../diagrams/quickStyle31.xml"/><Relationship Id="rId3" Type="http://schemas.openxmlformats.org/officeDocument/2006/relationships/tags" Target="../tags/tag36.xml"/><Relationship Id="rId21" Type="http://schemas.openxmlformats.org/officeDocument/2006/relationships/tags" Target="../tags/tag54.xml"/><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tags" Target="../tags/tag50.xml"/><Relationship Id="rId25" Type="http://schemas.openxmlformats.org/officeDocument/2006/relationships/diagramLayout" Target="../diagrams/layout31.xml"/><Relationship Id="rId2" Type="http://schemas.openxmlformats.org/officeDocument/2006/relationships/tags" Target="../tags/tag35.xml"/><Relationship Id="rId16" Type="http://schemas.openxmlformats.org/officeDocument/2006/relationships/tags" Target="../tags/tag49.xml"/><Relationship Id="rId20" Type="http://schemas.openxmlformats.org/officeDocument/2006/relationships/tags" Target="../tags/tag53.xml"/><Relationship Id="rId1" Type="http://schemas.openxmlformats.org/officeDocument/2006/relationships/tags" Target="../tags/tag34.xml"/><Relationship Id="rId6" Type="http://schemas.openxmlformats.org/officeDocument/2006/relationships/tags" Target="../tags/tag39.xml"/><Relationship Id="rId11" Type="http://schemas.openxmlformats.org/officeDocument/2006/relationships/tags" Target="../tags/tag44.xml"/><Relationship Id="rId24" Type="http://schemas.openxmlformats.org/officeDocument/2006/relationships/diagramData" Target="../diagrams/data31.xml"/><Relationship Id="rId5" Type="http://schemas.openxmlformats.org/officeDocument/2006/relationships/tags" Target="../tags/tag38.xml"/><Relationship Id="rId15" Type="http://schemas.openxmlformats.org/officeDocument/2006/relationships/tags" Target="../tags/tag48.xml"/><Relationship Id="rId23" Type="http://schemas.openxmlformats.org/officeDocument/2006/relationships/image" Target="../media/image29.jpeg"/><Relationship Id="rId28" Type="http://schemas.microsoft.com/office/2007/relationships/diagramDrawing" Target="../diagrams/drawing31.xml"/><Relationship Id="rId10" Type="http://schemas.openxmlformats.org/officeDocument/2006/relationships/tags" Target="../tags/tag43.xml"/><Relationship Id="rId19" Type="http://schemas.openxmlformats.org/officeDocument/2006/relationships/tags" Target="../tags/tag52.xml"/><Relationship Id="rId4" Type="http://schemas.openxmlformats.org/officeDocument/2006/relationships/tags" Target="../tags/tag37.xml"/><Relationship Id="rId9" Type="http://schemas.openxmlformats.org/officeDocument/2006/relationships/tags" Target="../tags/tag42.xml"/><Relationship Id="rId14" Type="http://schemas.openxmlformats.org/officeDocument/2006/relationships/tags" Target="../tags/tag47.xml"/><Relationship Id="rId22" Type="http://schemas.openxmlformats.org/officeDocument/2006/relationships/slideLayout" Target="../slideLayouts/slideLayout31.xml"/><Relationship Id="rId27" Type="http://schemas.openxmlformats.org/officeDocument/2006/relationships/diagramColors" Target="../diagrams/colors31.xml"/></Relationships>
</file>

<file path=ppt/slides/_rels/slide33.xml.rels><?xml version="1.0" encoding="UTF-8" standalone="yes"?>
<Relationships xmlns="http://schemas.openxmlformats.org/package/2006/relationships"><Relationship Id="rId3" Type="http://schemas.openxmlformats.org/officeDocument/2006/relationships/diagramData" Target="../diagrams/data32.xml"/><Relationship Id="rId7" Type="http://schemas.microsoft.com/office/2007/relationships/diagramDrawing" Target="../diagrams/drawing32.xml"/><Relationship Id="rId2" Type="http://schemas.openxmlformats.org/officeDocument/2006/relationships/chart" Target="../charts/chart14.xml"/><Relationship Id="rId1" Type="http://schemas.openxmlformats.org/officeDocument/2006/relationships/slideLayout" Target="../slideLayouts/slideLayout30.xml"/><Relationship Id="rId6" Type="http://schemas.openxmlformats.org/officeDocument/2006/relationships/diagramColors" Target="../diagrams/colors32.xml"/><Relationship Id="rId5" Type="http://schemas.openxmlformats.org/officeDocument/2006/relationships/diagramQuickStyle" Target="../diagrams/quickStyle32.xml"/><Relationship Id="rId4" Type="http://schemas.openxmlformats.org/officeDocument/2006/relationships/diagramLayout" Target="../diagrams/layout32.xml"/></Relationships>
</file>

<file path=ppt/slides/_rels/slide4.xml.rels><?xml version="1.0" encoding="UTF-8" standalone="yes"?>
<Relationships xmlns="http://schemas.openxmlformats.org/package/2006/relationships"><Relationship Id="rId8" Type="http://schemas.openxmlformats.org/officeDocument/2006/relationships/image" Target="../media/image24.png"/><Relationship Id="rId13" Type="http://schemas.microsoft.com/office/2007/relationships/diagramDrawing" Target="../diagrams/drawing4.xml"/><Relationship Id="rId3" Type="http://schemas.openxmlformats.org/officeDocument/2006/relationships/image" Target="../media/image19.png"/><Relationship Id="rId7" Type="http://schemas.openxmlformats.org/officeDocument/2006/relationships/image" Target="../media/image23.png"/><Relationship Id="rId12" Type="http://schemas.openxmlformats.org/officeDocument/2006/relationships/diagramColors" Target="../diagrams/colors4.xml"/><Relationship Id="rId2" Type="http://schemas.openxmlformats.org/officeDocument/2006/relationships/image" Target="../media/image18.png"/><Relationship Id="rId1" Type="http://schemas.openxmlformats.org/officeDocument/2006/relationships/slideLayout" Target="../slideLayouts/slideLayout30.xml"/><Relationship Id="rId6" Type="http://schemas.openxmlformats.org/officeDocument/2006/relationships/image" Target="../media/image22.png"/><Relationship Id="rId11" Type="http://schemas.openxmlformats.org/officeDocument/2006/relationships/diagramQuickStyle" Target="../diagrams/quickStyle4.xml"/><Relationship Id="rId5" Type="http://schemas.openxmlformats.org/officeDocument/2006/relationships/image" Target="../media/image21.png"/><Relationship Id="rId10" Type="http://schemas.openxmlformats.org/officeDocument/2006/relationships/diagramLayout" Target="../diagrams/layout4.xml"/><Relationship Id="rId4" Type="http://schemas.openxmlformats.org/officeDocument/2006/relationships/image" Target="../media/image20.png"/><Relationship Id="rId9" Type="http://schemas.openxmlformats.org/officeDocument/2006/relationships/diagramData" Target="../diagrams/data4.xml"/></Relationships>
</file>

<file path=ppt/slides/_rels/slide5.xml.rels><?xml version="1.0" encoding="UTF-8" standalone="yes"?>
<Relationships xmlns="http://schemas.openxmlformats.org/package/2006/relationships"><Relationship Id="rId8" Type="http://schemas.openxmlformats.org/officeDocument/2006/relationships/diagramQuickStyle" Target="../diagrams/quickStyle5.xml"/><Relationship Id="rId3" Type="http://schemas.openxmlformats.org/officeDocument/2006/relationships/chart" Target="../charts/chart5.xml"/><Relationship Id="rId7" Type="http://schemas.openxmlformats.org/officeDocument/2006/relationships/diagramLayout" Target="../diagrams/layout5.xml"/><Relationship Id="rId2" Type="http://schemas.openxmlformats.org/officeDocument/2006/relationships/chart" Target="../charts/chart4.xml"/><Relationship Id="rId1" Type="http://schemas.openxmlformats.org/officeDocument/2006/relationships/slideLayout" Target="../slideLayouts/slideLayout30.xml"/><Relationship Id="rId6" Type="http://schemas.openxmlformats.org/officeDocument/2006/relationships/diagramData" Target="../diagrams/data5.xml"/><Relationship Id="rId5" Type="http://schemas.openxmlformats.org/officeDocument/2006/relationships/chart" Target="../charts/chart7.xml"/><Relationship Id="rId10" Type="http://schemas.microsoft.com/office/2007/relationships/diagramDrawing" Target="../diagrams/drawing5.xml"/><Relationship Id="rId4" Type="http://schemas.openxmlformats.org/officeDocument/2006/relationships/chart" Target="../charts/chart6.xml"/><Relationship Id="rId9" Type="http://schemas.openxmlformats.org/officeDocument/2006/relationships/diagramColors" Target="../diagrams/colors5.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chart" Target="../charts/chart8.xml"/><Relationship Id="rId1" Type="http://schemas.openxmlformats.org/officeDocument/2006/relationships/slideLayout" Target="../slideLayouts/slideLayout30.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chart" Target="../charts/chart9.xml"/><Relationship Id="rId1" Type="http://schemas.openxmlformats.org/officeDocument/2006/relationships/slideLayout" Target="../slideLayouts/slideLayout30.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image" Target="../media/image17.jpg"/><Relationship Id="rId1" Type="http://schemas.openxmlformats.org/officeDocument/2006/relationships/slideLayout" Target="../slideLayouts/slideLayout30.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30.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z="4000" dirty="0"/>
              <a:t>Struttura Territoriale Lazio </a:t>
            </a:r>
          </a:p>
        </p:txBody>
      </p:sp>
      <p:sp>
        <p:nvSpPr>
          <p:cNvPr id="3" name="Segnaposto testo 2"/>
          <p:cNvSpPr>
            <a:spLocks noGrp="1"/>
          </p:cNvSpPr>
          <p:nvPr>
            <p:ph type="body" sz="quarter" idx="10"/>
          </p:nvPr>
        </p:nvSpPr>
        <p:spPr>
          <a:xfrm>
            <a:off x="4056361" y="1689608"/>
            <a:ext cx="4440883" cy="1077969"/>
          </a:xfrm>
        </p:spPr>
        <p:txBody>
          <a:bodyPr/>
          <a:lstStyle/>
          <a:p>
            <a:r>
              <a:rPr lang="it-IT" dirty="0"/>
              <a:t>Presentazione </a:t>
            </a:r>
            <a:r>
              <a:rPr lang="it-IT" dirty="0" err="1"/>
              <a:t>Unindustria</a:t>
            </a:r>
            <a:endParaRPr lang="it-IT" dirty="0"/>
          </a:p>
        </p:txBody>
      </p:sp>
      <p:sp>
        <p:nvSpPr>
          <p:cNvPr id="4" name="Segnaposto testo 3"/>
          <p:cNvSpPr>
            <a:spLocks noGrp="1"/>
          </p:cNvSpPr>
          <p:nvPr>
            <p:ph type="body" sz="quarter" idx="11"/>
          </p:nvPr>
        </p:nvSpPr>
        <p:spPr>
          <a:xfrm>
            <a:off x="7326457" y="2190017"/>
            <a:ext cx="1165160" cy="268723"/>
          </a:xfrm>
        </p:spPr>
        <p:txBody>
          <a:bodyPr/>
          <a:lstStyle/>
          <a:p>
            <a:r>
              <a:rPr lang="it-IT" dirty="0">
                <a:solidFill>
                  <a:srgbClr val="FF0000"/>
                </a:solidFill>
              </a:rPr>
              <a:t>Maggio 2022</a:t>
            </a:r>
          </a:p>
        </p:txBody>
      </p:sp>
    </p:spTree>
    <p:extLst>
      <p:ext uri="{BB962C8B-B14F-4D97-AF65-F5344CB8AC3E}">
        <p14:creationId xmlns:p14="http://schemas.microsoft.com/office/powerpoint/2010/main" val="42052772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ttangolo arrotondato 5"/>
          <p:cNvSpPr/>
          <p:nvPr/>
        </p:nvSpPr>
        <p:spPr>
          <a:xfrm>
            <a:off x="1257022" y="1090915"/>
            <a:ext cx="2043293" cy="509694"/>
          </a:xfrm>
          <a:prstGeom prst="roundRect">
            <a:avLst/>
          </a:prstGeom>
          <a:solidFill>
            <a:schemeClr val="bg1">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914263"/>
            <a:r>
              <a:rPr lang="it-IT" sz="1600" b="1" dirty="0">
                <a:solidFill>
                  <a:schemeClr val="bg1">
                    <a:lumMod val="50000"/>
                  </a:schemeClr>
                </a:solidFill>
                <a:latin typeface="+mj-lt"/>
              </a:rPr>
              <a:t>DI PROSSIMO AVVIO</a:t>
            </a:r>
          </a:p>
        </p:txBody>
      </p:sp>
      <p:sp>
        <p:nvSpPr>
          <p:cNvPr id="7" name="Shape 455"/>
          <p:cNvSpPr>
            <a:spLocks noChangeAspect="1"/>
          </p:cNvSpPr>
          <p:nvPr/>
        </p:nvSpPr>
        <p:spPr>
          <a:xfrm>
            <a:off x="379973" y="888263"/>
            <a:ext cx="940925" cy="914999"/>
          </a:xfrm>
          <a:prstGeom prst="ellipse">
            <a:avLst/>
          </a:prstGeom>
          <a:ln w="57150"/>
        </p:spPr>
        <p:style>
          <a:lnRef idx="2">
            <a:schemeClr val="accent4"/>
          </a:lnRef>
          <a:fillRef idx="1">
            <a:schemeClr val="lt1"/>
          </a:fillRef>
          <a:effectRef idx="0">
            <a:schemeClr val="accent4"/>
          </a:effectRef>
          <a:fontRef idx="minor">
            <a:schemeClr val="dk1"/>
          </a:fontRef>
        </p:style>
        <p:txBody>
          <a:bodyPr wrap="square" lIns="0" tIns="108000" rIns="0" bIns="0" numCol="1" anchor="ctr">
            <a:noAutofit/>
          </a:bodyPr>
          <a:lstStyle/>
          <a:p>
            <a:pPr algn="ctr">
              <a:lnSpc>
                <a:spcPts val="1500"/>
              </a:lnSpc>
              <a:defRPr sz="3000" b="1">
                <a:solidFill>
                  <a:srgbClr val="1C4598"/>
                </a:solidFill>
                <a:latin typeface="Arial"/>
                <a:ea typeface="Arial"/>
                <a:cs typeface="Arial"/>
                <a:sym typeface="Arial"/>
              </a:defRPr>
            </a:pPr>
            <a:r>
              <a:rPr lang="it-IT" sz="2200" dirty="0">
                <a:solidFill>
                  <a:schemeClr val="tx1">
                    <a:lumMod val="65000"/>
                    <a:lumOff val="35000"/>
                  </a:schemeClr>
                </a:solidFill>
                <a:latin typeface="+mj-lt"/>
              </a:rPr>
              <a:t>123,9</a:t>
            </a:r>
            <a:endParaRPr sz="2200" dirty="0">
              <a:solidFill>
                <a:schemeClr val="tx1">
                  <a:lumMod val="65000"/>
                  <a:lumOff val="35000"/>
                </a:schemeClr>
              </a:solidFill>
              <a:latin typeface="+mj-lt"/>
            </a:endParaRPr>
          </a:p>
        </p:txBody>
      </p:sp>
      <p:sp>
        <p:nvSpPr>
          <p:cNvPr id="9" name="Rettangolo 8"/>
          <p:cNvSpPr/>
          <p:nvPr/>
        </p:nvSpPr>
        <p:spPr>
          <a:xfrm>
            <a:off x="2776705" y="777056"/>
            <a:ext cx="3713774" cy="369332"/>
          </a:xfrm>
          <a:prstGeom prst="rect">
            <a:avLst/>
          </a:prstGeom>
        </p:spPr>
        <p:txBody>
          <a:bodyPr wrap="none">
            <a:spAutoFit/>
          </a:bodyPr>
          <a:lstStyle/>
          <a:p>
            <a:r>
              <a:rPr lang="it-IT" dirty="0">
                <a:solidFill>
                  <a:srgbClr val="C00000"/>
                </a:solidFill>
              </a:rPr>
              <a:t>Principali interventi di Prossimo Avvio</a:t>
            </a:r>
          </a:p>
        </p:txBody>
      </p:sp>
      <p:sp>
        <p:nvSpPr>
          <p:cNvPr id="10" name="CasellaDiTesto 9"/>
          <p:cNvSpPr txBox="1"/>
          <p:nvPr/>
        </p:nvSpPr>
        <p:spPr>
          <a:xfrm>
            <a:off x="379973" y="1775709"/>
            <a:ext cx="1468582" cy="276999"/>
          </a:xfrm>
          <a:prstGeom prst="rect">
            <a:avLst/>
          </a:prstGeom>
          <a:noFill/>
        </p:spPr>
        <p:txBody>
          <a:bodyPr wrap="square" rtlCol="0">
            <a:spAutoFit/>
          </a:bodyPr>
          <a:lstStyle/>
          <a:p>
            <a:r>
              <a:rPr lang="it-IT" sz="1200" b="1" dirty="0"/>
              <a:t>€/milioni</a:t>
            </a:r>
          </a:p>
        </p:txBody>
      </p:sp>
      <p:graphicFrame>
        <p:nvGraphicFramePr>
          <p:cNvPr id="3" name="Tabella 2"/>
          <p:cNvGraphicFramePr>
            <a:graphicFrameLocks noGrp="1"/>
          </p:cNvGraphicFramePr>
          <p:nvPr>
            <p:extLst>
              <p:ext uri="{D42A27DB-BD31-4B8C-83A1-F6EECF244321}">
                <p14:modId xmlns:p14="http://schemas.microsoft.com/office/powerpoint/2010/main" val="2292457085"/>
              </p:ext>
            </p:extLst>
          </p:nvPr>
        </p:nvGraphicFramePr>
        <p:xfrm>
          <a:off x="1257022" y="1699935"/>
          <a:ext cx="6924452" cy="3683341"/>
        </p:xfrm>
        <a:graphic>
          <a:graphicData uri="http://schemas.openxmlformats.org/drawingml/2006/table">
            <a:tbl>
              <a:tblPr/>
              <a:tblGrid>
                <a:gridCol w="868051">
                  <a:extLst>
                    <a:ext uri="{9D8B030D-6E8A-4147-A177-3AD203B41FA5}">
                      <a16:colId xmlns:a16="http://schemas.microsoft.com/office/drawing/2014/main" val="20000"/>
                    </a:ext>
                  </a:extLst>
                </a:gridCol>
                <a:gridCol w="478925">
                  <a:extLst>
                    <a:ext uri="{9D8B030D-6E8A-4147-A177-3AD203B41FA5}">
                      <a16:colId xmlns:a16="http://schemas.microsoft.com/office/drawing/2014/main" val="20001"/>
                    </a:ext>
                  </a:extLst>
                </a:gridCol>
                <a:gridCol w="728365">
                  <a:extLst>
                    <a:ext uri="{9D8B030D-6E8A-4147-A177-3AD203B41FA5}">
                      <a16:colId xmlns:a16="http://schemas.microsoft.com/office/drawing/2014/main" val="20002"/>
                    </a:ext>
                  </a:extLst>
                </a:gridCol>
                <a:gridCol w="478925">
                  <a:extLst>
                    <a:ext uri="{9D8B030D-6E8A-4147-A177-3AD203B41FA5}">
                      <a16:colId xmlns:a16="http://schemas.microsoft.com/office/drawing/2014/main" val="20003"/>
                    </a:ext>
                  </a:extLst>
                </a:gridCol>
                <a:gridCol w="3691710">
                  <a:extLst>
                    <a:ext uri="{9D8B030D-6E8A-4147-A177-3AD203B41FA5}">
                      <a16:colId xmlns:a16="http://schemas.microsoft.com/office/drawing/2014/main" val="20004"/>
                    </a:ext>
                  </a:extLst>
                </a:gridCol>
                <a:gridCol w="678476">
                  <a:extLst>
                    <a:ext uri="{9D8B030D-6E8A-4147-A177-3AD203B41FA5}">
                      <a16:colId xmlns:a16="http://schemas.microsoft.com/office/drawing/2014/main" val="20005"/>
                    </a:ext>
                  </a:extLst>
                </a:gridCol>
              </a:tblGrid>
              <a:tr h="352345">
                <a:tc gridSpan="6">
                  <a:txBody>
                    <a:bodyPr/>
                    <a:lstStyle/>
                    <a:p>
                      <a:pPr algn="ctr" fontAlgn="ctr"/>
                      <a:r>
                        <a:rPr lang="it-IT" sz="900" b="1" i="0" u="none" strike="noStrike" dirty="0">
                          <a:solidFill>
                            <a:srgbClr val="FFFFFF"/>
                          </a:solidFill>
                          <a:effectLst/>
                          <a:latin typeface="Calibri" panose="020F0502020204030204" pitchFamily="34" charset="0"/>
                        </a:rPr>
                        <a:t>PRINCIPALI INTERVENTI DI PROSSIMO AVVIO</a:t>
                      </a:r>
                    </a:p>
                  </a:txBody>
                  <a:tcPr marL="7021" marR="7021" marT="70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DC002E"/>
                    </a:solidFill>
                  </a:tcPr>
                </a:tc>
                <a:tc hMerge="1">
                  <a:txBody>
                    <a:bodyPr/>
                    <a:lstStyle/>
                    <a:p>
                      <a:endParaRPr lang="it-IT"/>
                    </a:p>
                  </a:txBody>
                  <a:tcPr/>
                </a:tc>
                <a:tc hMerge="1">
                  <a:txBody>
                    <a:bodyPr/>
                    <a:lstStyle/>
                    <a:p>
                      <a:endParaRPr lang="it-IT"/>
                    </a:p>
                  </a:txBody>
                  <a:tcPr/>
                </a:tc>
                <a:tc hMerge="1">
                  <a:txBody>
                    <a:bodyPr/>
                    <a:lstStyle/>
                    <a:p>
                      <a:endParaRPr lang="it-IT"/>
                    </a:p>
                  </a:txBody>
                  <a:tcPr/>
                </a:tc>
                <a:tc hMerge="1">
                  <a:txBody>
                    <a:bodyPr/>
                    <a:lstStyle/>
                    <a:p>
                      <a:endParaRPr lang="it-IT"/>
                    </a:p>
                  </a:txBody>
                  <a:tcPr/>
                </a:tc>
                <a:tc hMerge="1">
                  <a:txBody>
                    <a:bodyPr/>
                    <a:lstStyle/>
                    <a:p>
                      <a:endParaRPr lang="it-IT"/>
                    </a:p>
                  </a:txBody>
                  <a:tcPr/>
                </a:tc>
                <a:extLst>
                  <a:ext uri="{0D108BD9-81ED-4DB2-BD59-A6C34878D82A}">
                    <a16:rowId xmlns:a16="http://schemas.microsoft.com/office/drawing/2014/main" val="10000"/>
                  </a:ext>
                </a:extLst>
              </a:tr>
              <a:tr h="352345">
                <a:tc>
                  <a:txBody>
                    <a:bodyPr/>
                    <a:lstStyle/>
                    <a:p>
                      <a:pPr algn="ctr" fontAlgn="ctr"/>
                      <a:r>
                        <a:rPr lang="it-IT" sz="700" b="1" i="0" u="none" strike="noStrike">
                          <a:solidFill>
                            <a:srgbClr val="FFFFFF"/>
                          </a:solidFill>
                          <a:effectLst/>
                          <a:latin typeface="Calibri" panose="020F0502020204030204" pitchFamily="34" charset="0"/>
                        </a:rPr>
                        <a:t>Prog.</a:t>
                      </a:r>
                    </a:p>
                  </a:txBody>
                  <a:tcPr marL="7021" marR="7021" marT="7021" marB="0" anchor="ctr">
                    <a:lnL w="6350" cap="flat" cmpd="sng" algn="ctr">
                      <a:solidFill>
                        <a:srgbClr val="A6A6A6"/>
                      </a:solidFill>
                      <a:prstDash val="solid"/>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002E"/>
                    </a:solidFill>
                  </a:tcPr>
                </a:tc>
                <a:tc>
                  <a:txBody>
                    <a:bodyPr/>
                    <a:lstStyle/>
                    <a:p>
                      <a:pPr algn="ctr" fontAlgn="ctr"/>
                      <a:r>
                        <a:rPr lang="it-IT" sz="700" b="1" i="0" u="none" strike="noStrike">
                          <a:solidFill>
                            <a:srgbClr val="FFFFFF"/>
                          </a:solidFill>
                          <a:effectLst/>
                          <a:latin typeface="Calibri" panose="020F0502020204030204" pitchFamily="34" charset="0"/>
                        </a:rPr>
                        <a:t>ST</a:t>
                      </a:r>
                    </a:p>
                  </a:txBody>
                  <a:tcPr marL="7021" marR="7021" marT="7021" marB="0" anchor="ctr">
                    <a:lnL w="6350" cap="flat" cmpd="sng" algn="ctr">
                      <a:solidFill>
                        <a:srgbClr val="A6A6A6"/>
                      </a:solidFill>
                      <a:prstDash val="solid"/>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002E"/>
                    </a:solidFill>
                  </a:tcPr>
                </a:tc>
                <a:tc>
                  <a:txBody>
                    <a:bodyPr/>
                    <a:lstStyle/>
                    <a:p>
                      <a:pPr algn="ctr" fontAlgn="ctr"/>
                      <a:r>
                        <a:rPr lang="it-IT" sz="700" b="1" i="0" u="none" strike="noStrike">
                          <a:solidFill>
                            <a:srgbClr val="FFFFFF"/>
                          </a:solidFill>
                          <a:effectLst/>
                          <a:latin typeface="Calibri" panose="020F0502020204030204" pitchFamily="34" charset="0"/>
                        </a:rPr>
                        <a:t>Tipologia</a:t>
                      </a:r>
                    </a:p>
                  </a:txBody>
                  <a:tcPr marL="7021" marR="7021" marT="7021" marB="0" anchor="ctr">
                    <a:lnL w="6350" cap="flat" cmpd="sng" algn="ctr">
                      <a:solidFill>
                        <a:srgbClr val="A6A6A6"/>
                      </a:solidFill>
                      <a:prstDash val="solid"/>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002E"/>
                    </a:solidFill>
                  </a:tcPr>
                </a:tc>
                <a:tc>
                  <a:txBody>
                    <a:bodyPr/>
                    <a:lstStyle/>
                    <a:p>
                      <a:pPr algn="ctr" fontAlgn="ctr"/>
                      <a:r>
                        <a:rPr lang="it-IT" sz="700" b="1" i="0" u="none" strike="noStrike">
                          <a:solidFill>
                            <a:srgbClr val="FFFFFF"/>
                          </a:solidFill>
                          <a:effectLst/>
                          <a:latin typeface="Calibri" panose="020F0502020204030204" pitchFamily="34" charset="0"/>
                        </a:rPr>
                        <a:t>Strada</a:t>
                      </a:r>
                    </a:p>
                  </a:txBody>
                  <a:tcPr marL="7021" marR="7021" marT="7021" marB="0" anchor="ctr">
                    <a:lnL w="6350" cap="flat" cmpd="sng" algn="ctr">
                      <a:solidFill>
                        <a:srgbClr val="A6A6A6"/>
                      </a:solidFill>
                      <a:prstDash val="solid"/>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002E"/>
                    </a:solidFill>
                  </a:tcPr>
                </a:tc>
                <a:tc>
                  <a:txBody>
                    <a:bodyPr/>
                    <a:lstStyle/>
                    <a:p>
                      <a:pPr algn="ctr" fontAlgn="ctr"/>
                      <a:r>
                        <a:rPr lang="it-IT" sz="700" b="1" i="0" u="none" strike="noStrike">
                          <a:solidFill>
                            <a:srgbClr val="FFFFFF"/>
                          </a:solidFill>
                          <a:effectLst/>
                          <a:latin typeface="Calibri" panose="020F0502020204030204" pitchFamily="34" charset="0"/>
                        </a:rPr>
                        <a:t>Titolo</a:t>
                      </a:r>
                    </a:p>
                  </a:txBody>
                  <a:tcPr marL="7021" marR="7021" marT="7021" marB="0" anchor="ctr">
                    <a:lnL w="6350" cap="flat" cmpd="sng" algn="ctr">
                      <a:solidFill>
                        <a:srgbClr val="A6A6A6"/>
                      </a:solidFill>
                      <a:prstDash val="solid"/>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002E"/>
                    </a:solidFill>
                  </a:tcPr>
                </a:tc>
                <a:tc>
                  <a:txBody>
                    <a:bodyPr/>
                    <a:lstStyle/>
                    <a:p>
                      <a:pPr algn="ctr" fontAlgn="ctr"/>
                      <a:r>
                        <a:rPr lang="it-IT" sz="700" b="1" i="0" u="none" strike="noStrike">
                          <a:solidFill>
                            <a:srgbClr val="FFFFFF"/>
                          </a:solidFill>
                          <a:effectLst/>
                          <a:latin typeface="Calibri" panose="020F0502020204030204" pitchFamily="34" charset="0"/>
                        </a:rPr>
                        <a:t>Investimento</a:t>
                      </a:r>
                      <a:br>
                        <a:rPr lang="it-IT" sz="700" b="1" i="0" u="none" strike="noStrike">
                          <a:solidFill>
                            <a:srgbClr val="FFFFFF"/>
                          </a:solidFill>
                          <a:effectLst/>
                          <a:latin typeface="Calibri" panose="020F0502020204030204" pitchFamily="34" charset="0"/>
                        </a:rPr>
                      </a:br>
                      <a:r>
                        <a:rPr lang="it-IT" sz="700" b="1" i="0" u="none" strike="noStrike">
                          <a:solidFill>
                            <a:srgbClr val="FFFFFF"/>
                          </a:solidFill>
                          <a:effectLst/>
                          <a:latin typeface="Calibri" panose="020F0502020204030204" pitchFamily="34" charset="0"/>
                        </a:rPr>
                        <a:t>(€/Milioni)</a:t>
                      </a:r>
                    </a:p>
                  </a:txBody>
                  <a:tcPr marL="7021" marR="7021" marT="7021" marB="0" anchor="ctr">
                    <a:lnL w="6350" cap="flat" cmpd="sng" algn="ctr">
                      <a:solidFill>
                        <a:srgbClr val="A6A6A6"/>
                      </a:solidFill>
                      <a:prstDash val="solid"/>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002E"/>
                    </a:solidFill>
                  </a:tcPr>
                </a:tc>
                <a:extLst>
                  <a:ext uri="{0D108BD9-81ED-4DB2-BD59-A6C34878D82A}">
                    <a16:rowId xmlns:a16="http://schemas.microsoft.com/office/drawing/2014/main" val="10001"/>
                  </a:ext>
                </a:extLst>
              </a:tr>
              <a:tr h="453511">
                <a:tc>
                  <a:txBody>
                    <a:bodyPr/>
                    <a:lstStyle/>
                    <a:p>
                      <a:pPr algn="ctr" fontAlgn="ctr"/>
                      <a:r>
                        <a:rPr lang="it-IT" sz="800" b="0" i="0" u="none" strike="noStrike">
                          <a:solidFill>
                            <a:srgbClr val="000000"/>
                          </a:solidFill>
                          <a:effectLst/>
                          <a:latin typeface="Calibri" panose="020F0502020204030204" pitchFamily="34" charset="0"/>
                        </a:rPr>
                        <a:t>1</a:t>
                      </a:r>
                    </a:p>
                  </a:txBody>
                  <a:tcPr marL="7021" marR="7021" marT="70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800" b="0" i="0" u="none" strike="noStrike">
                          <a:solidFill>
                            <a:srgbClr val="000000"/>
                          </a:solidFill>
                          <a:effectLst/>
                          <a:latin typeface="Calibri" panose="020F0502020204030204" pitchFamily="34" charset="0"/>
                        </a:rPr>
                        <a:t>Lazio</a:t>
                      </a:r>
                    </a:p>
                  </a:txBody>
                  <a:tcPr marL="7021" marR="7021" marT="70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Impianti</a:t>
                      </a:r>
                    </a:p>
                  </a:txBody>
                  <a:tcPr marL="7021" marR="7021" marT="70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SS5</a:t>
                      </a:r>
                      <a:br>
                        <a:rPr lang="it-IT" sz="700" b="0" i="0" u="none" strike="noStrike">
                          <a:solidFill>
                            <a:srgbClr val="000000"/>
                          </a:solidFill>
                          <a:effectLst/>
                          <a:latin typeface="Calibri" panose="020F0502020204030204" pitchFamily="34" charset="0"/>
                        </a:rPr>
                      </a:br>
                      <a:r>
                        <a:rPr lang="it-IT" sz="700" b="0" i="0" u="none" strike="noStrike">
                          <a:solidFill>
                            <a:srgbClr val="000000"/>
                          </a:solidFill>
                          <a:effectLst/>
                          <a:latin typeface="Calibri" panose="020F0502020204030204" pitchFamily="34" charset="0"/>
                        </a:rPr>
                        <a:t>SS260</a:t>
                      </a:r>
                      <a:br>
                        <a:rPr lang="it-IT" sz="700" b="0" i="0" u="none" strike="noStrike">
                          <a:solidFill>
                            <a:srgbClr val="000000"/>
                          </a:solidFill>
                          <a:effectLst/>
                          <a:latin typeface="Calibri" panose="020F0502020204030204" pitchFamily="34" charset="0"/>
                        </a:rPr>
                      </a:br>
                      <a:r>
                        <a:rPr lang="it-IT" sz="700" b="0" i="0" u="none" strike="noStrike">
                          <a:solidFill>
                            <a:srgbClr val="000000"/>
                          </a:solidFill>
                          <a:effectLst/>
                          <a:latin typeface="Calibri" panose="020F0502020204030204" pitchFamily="34" charset="0"/>
                        </a:rPr>
                        <a:t>SS471</a:t>
                      </a:r>
                      <a:br>
                        <a:rPr lang="it-IT" sz="700" b="0" i="0" u="none" strike="noStrike">
                          <a:solidFill>
                            <a:srgbClr val="000000"/>
                          </a:solidFill>
                          <a:effectLst/>
                          <a:latin typeface="Calibri" panose="020F0502020204030204" pitchFamily="34" charset="0"/>
                        </a:rPr>
                      </a:br>
                      <a:r>
                        <a:rPr lang="it-IT" sz="700" b="0" i="0" u="none" strike="noStrike">
                          <a:solidFill>
                            <a:srgbClr val="000000"/>
                          </a:solidFill>
                          <a:effectLst/>
                          <a:latin typeface="Calibri" panose="020F0502020204030204" pitchFamily="34" charset="0"/>
                        </a:rPr>
                        <a:t>SS578</a:t>
                      </a:r>
                    </a:p>
                  </a:txBody>
                  <a:tcPr marL="7021" marR="7021" marT="70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SS5-SS260-SS471-SS578 - Lavori di manutenzione programmata per la verifica e l'adeguamento e ripristino degli impianti di illuminazione, tecnologici e prevenzione incendi - Lavori anche notturni. Primo Stralcio.</a:t>
                      </a:r>
                    </a:p>
                  </a:txBody>
                  <a:tcPr marL="7021" marR="7021" marT="70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3,90</a:t>
                      </a:r>
                    </a:p>
                  </a:txBody>
                  <a:tcPr marL="7021" marR="7021" marT="70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0002"/>
                  </a:ext>
                </a:extLst>
              </a:tr>
              <a:tr h="352345">
                <a:tc>
                  <a:txBody>
                    <a:bodyPr/>
                    <a:lstStyle/>
                    <a:p>
                      <a:pPr algn="ctr" fontAlgn="ctr"/>
                      <a:r>
                        <a:rPr lang="it-IT" sz="800" b="0" i="0" u="none" strike="noStrike" dirty="0">
                          <a:solidFill>
                            <a:srgbClr val="000000"/>
                          </a:solidFill>
                          <a:effectLst/>
                          <a:latin typeface="Calibri" panose="020F0502020204030204" pitchFamily="34" charset="0"/>
                        </a:rPr>
                        <a:t>2</a:t>
                      </a:r>
                    </a:p>
                  </a:txBody>
                  <a:tcPr marL="7021" marR="7021" marT="70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00"/>
                    </a:solidFill>
                  </a:tcPr>
                </a:tc>
                <a:tc>
                  <a:txBody>
                    <a:bodyPr/>
                    <a:lstStyle/>
                    <a:p>
                      <a:pPr algn="ctr" fontAlgn="ctr"/>
                      <a:r>
                        <a:rPr lang="it-IT" sz="800" b="0" i="0" u="none" strike="noStrike" dirty="0">
                          <a:solidFill>
                            <a:srgbClr val="000000"/>
                          </a:solidFill>
                          <a:effectLst/>
                          <a:latin typeface="Calibri" panose="020F0502020204030204" pitchFamily="34" charset="0"/>
                        </a:rPr>
                        <a:t>Lazio</a:t>
                      </a:r>
                    </a:p>
                  </a:txBody>
                  <a:tcPr marL="7021" marR="7021" marT="70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00"/>
                    </a:solidFill>
                  </a:tcPr>
                </a:tc>
                <a:tc>
                  <a:txBody>
                    <a:bodyPr/>
                    <a:lstStyle/>
                    <a:p>
                      <a:pPr algn="ctr" fontAlgn="ctr"/>
                      <a:r>
                        <a:rPr lang="it-IT" sz="700" b="0" i="0" u="none" strike="noStrike" dirty="0">
                          <a:solidFill>
                            <a:srgbClr val="000000"/>
                          </a:solidFill>
                          <a:effectLst/>
                          <a:latin typeface="Calibri" panose="020F0502020204030204" pitchFamily="34" charset="0"/>
                        </a:rPr>
                        <a:t>Opere d'arte maggiori</a:t>
                      </a:r>
                    </a:p>
                  </a:txBody>
                  <a:tcPr marL="7021" marR="7021" marT="70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00"/>
                    </a:solidFill>
                  </a:tcPr>
                </a:tc>
                <a:tc>
                  <a:txBody>
                    <a:bodyPr/>
                    <a:lstStyle/>
                    <a:p>
                      <a:pPr algn="ctr" fontAlgn="ctr"/>
                      <a:r>
                        <a:rPr lang="it-IT" sz="700" b="0" i="0" u="none" strike="noStrike" dirty="0">
                          <a:solidFill>
                            <a:srgbClr val="000000"/>
                          </a:solidFill>
                          <a:effectLst/>
                          <a:latin typeface="Calibri" panose="020F0502020204030204" pitchFamily="34" charset="0"/>
                        </a:rPr>
                        <a:t>SS4</a:t>
                      </a:r>
                    </a:p>
                  </a:txBody>
                  <a:tcPr marL="7021" marR="7021" marT="70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00"/>
                    </a:solidFill>
                  </a:tcPr>
                </a:tc>
                <a:tc>
                  <a:txBody>
                    <a:bodyPr/>
                    <a:lstStyle/>
                    <a:p>
                      <a:pPr algn="ctr" fontAlgn="ctr"/>
                      <a:r>
                        <a:rPr lang="it-IT" sz="700" b="0" i="0" u="none" strike="noStrike" dirty="0">
                          <a:solidFill>
                            <a:srgbClr val="000000"/>
                          </a:solidFill>
                          <a:effectLst/>
                          <a:latin typeface="Calibri" panose="020F0502020204030204" pitchFamily="34" charset="0"/>
                        </a:rPr>
                        <a:t>S.S. 4 - LAVORI DI ADEGUAMENTO SISMICO DEL VIADOTTO VELINO al km 106+520</a:t>
                      </a:r>
                    </a:p>
                  </a:txBody>
                  <a:tcPr marL="7021" marR="7021" marT="70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00"/>
                    </a:solidFill>
                  </a:tcPr>
                </a:tc>
                <a:tc>
                  <a:txBody>
                    <a:bodyPr/>
                    <a:lstStyle/>
                    <a:p>
                      <a:pPr algn="ctr" fontAlgn="ctr"/>
                      <a:r>
                        <a:rPr lang="it-IT" sz="700" b="0" i="0" u="none" strike="noStrike" dirty="0">
                          <a:solidFill>
                            <a:srgbClr val="000000"/>
                          </a:solidFill>
                          <a:effectLst/>
                          <a:latin typeface="Calibri" panose="020F0502020204030204" pitchFamily="34" charset="0"/>
                        </a:rPr>
                        <a:t>24,23</a:t>
                      </a:r>
                    </a:p>
                  </a:txBody>
                  <a:tcPr marL="7021" marR="7021" marT="70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00"/>
                    </a:solidFill>
                  </a:tcPr>
                </a:tc>
                <a:extLst>
                  <a:ext uri="{0D108BD9-81ED-4DB2-BD59-A6C34878D82A}">
                    <a16:rowId xmlns:a16="http://schemas.microsoft.com/office/drawing/2014/main" val="10003"/>
                  </a:ext>
                </a:extLst>
              </a:tr>
              <a:tr h="234897">
                <a:tc>
                  <a:txBody>
                    <a:bodyPr/>
                    <a:lstStyle/>
                    <a:p>
                      <a:pPr algn="ctr" fontAlgn="ctr"/>
                      <a:r>
                        <a:rPr lang="it-IT" sz="800" b="0" i="0" u="none" strike="noStrike">
                          <a:solidFill>
                            <a:srgbClr val="000000"/>
                          </a:solidFill>
                          <a:effectLst/>
                          <a:latin typeface="Calibri" panose="020F0502020204030204" pitchFamily="34" charset="0"/>
                        </a:rPr>
                        <a:t>3</a:t>
                      </a:r>
                    </a:p>
                  </a:txBody>
                  <a:tcPr marL="7021" marR="7021" marT="70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800" b="0" i="0" u="none" strike="noStrike">
                          <a:solidFill>
                            <a:srgbClr val="000000"/>
                          </a:solidFill>
                          <a:effectLst/>
                          <a:latin typeface="Calibri" panose="020F0502020204030204" pitchFamily="34" charset="0"/>
                        </a:rPr>
                        <a:t>Lazio</a:t>
                      </a:r>
                    </a:p>
                  </a:txBody>
                  <a:tcPr marL="7021" marR="7021" marT="70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Piano viabile</a:t>
                      </a:r>
                    </a:p>
                  </a:txBody>
                  <a:tcPr marL="7021" marR="7021" marT="70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SS675</a:t>
                      </a:r>
                    </a:p>
                  </a:txBody>
                  <a:tcPr marL="7021" marR="7021" marT="70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S.S. 675 - Lavori di M.P. per il rifacimento della pavimentazione stradale in t.s. tra il km 30+212 e il km 85+100 della S.S. 675. Lavori anche notturni 1° Stralcio</a:t>
                      </a:r>
                    </a:p>
                  </a:txBody>
                  <a:tcPr marL="7021" marR="7021" marT="70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5,00</a:t>
                      </a:r>
                    </a:p>
                  </a:txBody>
                  <a:tcPr marL="7021" marR="7021" marT="70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0004"/>
                  </a:ext>
                </a:extLst>
              </a:tr>
              <a:tr h="352345">
                <a:tc>
                  <a:txBody>
                    <a:bodyPr/>
                    <a:lstStyle/>
                    <a:p>
                      <a:pPr algn="ctr" fontAlgn="ctr"/>
                      <a:r>
                        <a:rPr lang="it-IT" sz="800" b="0" i="0" u="none" strike="noStrike">
                          <a:solidFill>
                            <a:srgbClr val="000000"/>
                          </a:solidFill>
                          <a:effectLst/>
                          <a:latin typeface="Calibri" panose="020F0502020204030204" pitchFamily="34" charset="0"/>
                        </a:rPr>
                        <a:t>4</a:t>
                      </a:r>
                    </a:p>
                  </a:txBody>
                  <a:tcPr marL="7021" marR="7021" marT="70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800" b="0" i="0" u="none" strike="noStrike">
                          <a:solidFill>
                            <a:srgbClr val="000000"/>
                          </a:solidFill>
                          <a:effectLst/>
                          <a:latin typeface="Calibri" panose="020F0502020204030204" pitchFamily="34" charset="0"/>
                        </a:rPr>
                        <a:t>Lazio</a:t>
                      </a:r>
                    </a:p>
                  </a:txBody>
                  <a:tcPr marL="7021" marR="7021" marT="70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Piano viabile</a:t>
                      </a:r>
                    </a:p>
                  </a:txBody>
                  <a:tcPr marL="7021" marR="7021" marT="70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SS1</a:t>
                      </a:r>
                    </a:p>
                  </a:txBody>
                  <a:tcPr marL="7021" marR="7021" marT="70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S.S. 1 - Lavori di M.P. per il rifacimento della pavimentazione stradale in t.s. lungo la S.S. 1 Aurelia. Lavori anche notturni. 1° Stralcio</a:t>
                      </a:r>
                    </a:p>
                  </a:txBody>
                  <a:tcPr marL="7021" marR="7021" marT="70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5,00</a:t>
                      </a:r>
                    </a:p>
                  </a:txBody>
                  <a:tcPr marL="7021" marR="7021" marT="70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0005"/>
                  </a:ext>
                </a:extLst>
              </a:tr>
              <a:tr h="352345">
                <a:tc>
                  <a:txBody>
                    <a:bodyPr/>
                    <a:lstStyle/>
                    <a:p>
                      <a:pPr algn="ctr" fontAlgn="ctr"/>
                      <a:r>
                        <a:rPr lang="it-IT" sz="800" b="0" i="0" u="none" strike="noStrike">
                          <a:solidFill>
                            <a:srgbClr val="000000"/>
                          </a:solidFill>
                          <a:effectLst/>
                          <a:latin typeface="Calibri" panose="020F0502020204030204" pitchFamily="34" charset="0"/>
                        </a:rPr>
                        <a:t>5</a:t>
                      </a:r>
                    </a:p>
                  </a:txBody>
                  <a:tcPr marL="7021" marR="7021" marT="70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800" b="0" i="0" u="none" strike="noStrike">
                          <a:solidFill>
                            <a:srgbClr val="000000"/>
                          </a:solidFill>
                          <a:effectLst/>
                          <a:latin typeface="Calibri" panose="020F0502020204030204" pitchFamily="34" charset="0"/>
                        </a:rPr>
                        <a:t>Lazio</a:t>
                      </a:r>
                    </a:p>
                  </a:txBody>
                  <a:tcPr marL="7021" marR="7021" marT="70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Piano viabile</a:t>
                      </a:r>
                    </a:p>
                  </a:txBody>
                  <a:tcPr marL="7021" marR="7021" marT="70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A91</a:t>
                      </a:r>
                    </a:p>
                  </a:txBody>
                  <a:tcPr marL="7021" marR="7021" marT="70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A91 - Lavori di M.S. per il rifacimento della pavimentazione ammalorata tra i km 10+000 e 18+464 dell'A91 in entrambe le carreggiate.</a:t>
                      </a:r>
                    </a:p>
                  </a:txBody>
                  <a:tcPr marL="7021" marR="7021" marT="70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4,20</a:t>
                      </a:r>
                    </a:p>
                  </a:txBody>
                  <a:tcPr marL="7021" marR="7021" marT="70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0006"/>
                  </a:ext>
                </a:extLst>
              </a:tr>
              <a:tr h="352345">
                <a:tc>
                  <a:txBody>
                    <a:bodyPr/>
                    <a:lstStyle/>
                    <a:p>
                      <a:pPr algn="ctr" fontAlgn="ctr"/>
                      <a:r>
                        <a:rPr lang="it-IT" sz="800" b="0" i="0" u="none" strike="noStrike">
                          <a:solidFill>
                            <a:srgbClr val="000000"/>
                          </a:solidFill>
                          <a:effectLst/>
                          <a:latin typeface="Calibri" panose="020F0502020204030204" pitchFamily="34" charset="0"/>
                        </a:rPr>
                        <a:t>6</a:t>
                      </a:r>
                    </a:p>
                  </a:txBody>
                  <a:tcPr marL="7021" marR="7021" marT="70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800" b="0" i="0" u="none" strike="noStrike">
                          <a:solidFill>
                            <a:srgbClr val="000000"/>
                          </a:solidFill>
                          <a:effectLst/>
                          <a:latin typeface="Calibri" panose="020F0502020204030204" pitchFamily="34" charset="0"/>
                        </a:rPr>
                        <a:t>Lazio</a:t>
                      </a:r>
                    </a:p>
                  </a:txBody>
                  <a:tcPr marL="7021" marR="7021" marT="70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Piano viabile</a:t>
                      </a:r>
                    </a:p>
                  </a:txBody>
                  <a:tcPr marL="7021" marR="7021" marT="70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SS148</a:t>
                      </a:r>
                    </a:p>
                  </a:txBody>
                  <a:tcPr marL="7021" marR="7021" marT="70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S.S. 148 - Lavori di manutenzione programmata per il risanamento del piano viabile in tratti saltuari tra il km 10+500 e il km 40+000 direzione Terracina e tra il Km 38+880 e il Km 10+550 direzione Roma compreso svincoli e complanari. Lavori anche notturni</a:t>
                      </a:r>
                    </a:p>
                  </a:txBody>
                  <a:tcPr marL="7021" marR="7021" marT="70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5,18</a:t>
                      </a:r>
                    </a:p>
                  </a:txBody>
                  <a:tcPr marL="7021" marR="7021" marT="70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0007"/>
                  </a:ext>
                </a:extLst>
              </a:tr>
              <a:tr h="352345">
                <a:tc>
                  <a:txBody>
                    <a:bodyPr/>
                    <a:lstStyle/>
                    <a:p>
                      <a:pPr algn="ctr" fontAlgn="ctr"/>
                      <a:r>
                        <a:rPr lang="it-IT" sz="800" b="0" i="0" u="none" strike="noStrike">
                          <a:solidFill>
                            <a:srgbClr val="000000"/>
                          </a:solidFill>
                          <a:effectLst/>
                          <a:latin typeface="Calibri" panose="020F0502020204030204" pitchFamily="34" charset="0"/>
                        </a:rPr>
                        <a:t>7</a:t>
                      </a:r>
                    </a:p>
                  </a:txBody>
                  <a:tcPr marL="7021" marR="7021" marT="70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800" b="0" i="0" u="none" strike="noStrike">
                          <a:solidFill>
                            <a:srgbClr val="000000"/>
                          </a:solidFill>
                          <a:effectLst/>
                          <a:latin typeface="Calibri" panose="020F0502020204030204" pitchFamily="34" charset="0"/>
                        </a:rPr>
                        <a:t>Lazio</a:t>
                      </a:r>
                    </a:p>
                  </a:txBody>
                  <a:tcPr marL="7021" marR="7021" marT="70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Piano viabile</a:t>
                      </a:r>
                    </a:p>
                  </a:txBody>
                  <a:tcPr marL="7021" marR="7021" marT="70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SS148</a:t>
                      </a:r>
                    </a:p>
                  </a:txBody>
                  <a:tcPr marL="7021" marR="7021" marT="70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S.S. 148 - Lavori di manutenzione programmata per il risanamento del piano viabile in tratti saltuari tra il km 36+000 e il km 109+200 direzione Terracina e tra il Km 109+200 e 38+900 direzione Roma compreso svincoli e complanari. Lavori anche notturni</a:t>
                      </a:r>
                    </a:p>
                  </a:txBody>
                  <a:tcPr marL="7021" marR="7021" marT="70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5,18</a:t>
                      </a:r>
                    </a:p>
                  </a:txBody>
                  <a:tcPr marL="7021" marR="7021" marT="70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0008"/>
                  </a:ext>
                </a:extLst>
              </a:tr>
              <a:tr h="352345">
                <a:tc>
                  <a:txBody>
                    <a:bodyPr/>
                    <a:lstStyle/>
                    <a:p>
                      <a:pPr algn="ctr" fontAlgn="ctr"/>
                      <a:r>
                        <a:rPr lang="it-IT" sz="800" b="0" i="0" u="none" strike="noStrike" dirty="0">
                          <a:solidFill>
                            <a:srgbClr val="000000"/>
                          </a:solidFill>
                          <a:effectLst/>
                          <a:latin typeface="Calibri" panose="020F0502020204030204" pitchFamily="34" charset="0"/>
                        </a:rPr>
                        <a:t>8</a:t>
                      </a:r>
                    </a:p>
                  </a:txBody>
                  <a:tcPr marL="7021" marR="7021" marT="70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FFF00"/>
                    </a:solidFill>
                  </a:tcPr>
                </a:tc>
                <a:tc>
                  <a:txBody>
                    <a:bodyPr/>
                    <a:lstStyle/>
                    <a:p>
                      <a:pPr algn="ctr" fontAlgn="ctr"/>
                      <a:r>
                        <a:rPr lang="it-IT" sz="800" b="0" i="0" u="none" strike="noStrike" dirty="0">
                          <a:solidFill>
                            <a:srgbClr val="000000"/>
                          </a:solidFill>
                          <a:effectLst/>
                          <a:latin typeface="Calibri" panose="020F0502020204030204" pitchFamily="34" charset="0"/>
                        </a:rPr>
                        <a:t>Lazio</a:t>
                      </a:r>
                    </a:p>
                  </a:txBody>
                  <a:tcPr marL="7021" marR="7021" marT="70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FFF00"/>
                    </a:solidFill>
                  </a:tcPr>
                </a:tc>
                <a:tc>
                  <a:txBody>
                    <a:bodyPr/>
                    <a:lstStyle/>
                    <a:p>
                      <a:pPr algn="ctr" fontAlgn="ctr"/>
                      <a:r>
                        <a:rPr lang="it-IT" sz="700" b="0" i="0" u="none" strike="noStrike" dirty="0">
                          <a:solidFill>
                            <a:srgbClr val="000000"/>
                          </a:solidFill>
                          <a:effectLst/>
                          <a:latin typeface="Calibri" panose="020F0502020204030204" pitchFamily="34" charset="0"/>
                        </a:rPr>
                        <a:t>Opere d'arte maggiori</a:t>
                      </a:r>
                    </a:p>
                  </a:txBody>
                  <a:tcPr marL="7021" marR="7021" marT="70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FFF00"/>
                    </a:solidFill>
                  </a:tcPr>
                </a:tc>
                <a:tc>
                  <a:txBody>
                    <a:bodyPr/>
                    <a:lstStyle/>
                    <a:p>
                      <a:pPr algn="ctr" fontAlgn="ctr"/>
                      <a:r>
                        <a:rPr lang="it-IT" sz="700" b="0" i="0" u="none" strike="noStrike" dirty="0">
                          <a:solidFill>
                            <a:srgbClr val="000000"/>
                          </a:solidFill>
                          <a:effectLst/>
                          <a:latin typeface="Calibri" panose="020F0502020204030204" pitchFamily="34" charset="0"/>
                        </a:rPr>
                        <a:t>SS4</a:t>
                      </a:r>
                    </a:p>
                  </a:txBody>
                  <a:tcPr marL="7021" marR="7021" marT="70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FFF00"/>
                    </a:solidFill>
                  </a:tcPr>
                </a:tc>
                <a:tc>
                  <a:txBody>
                    <a:bodyPr/>
                    <a:lstStyle/>
                    <a:p>
                      <a:pPr algn="ctr" fontAlgn="ctr"/>
                      <a:r>
                        <a:rPr lang="it-IT" sz="700" b="0" i="0" u="none" strike="noStrike" dirty="0">
                          <a:solidFill>
                            <a:srgbClr val="000000"/>
                          </a:solidFill>
                          <a:effectLst/>
                          <a:latin typeface="Calibri" panose="020F0502020204030204" pitchFamily="34" charset="0"/>
                        </a:rPr>
                        <a:t>S.S.4 - Interventi di adeguamento e miglioramento tecnico-funzionale del Viadotto Valenzano dal km 109+025 al km 109+450</a:t>
                      </a:r>
                    </a:p>
                  </a:txBody>
                  <a:tcPr marL="7021" marR="7021" marT="70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FFF00"/>
                    </a:solidFill>
                  </a:tcPr>
                </a:tc>
                <a:tc>
                  <a:txBody>
                    <a:bodyPr/>
                    <a:lstStyle/>
                    <a:p>
                      <a:pPr algn="ctr" fontAlgn="ctr"/>
                      <a:r>
                        <a:rPr lang="it-IT" sz="700" b="0" i="0" u="none" strike="noStrike" dirty="0">
                          <a:solidFill>
                            <a:srgbClr val="000000"/>
                          </a:solidFill>
                          <a:effectLst/>
                          <a:latin typeface="Calibri" panose="020F0502020204030204" pitchFamily="34" charset="0"/>
                        </a:rPr>
                        <a:t>11,83</a:t>
                      </a:r>
                    </a:p>
                  </a:txBody>
                  <a:tcPr marL="7021" marR="7021" marT="70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FFF00"/>
                    </a:solidFill>
                  </a:tcPr>
                </a:tc>
                <a:extLst>
                  <a:ext uri="{0D108BD9-81ED-4DB2-BD59-A6C34878D82A}">
                    <a16:rowId xmlns:a16="http://schemas.microsoft.com/office/drawing/2014/main" val="10009"/>
                  </a:ext>
                </a:extLst>
              </a:tr>
              <a:tr h="176173">
                <a:tc gridSpan="6">
                  <a:txBody>
                    <a:bodyPr/>
                    <a:lstStyle/>
                    <a:p>
                      <a:pPr algn="ctr" fontAlgn="ctr"/>
                      <a:r>
                        <a:rPr lang="it-IT" sz="700" b="1" i="0" u="none" strike="noStrike" dirty="0">
                          <a:solidFill>
                            <a:srgbClr val="FFFFFF"/>
                          </a:solidFill>
                          <a:effectLst/>
                          <a:latin typeface="Calibri" panose="020F0502020204030204" pitchFamily="34" charset="0"/>
                        </a:rPr>
                        <a:t> </a:t>
                      </a:r>
                    </a:p>
                  </a:txBody>
                  <a:tcPr marL="7021" marR="7021" marT="7021" marB="0" anchor="ctr">
                    <a:lnL w="6350" cap="flat" cmpd="sng" algn="ctr">
                      <a:solidFill>
                        <a:srgbClr val="A6A6A6"/>
                      </a:solidFill>
                      <a:prstDash val="solid"/>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DC002E"/>
                    </a:solidFill>
                  </a:tcPr>
                </a:tc>
                <a:tc hMerge="1">
                  <a:txBody>
                    <a:bodyPr/>
                    <a:lstStyle/>
                    <a:p>
                      <a:endParaRPr lang="it-IT"/>
                    </a:p>
                  </a:txBody>
                  <a:tcPr/>
                </a:tc>
                <a:tc hMerge="1">
                  <a:txBody>
                    <a:bodyPr/>
                    <a:lstStyle/>
                    <a:p>
                      <a:endParaRPr lang="it-IT"/>
                    </a:p>
                  </a:txBody>
                  <a:tcPr/>
                </a:tc>
                <a:tc hMerge="1">
                  <a:txBody>
                    <a:bodyPr/>
                    <a:lstStyle/>
                    <a:p>
                      <a:endParaRPr lang="it-IT"/>
                    </a:p>
                  </a:txBody>
                  <a:tcPr/>
                </a:tc>
                <a:tc hMerge="1">
                  <a:txBody>
                    <a:bodyPr/>
                    <a:lstStyle/>
                    <a:p>
                      <a:endParaRPr lang="it-IT"/>
                    </a:p>
                  </a:txBody>
                  <a:tcPr/>
                </a:tc>
                <a:tc hMerge="1">
                  <a:txBody>
                    <a:bodyPr/>
                    <a:lstStyle/>
                    <a:p>
                      <a:endParaRPr lang="it-IT"/>
                    </a:p>
                  </a:txBody>
                  <a:tcPr/>
                </a:tc>
                <a:extLst>
                  <a:ext uri="{0D108BD9-81ED-4DB2-BD59-A6C34878D82A}">
                    <a16:rowId xmlns:a16="http://schemas.microsoft.com/office/drawing/2014/main" val="10010"/>
                  </a:ext>
                </a:extLst>
              </a:tr>
            </a:tbl>
          </a:graphicData>
        </a:graphic>
      </p:graphicFrame>
      <p:graphicFrame>
        <p:nvGraphicFramePr>
          <p:cNvPr id="8" name="Diagramma 7"/>
          <p:cNvGraphicFramePr/>
          <p:nvPr>
            <p:extLst>
              <p:ext uri="{D42A27DB-BD31-4B8C-83A1-F6EECF244321}">
                <p14:modId xmlns:p14="http://schemas.microsoft.com/office/powerpoint/2010/main" val="2826712888"/>
              </p:ext>
            </p:extLst>
          </p:nvPr>
        </p:nvGraphicFramePr>
        <p:xfrm>
          <a:off x="134978" y="16679"/>
          <a:ext cx="8286246" cy="8116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22336957"/>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ttangolo 8"/>
          <p:cNvSpPr/>
          <p:nvPr/>
        </p:nvSpPr>
        <p:spPr>
          <a:xfrm>
            <a:off x="2776705" y="777056"/>
            <a:ext cx="2825197" cy="369332"/>
          </a:xfrm>
          <a:prstGeom prst="rect">
            <a:avLst/>
          </a:prstGeom>
        </p:spPr>
        <p:txBody>
          <a:bodyPr wrap="none">
            <a:spAutoFit/>
          </a:bodyPr>
          <a:lstStyle/>
          <a:p>
            <a:r>
              <a:rPr lang="it-IT" dirty="0">
                <a:solidFill>
                  <a:srgbClr val="C00000"/>
                </a:solidFill>
              </a:rPr>
              <a:t>Principali interventi in Corso</a:t>
            </a:r>
          </a:p>
        </p:txBody>
      </p:sp>
      <p:sp>
        <p:nvSpPr>
          <p:cNvPr id="10" name="Rettangolo arrotondato 9"/>
          <p:cNvSpPr/>
          <p:nvPr/>
        </p:nvSpPr>
        <p:spPr>
          <a:xfrm>
            <a:off x="931347" y="1134733"/>
            <a:ext cx="1362711" cy="509694"/>
          </a:xfrm>
          <a:prstGeom prst="roundRect">
            <a:avLst/>
          </a:prstGeom>
          <a:solidFill>
            <a:schemeClr val="bg1">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914263"/>
            <a:r>
              <a:rPr lang="it-IT" sz="1600" b="1" dirty="0">
                <a:solidFill>
                  <a:schemeClr val="bg1">
                    <a:lumMod val="50000"/>
                  </a:schemeClr>
                </a:solidFill>
                <a:latin typeface="+mj-lt"/>
              </a:rPr>
              <a:t>IN CORSO</a:t>
            </a:r>
          </a:p>
        </p:txBody>
      </p:sp>
      <p:sp>
        <p:nvSpPr>
          <p:cNvPr id="11" name="Shape 455"/>
          <p:cNvSpPr>
            <a:spLocks noChangeAspect="1"/>
          </p:cNvSpPr>
          <p:nvPr/>
        </p:nvSpPr>
        <p:spPr>
          <a:xfrm>
            <a:off x="331949" y="934698"/>
            <a:ext cx="900470" cy="875659"/>
          </a:xfrm>
          <a:prstGeom prst="ellipse">
            <a:avLst/>
          </a:prstGeom>
          <a:ln w="57150"/>
        </p:spPr>
        <p:style>
          <a:lnRef idx="2">
            <a:schemeClr val="accent5"/>
          </a:lnRef>
          <a:fillRef idx="1">
            <a:schemeClr val="lt1"/>
          </a:fillRef>
          <a:effectRef idx="0">
            <a:schemeClr val="accent5"/>
          </a:effectRef>
          <a:fontRef idx="minor">
            <a:schemeClr val="dk1"/>
          </a:fontRef>
        </p:style>
        <p:txBody>
          <a:bodyPr wrap="square" lIns="0" tIns="108000" rIns="0" bIns="0" numCol="1" anchor="ctr">
            <a:noAutofit/>
          </a:bodyPr>
          <a:lstStyle/>
          <a:p>
            <a:pPr algn="ctr">
              <a:lnSpc>
                <a:spcPts val="1500"/>
              </a:lnSpc>
              <a:defRPr sz="3000" b="1">
                <a:solidFill>
                  <a:srgbClr val="1C4598"/>
                </a:solidFill>
                <a:latin typeface="Arial"/>
                <a:ea typeface="Arial"/>
                <a:cs typeface="Arial"/>
                <a:sym typeface="Arial"/>
              </a:defRPr>
            </a:pPr>
            <a:r>
              <a:rPr lang="it-IT" sz="2200" dirty="0">
                <a:solidFill>
                  <a:schemeClr val="tx1">
                    <a:lumMod val="65000"/>
                    <a:lumOff val="35000"/>
                  </a:schemeClr>
                </a:solidFill>
                <a:latin typeface="+mj-lt"/>
              </a:rPr>
              <a:t>159,2</a:t>
            </a:r>
            <a:endParaRPr sz="2200" dirty="0">
              <a:solidFill>
                <a:schemeClr val="tx1">
                  <a:lumMod val="65000"/>
                  <a:lumOff val="35000"/>
                </a:schemeClr>
              </a:solidFill>
              <a:latin typeface="+mj-lt"/>
            </a:endParaRPr>
          </a:p>
        </p:txBody>
      </p:sp>
      <p:graphicFrame>
        <p:nvGraphicFramePr>
          <p:cNvPr id="3" name="Tabella 2"/>
          <p:cNvGraphicFramePr>
            <a:graphicFrameLocks noGrp="1"/>
          </p:cNvGraphicFramePr>
          <p:nvPr>
            <p:extLst>
              <p:ext uri="{D42A27DB-BD31-4B8C-83A1-F6EECF244321}">
                <p14:modId xmlns:p14="http://schemas.microsoft.com/office/powerpoint/2010/main" val="3678815452"/>
              </p:ext>
            </p:extLst>
          </p:nvPr>
        </p:nvGraphicFramePr>
        <p:xfrm>
          <a:off x="1232419" y="1760131"/>
          <a:ext cx="6928428" cy="3661570"/>
        </p:xfrm>
        <a:graphic>
          <a:graphicData uri="http://schemas.openxmlformats.org/drawingml/2006/table">
            <a:tbl>
              <a:tblPr/>
              <a:tblGrid>
                <a:gridCol w="873585">
                  <a:extLst>
                    <a:ext uri="{9D8B030D-6E8A-4147-A177-3AD203B41FA5}">
                      <a16:colId xmlns:a16="http://schemas.microsoft.com/office/drawing/2014/main" val="20000"/>
                    </a:ext>
                  </a:extLst>
                </a:gridCol>
                <a:gridCol w="461895">
                  <a:extLst>
                    <a:ext uri="{9D8B030D-6E8A-4147-A177-3AD203B41FA5}">
                      <a16:colId xmlns:a16="http://schemas.microsoft.com/office/drawing/2014/main" val="20001"/>
                    </a:ext>
                  </a:extLst>
                </a:gridCol>
                <a:gridCol w="733008">
                  <a:extLst>
                    <a:ext uri="{9D8B030D-6E8A-4147-A177-3AD203B41FA5}">
                      <a16:colId xmlns:a16="http://schemas.microsoft.com/office/drawing/2014/main" val="20002"/>
                    </a:ext>
                  </a:extLst>
                </a:gridCol>
                <a:gridCol w="461895">
                  <a:extLst>
                    <a:ext uri="{9D8B030D-6E8A-4147-A177-3AD203B41FA5}">
                      <a16:colId xmlns:a16="http://schemas.microsoft.com/office/drawing/2014/main" val="20003"/>
                    </a:ext>
                  </a:extLst>
                </a:gridCol>
                <a:gridCol w="3715244">
                  <a:extLst>
                    <a:ext uri="{9D8B030D-6E8A-4147-A177-3AD203B41FA5}">
                      <a16:colId xmlns:a16="http://schemas.microsoft.com/office/drawing/2014/main" val="20004"/>
                    </a:ext>
                  </a:extLst>
                </a:gridCol>
                <a:gridCol w="682801">
                  <a:extLst>
                    <a:ext uri="{9D8B030D-6E8A-4147-A177-3AD203B41FA5}">
                      <a16:colId xmlns:a16="http://schemas.microsoft.com/office/drawing/2014/main" val="20005"/>
                    </a:ext>
                  </a:extLst>
                </a:gridCol>
              </a:tblGrid>
              <a:tr h="317637">
                <a:tc gridSpan="6">
                  <a:txBody>
                    <a:bodyPr/>
                    <a:lstStyle/>
                    <a:p>
                      <a:pPr algn="ctr" fontAlgn="ctr"/>
                      <a:r>
                        <a:rPr lang="it-IT" sz="800" b="1" i="0" u="none" strike="noStrike" dirty="0">
                          <a:solidFill>
                            <a:srgbClr val="FFFFFF"/>
                          </a:solidFill>
                          <a:effectLst/>
                          <a:latin typeface="Calibri" panose="020F0502020204030204" pitchFamily="34" charset="0"/>
                        </a:rPr>
                        <a:t>PRINCIPALI INTERVENTI IN PROGETTAZIONE</a:t>
                      </a:r>
                    </a:p>
                  </a:txBody>
                  <a:tcPr marL="6341" marR="6341" marT="6341" marB="0" anchor="ctr">
                    <a:lnL w="6350" cap="flat" cmpd="sng" algn="ctr">
                      <a:solidFill>
                        <a:srgbClr val="A6A6A6"/>
                      </a:solidFill>
                      <a:prstDash val="solid"/>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DC002E"/>
                    </a:solidFill>
                  </a:tcPr>
                </a:tc>
                <a:tc hMerge="1">
                  <a:txBody>
                    <a:bodyPr/>
                    <a:lstStyle/>
                    <a:p>
                      <a:endParaRPr lang="it-IT"/>
                    </a:p>
                  </a:txBody>
                  <a:tcPr/>
                </a:tc>
                <a:tc hMerge="1">
                  <a:txBody>
                    <a:bodyPr/>
                    <a:lstStyle/>
                    <a:p>
                      <a:endParaRPr lang="it-IT"/>
                    </a:p>
                  </a:txBody>
                  <a:tcPr/>
                </a:tc>
                <a:tc hMerge="1">
                  <a:txBody>
                    <a:bodyPr/>
                    <a:lstStyle/>
                    <a:p>
                      <a:endParaRPr lang="it-IT"/>
                    </a:p>
                  </a:txBody>
                  <a:tcPr/>
                </a:tc>
                <a:tc hMerge="1">
                  <a:txBody>
                    <a:bodyPr/>
                    <a:lstStyle/>
                    <a:p>
                      <a:endParaRPr lang="it-IT"/>
                    </a:p>
                  </a:txBody>
                  <a:tcPr/>
                </a:tc>
                <a:tc hMerge="1">
                  <a:txBody>
                    <a:bodyPr/>
                    <a:lstStyle/>
                    <a:p>
                      <a:endParaRPr lang="it-IT"/>
                    </a:p>
                  </a:txBody>
                  <a:tcPr/>
                </a:tc>
                <a:extLst>
                  <a:ext uri="{0D108BD9-81ED-4DB2-BD59-A6C34878D82A}">
                    <a16:rowId xmlns:a16="http://schemas.microsoft.com/office/drawing/2014/main" val="10000"/>
                  </a:ext>
                </a:extLst>
              </a:tr>
              <a:tr h="317637">
                <a:tc>
                  <a:txBody>
                    <a:bodyPr/>
                    <a:lstStyle/>
                    <a:p>
                      <a:pPr algn="ctr" fontAlgn="ctr"/>
                      <a:r>
                        <a:rPr lang="it-IT" sz="700" b="1" i="0" u="none" strike="noStrike">
                          <a:solidFill>
                            <a:srgbClr val="FFFFFF"/>
                          </a:solidFill>
                          <a:effectLst/>
                          <a:latin typeface="Calibri" panose="020F0502020204030204" pitchFamily="34" charset="0"/>
                        </a:rPr>
                        <a:t>Prog.</a:t>
                      </a:r>
                    </a:p>
                  </a:txBody>
                  <a:tcPr marL="6341" marR="6341" marT="6341" marB="0" anchor="ctr">
                    <a:lnL w="6350" cap="flat" cmpd="sng" algn="ctr">
                      <a:solidFill>
                        <a:srgbClr val="A6A6A6"/>
                      </a:solidFill>
                      <a:prstDash val="solid"/>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002E"/>
                    </a:solidFill>
                  </a:tcPr>
                </a:tc>
                <a:tc>
                  <a:txBody>
                    <a:bodyPr/>
                    <a:lstStyle/>
                    <a:p>
                      <a:pPr algn="ctr" fontAlgn="ctr"/>
                      <a:r>
                        <a:rPr lang="it-IT" sz="700" b="1" i="0" u="none" strike="noStrike">
                          <a:solidFill>
                            <a:srgbClr val="FFFFFF"/>
                          </a:solidFill>
                          <a:effectLst/>
                          <a:latin typeface="Calibri" panose="020F0502020204030204" pitchFamily="34" charset="0"/>
                        </a:rPr>
                        <a:t>ST</a:t>
                      </a:r>
                    </a:p>
                  </a:txBody>
                  <a:tcPr marL="6341" marR="6341" marT="6341" marB="0" anchor="ctr">
                    <a:lnL w="6350" cap="flat" cmpd="sng" algn="ctr">
                      <a:solidFill>
                        <a:srgbClr val="A6A6A6"/>
                      </a:solidFill>
                      <a:prstDash val="solid"/>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002E"/>
                    </a:solidFill>
                  </a:tcPr>
                </a:tc>
                <a:tc>
                  <a:txBody>
                    <a:bodyPr/>
                    <a:lstStyle/>
                    <a:p>
                      <a:pPr algn="ctr" fontAlgn="ctr"/>
                      <a:r>
                        <a:rPr lang="it-IT" sz="700" b="1" i="0" u="none" strike="noStrike">
                          <a:solidFill>
                            <a:srgbClr val="FFFFFF"/>
                          </a:solidFill>
                          <a:effectLst/>
                          <a:latin typeface="Calibri" panose="020F0502020204030204" pitchFamily="34" charset="0"/>
                        </a:rPr>
                        <a:t>Tipologia</a:t>
                      </a:r>
                    </a:p>
                  </a:txBody>
                  <a:tcPr marL="6341" marR="6341" marT="6341" marB="0" anchor="ctr">
                    <a:lnL w="6350" cap="flat" cmpd="sng" algn="ctr">
                      <a:solidFill>
                        <a:srgbClr val="A6A6A6"/>
                      </a:solidFill>
                      <a:prstDash val="solid"/>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002E"/>
                    </a:solidFill>
                  </a:tcPr>
                </a:tc>
                <a:tc>
                  <a:txBody>
                    <a:bodyPr/>
                    <a:lstStyle/>
                    <a:p>
                      <a:pPr algn="ctr" fontAlgn="ctr"/>
                      <a:r>
                        <a:rPr lang="it-IT" sz="700" b="1" i="0" u="none" strike="noStrike">
                          <a:solidFill>
                            <a:srgbClr val="FFFFFF"/>
                          </a:solidFill>
                          <a:effectLst/>
                          <a:latin typeface="Calibri" panose="020F0502020204030204" pitchFamily="34" charset="0"/>
                        </a:rPr>
                        <a:t>Strada</a:t>
                      </a:r>
                    </a:p>
                  </a:txBody>
                  <a:tcPr marL="6341" marR="6341" marT="6341" marB="0" anchor="ctr">
                    <a:lnL w="6350" cap="flat" cmpd="sng" algn="ctr">
                      <a:solidFill>
                        <a:srgbClr val="A6A6A6"/>
                      </a:solidFill>
                      <a:prstDash val="solid"/>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002E"/>
                    </a:solidFill>
                  </a:tcPr>
                </a:tc>
                <a:tc>
                  <a:txBody>
                    <a:bodyPr/>
                    <a:lstStyle/>
                    <a:p>
                      <a:pPr algn="ctr" fontAlgn="ctr"/>
                      <a:r>
                        <a:rPr lang="it-IT" sz="700" b="1" i="0" u="none" strike="noStrike">
                          <a:solidFill>
                            <a:srgbClr val="FFFFFF"/>
                          </a:solidFill>
                          <a:effectLst/>
                          <a:latin typeface="Calibri" panose="020F0502020204030204" pitchFamily="34" charset="0"/>
                        </a:rPr>
                        <a:t>Titolo</a:t>
                      </a:r>
                    </a:p>
                  </a:txBody>
                  <a:tcPr marL="6341" marR="6341" marT="6341" marB="0" anchor="ctr">
                    <a:lnL w="6350" cap="flat" cmpd="sng" algn="ctr">
                      <a:solidFill>
                        <a:srgbClr val="A6A6A6"/>
                      </a:solidFill>
                      <a:prstDash val="solid"/>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002E"/>
                    </a:solidFill>
                  </a:tcPr>
                </a:tc>
                <a:tc>
                  <a:txBody>
                    <a:bodyPr/>
                    <a:lstStyle/>
                    <a:p>
                      <a:pPr algn="ctr" fontAlgn="ctr"/>
                      <a:r>
                        <a:rPr lang="it-IT" sz="700" b="1" i="0" u="none" strike="noStrike">
                          <a:solidFill>
                            <a:srgbClr val="FFFFFF"/>
                          </a:solidFill>
                          <a:effectLst/>
                          <a:latin typeface="Calibri" panose="020F0502020204030204" pitchFamily="34" charset="0"/>
                        </a:rPr>
                        <a:t>Investimento</a:t>
                      </a:r>
                      <a:br>
                        <a:rPr lang="it-IT" sz="700" b="1" i="0" u="none" strike="noStrike">
                          <a:solidFill>
                            <a:srgbClr val="FFFFFF"/>
                          </a:solidFill>
                          <a:effectLst/>
                          <a:latin typeface="Calibri" panose="020F0502020204030204" pitchFamily="34" charset="0"/>
                        </a:rPr>
                      </a:br>
                      <a:r>
                        <a:rPr lang="it-IT" sz="700" b="1" i="0" u="none" strike="noStrike">
                          <a:solidFill>
                            <a:srgbClr val="FFFFFF"/>
                          </a:solidFill>
                          <a:effectLst/>
                          <a:latin typeface="Calibri" panose="020F0502020204030204" pitchFamily="34" charset="0"/>
                        </a:rPr>
                        <a:t>(€/Milioni)</a:t>
                      </a:r>
                    </a:p>
                  </a:txBody>
                  <a:tcPr marL="6341" marR="6341" marT="6341" marB="0" anchor="ctr">
                    <a:lnL w="6350" cap="flat" cmpd="sng" algn="ctr">
                      <a:solidFill>
                        <a:srgbClr val="A6A6A6"/>
                      </a:solidFill>
                      <a:prstDash val="solid"/>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002E"/>
                    </a:solidFill>
                  </a:tcPr>
                </a:tc>
                <a:extLst>
                  <a:ext uri="{0D108BD9-81ED-4DB2-BD59-A6C34878D82A}">
                    <a16:rowId xmlns:a16="http://schemas.microsoft.com/office/drawing/2014/main" val="10001"/>
                  </a:ext>
                </a:extLst>
              </a:tr>
              <a:tr h="317637">
                <a:tc>
                  <a:txBody>
                    <a:bodyPr/>
                    <a:lstStyle/>
                    <a:p>
                      <a:pPr algn="ctr" fontAlgn="ctr"/>
                      <a:r>
                        <a:rPr lang="it-IT" sz="700" b="0" i="0" u="none" strike="noStrike">
                          <a:solidFill>
                            <a:srgbClr val="000000"/>
                          </a:solidFill>
                          <a:effectLst/>
                          <a:latin typeface="Calibri" panose="020F0502020204030204" pitchFamily="34" charset="0"/>
                        </a:rPr>
                        <a:t>1</a:t>
                      </a:r>
                    </a:p>
                  </a:txBody>
                  <a:tcPr marL="6341" marR="6341" marT="634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Lazio</a:t>
                      </a:r>
                    </a:p>
                  </a:txBody>
                  <a:tcPr marL="6341" marR="6341" marT="634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Opere d'Arte</a:t>
                      </a:r>
                    </a:p>
                  </a:txBody>
                  <a:tcPr marL="6341" marR="6341" marT="634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SS7</a:t>
                      </a:r>
                    </a:p>
                  </a:txBody>
                  <a:tcPr marL="6341" marR="6341" marT="634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S.S.7 Via Appia - “Lavori di consolidamento strutturale e restauro conservativo del ponte Pio IX di Ariccia"</a:t>
                      </a:r>
                    </a:p>
                  </a:txBody>
                  <a:tcPr marL="6341" marR="6341" marT="634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5,42</a:t>
                      </a:r>
                    </a:p>
                  </a:txBody>
                  <a:tcPr marL="6341" marR="6341" marT="634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0002"/>
                  </a:ext>
                </a:extLst>
              </a:tr>
              <a:tr h="317637">
                <a:tc>
                  <a:txBody>
                    <a:bodyPr/>
                    <a:lstStyle/>
                    <a:p>
                      <a:pPr algn="ctr" fontAlgn="ctr"/>
                      <a:r>
                        <a:rPr lang="it-IT" sz="700" b="0" i="0" u="none" strike="noStrike">
                          <a:solidFill>
                            <a:srgbClr val="000000"/>
                          </a:solidFill>
                          <a:effectLst/>
                          <a:latin typeface="Calibri" panose="020F0502020204030204" pitchFamily="34" charset="0"/>
                        </a:rPr>
                        <a:t>2</a:t>
                      </a:r>
                    </a:p>
                  </a:txBody>
                  <a:tcPr marL="6341" marR="6341" marT="634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Lazio</a:t>
                      </a:r>
                    </a:p>
                  </a:txBody>
                  <a:tcPr marL="6341" marR="6341" marT="634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Impianti</a:t>
                      </a:r>
                    </a:p>
                  </a:txBody>
                  <a:tcPr marL="6341" marR="6341" marT="634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A90</a:t>
                      </a:r>
                    </a:p>
                  </a:txBody>
                  <a:tcPr marL="6341" marR="6341" marT="634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Applicativo - 1.2 - Modulo 1 - A90 - Fornitura ed installazione di apparati e sistemi Smart Road. Autostrada del Grande Raccordo Anulare dal km 55+700 al km 68+223 e dal km 0+000 al km 0+600.</a:t>
                      </a:r>
                    </a:p>
                  </a:txBody>
                  <a:tcPr marL="6341" marR="6341" marT="634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5,35</a:t>
                      </a:r>
                    </a:p>
                  </a:txBody>
                  <a:tcPr marL="6341" marR="6341" marT="634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0003"/>
                  </a:ext>
                </a:extLst>
              </a:tr>
              <a:tr h="317637">
                <a:tc>
                  <a:txBody>
                    <a:bodyPr/>
                    <a:lstStyle/>
                    <a:p>
                      <a:pPr algn="ctr" fontAlgn="ctr"/>
                      <a:r>
                        <a:rPr lang="it-IT" sz="700" b="0" i="0" u="none" strike="noStrike">
                          <a:solidFill>
                            <a:srgbClr val="000000"/>
                          </a:solidFill>
                          <a:effectLst/>
                          <a:latin typeface="Calibri" panose="020F0502020204030204" pitchFamily="34" charset="0"/>
                        </a:rPr>
                        <a:t>3</a:t>
                      </a:r>
                    </a:p>
                  </a:txBody>
                  <a:tcPr marL="6341" marR="6341" marT="634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Lazio</a:t>
                      </a:r>
                    </a:p>
                  </a:txBody>
                  <a:tcPr marL="6341" marR="6341" marT="634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Opere Complementari</a:t>
                      </a:r>
                    </a:p>
                  </a:txBody>
                  <a:tcPr marL="6341" marR="6341" marT="634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SS4</a:t>
                      </a:r>
                    </a:p>
                  </a:txBody>
                  <a:tcPr marL="6341" marR="6341" marT="634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S.S. N. 4 "Via Salaria" - Lavori di realizzazione della corsia di arrampicamento dal km 47+900 al km 49+000</a:t>
                      </a:r>
                    </a:p>
                  </a:txBody>
                  <a:tcPr marL="6341" marR="6341" marT="634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6,84</a:t>
                      </a:r>
                    </a:p>
                  </a:txBody>
                  <a:tcPr marL="6341" marR="6341" marT="634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0004"/>
                  </a:ext>
                </a:extLst>
              </a:tr>
              <a:tr h="317637">
                <a:tc>
                  <a:txBody>
                    <a:bodyPr/>
                    <a:lstStyle/>
                    <a:p>
                      <a:pPr algn="ctr" fontAlgn="ctr"/>
                      <a:r>
                        <a:rPr lang="it-IT" sz="700" b="0" i="0" u="none" strike="noStrike" dirty="0">
                          <a:solidFill>
                            <a:srgbClr val="000000"/>
                          </a:solidFill>
                          <a:effectLst/>
                          <a:latin typeface="Calibri" panose="020F0502020204030204" pitchFamily="34" charset="0"/>
                        </a:rPr>
                        <a:t>4</a:t>
                      </a:r>
                    </a:p>
                  </a:txBody>
                  <a:tcPr marL="6341" marR="6341" marT="634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00"/>
                    </a:solidFill>
                  </a:tcPr>
                </a:tc>
                <a:tc>
                  <a:txBody>
                    <a:bodyPr/>
                    <a:lstStyle/>
                    <a:p>
                      <a:pPr algn="ctr" fontAlgn="ctr"/>
                      <a:r>
                        <a:rPr lang="it-IT" sz="700" b="0" i="0" u="none" strike="noStrike" dirty="0">
                          <a:solidFill>
                            <a:srgbClr val="000000"/>
                          </a:solidFill>
                          <a:effectLst/>
                          <a:latin typeface="Calibri" panose="020F0502020204030204" pitchFamily="34" charset="0"/>
                        </a:rPr>
                        <a:t>Lazio</a:t>
                      </a:r>
                    </a:p>
                  </a:txBody>
                  <a:tcPr marL="6341" marR="6341" marT="634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00"/>
                    </a:solidFill>
                  </a:tcPr>
                </a:tc>
                <a:tc>
                  <a:txBody>
                    <a:bodyPr/>
                    <a:lstStyle/>
                    <a:p>
                      <a:pPr algn="ctr" fontAlgn="ctr"/>
                      <a:r>
                        <a:rPr lang="it-IT" sz="700" b="0" i="0" u="none" strike="noStrike" dirty="0">
                          <a:solidFill>
                            <a:srgbClr val="000000"/>
                          </a:solidFill>
                          <a:effectLst/>
                          <a:latin typeface="Calibri" panose="020F0502020204030204" pitchFamily="34" charset="0"/>
                        </a:rPr>
                        <a:t>Impianti</a:t>
                      </a:r>
                    </a:p>
                  </a:txBody>
                  <a:tcPr marL="6341" marR="6341" marT="634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00"/>
                    </a:solidFill>
                  </a:tcPr>
                </a:tc>
                <a:tc>
                  <a:txBody>
                    <a:bodyPr/>
                    <a:lstStyle/>
                    <a:p>
                      <a:pPr algn="ctr" fontAlgn="ctr"/>
                      <a:r>
                        <a:rPr lang="it-IT" sz="700" b="0" i="0" u="none" strike="noStrike" dirty="0">
                          <a:solidFill>
                            <a:srgbClr val="000000"/>
                          </a:solidFill>
                          <a:effectLst/>
                          <a:latin typeface="Calibri" panose="020F0502020204030204" pitchFamily="34" charset="0"/>
                        </a:rPr>
                        <a:t>SS4</a:t>
                      </a:r>
                    </a:p>
                  </a:txBody>
                  <a:tcPr marL="6341" marR="6341" marT="634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00"/>
                    </a:solidFill>
                  </a:tcPr>
                </a:tc>
                <a:tc>
                  <a:txBody>
                    <a:bodyPr/>
                    <a:lstStyle/>
                    <a:p>
                      <a:pPr algn="ctr" fontAlgn="ctr"/>
                      <a:r>
                        <a:rPr lang="it-IT" sz="700" b="0" i="0" u="none" strike="noStrike" dirty="0">
                          <a:solidFill>
                            <a:srgbClr val="000000"/>
                          </a:solidFill>
                          <a:effectLst/>
                          <a:latin typeface="Calibri" panose="020F0502020204030204" pitchFamily="34" charset="0"/>
                        </a:rPr>
                        <a:t>S.S. N.4 Via Salaria Lavori di manutenzione straordinaria e di  ammodernamento degli impianti tecnologici a servizio della galleria "Colle Giardino"</a:t>
                      </a:r>
                    </a:p>
                  </a:txBody>
                  <a:tcPr marL="6341" marR="6341" marT="634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00"/>
                    </a:solidFill>
                  </a:tcPr>
                </a:tc>
                <a:tc>
                  <a:txBody>
                    <a:bodyPr/>
                    <a:lstStyle/>
                    <a:p>
                      <a:pPr algn="ctr" fontAlgn="ctr"/>
                      <a:r>
                        <a:rPr lang="it-IT" sz="700" b="0" i="0" u="none" strike="noStrike" dirty="0">
                          <a:solidFill>
                            <a:srgbClr val="000000"/>
                          </a:solidFill>
                          <a:effectLst/>
                          <a:latin typeface="Calibri" panose="020F0502020204030204" pitchFamily="34" charset="0"/>
                        </a:rPr>
                        <a:t>37,22</a:t>
                      </a:r>
                    </a:p>
                  </a:txBody>
                  <a:tcPr marL="6341" marR="6341" marT="634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00"/>
                    </a:solidFill>
                  </a:tcPr>
                </a:tc>
                <a:extLst>
                  <a:ext uri="{0D108BD9-81ED-4DB2-BD59-A6C34878D82A}">
                    <a16:rowId xmlns:a16="http://schemas.microsoft.com/office/drawing/2014/main" val="10005"/>
                  </a:ext>
                </a:extLst>
              </a:tr>
              <a:tr h="317637">
                <a:tc>
                  <a:txBody>
                    <a:bodyPr/>
                    <a:lstStyle/>
                    <a:p>
                      <a:pPr algn="ctr" fontAlgn="ctr"/>
                      <a:r>
                        <a:rPr lang="it-IT" sz="700" b="0" i="0" u="none" strike="noStrike">
                          <a:solidFill>
                            <a:srgbClr val="000000"/>
                          </a:solidFill>
                          <a:effectLst/>
                          <a:latin typeface="Calibri" panose="020F0502020204030204" pitchFamily="34" charset="0"/>
                        </a:rPr>
                        <a:t>5</a:t>
                      </a:r>
                    </a:p>
                  </a:txBody>
                  <a:tcPr marL="6341" marR="6341" marT="634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Lazio</a:t>
                      </a:r>
                    </a:p>
                  </a:txBody>
                  <a:tcPr marL="6341" marR="6341" marT="634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Impianti</a:t>
                      </a:r>
                    </a:p>
                  </a:txBody>
                  <a:tcPr marL="6341" marR="6341" marT="634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SS4</a:t>
                      </a:r>
                    </a:p>
                  </a:txBody>
                  <a:tcPr marL="6341" marR="6341" marT="634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S.S. N.4 Via Salaria Lavori di manutenzione straordinaria e di  ammodernamento degli impianti tecnologici a servizio della galleria "Sigillo"</a:t>
                      </a:r>
                    </a:p>
                  </a:txBody>
                  <a:tcPr marL="6341" marR="6341" marT="634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4,53</a:t>
                      </a:r>
                    </a:p>
                  </a:txBody>
                  <a:tcPr marL="6341" marR="6341" marT="634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0006"/>
                  </a:ext>
                </a:extLst>
              </a:tr>
              <a:tr h="317637">
                <a:tc>
                  <a:txBody>
                    <a:bodyPr/>
                    <a:lstStyle/>
                    <a:p>
                      <a:pPr algn="ctr" fontAlgn="ctr"/>
                      <a:r>
                        <a:rPr lang="it-IT" sz="700" b="0" i="0" u="none" strike="noStrike" dirty="0">
                          <a:solidFill>
                            <a:srgbClr val="000000"/>
                          </a:solidFill>
                          <a:effectLst/>
                          <a:latin typeface="Calibri" panose="020F0502020204030204" pitchFamily="34" charset="0"/>
                        </a:rPr>
                        <a:t>6</a:t>
                      </a:r>
                    </a:p>
                  </a:txBody>
                  <a:tcPr marL="6341" marR="6341" marT="634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Lazio</a:t>
                      </a:r>
                    </a:p>
                  </a:txBody>
                  <a:tcPr marL="6341" marR="6341" marT="634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Piano Viabile</a:t>
                      </a:r>
                    </a:p>
                  </a:txBody>
                  <a:tcPr marL="6341" marR="6341" marT="634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SS260</a:t>
                      </a:r>
                      <a:br>
                        <a:rPr lang="it-IT" sz="700" b="0" i="0" u="none" strike="noStrike">
                          <a:solidFill>
                            <a:srgbClr val="000000"/>
                          </a:solidFill>
                          <a:effectLst/>
                          <a:latin typeface="Calibri" panose="020F0502020204030204" pitchFamily="34" charset="0"/>
                        </a:rPr>
                      </a:br>
                      <a:r>
                        <a:rPr lang="it-IT" sz="700" b="0" i="0" u="none" strike="noStrike">
                          <a:solidFill>
                            <a:srgbClr val="000000"/>
                          </a:solidFill>
                          <a:effectLst/>
                          <a:latin typeface="Calibri" panose="020F0502020204030204" pitchFamily="34" charset="0"/>
                        </a:rPr>
                        <a:t>SS471</a:t>
                      </a:r>
                    </a:p>
                  </a:txBody>
                  <a:tcPr marL="6341" marR="6341" marT="634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S.S. 260, S.S. 471 - Lavori di manutenzione programmata per il risanamento del piano viabile in tratti saltuari. Lavori anche notturni</a:t>
                      </a:r>
                    </a:p>
                  </a:txBody>
                  <a:tcPr marL="6341" marR="6341" marT="634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4,50</a:t>
                      </a:r>
                    </a:p>
                  </a:txBody>
                  <a:tcPr marL="6341" marR="6341" marT="634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0007"/>
                  </a:ext>
                </a:extLst>
              </a:tr>
              <a:tr h="317637">
                <a:tc>
                  <a:txBody>
                    <a:bodyPr/>
                    <a:lstStyle/>
                    <a:p>
                      <a:pPr algn="ctr" fontAlgn="ctr"/>
                      <a:r>
                        <a:rPr lang="it-IT" sz="700" b="0" i="0" u="none" strike="noStrike">
                          <a:solidFill>
                            <a:srgbClr val="000000"/>
                          </a:solidFill>
                          <a:effectLst/>
                          <a:latin typeface="Calibri" panose="020F0502020204030204" pitchFamily="34" charset="0"/>
                        </a:rPr>
                        <a:t>7</a:t>
                      </a:r>
                    </a:p>
                  </a:txBody>
                  <a:tcPr marL="6341" marR="6341" marT="634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Lazio</a:t>
                      </a:r>
                    </a:p>
                  </a:txBody>
                  <a:tcPr marL="6341" marR="6341" marT="634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Piano Viabile</a:t>
                      </a:r>
                    </a:p>
                  </a:txBody>
                  <a:tcPr marL="6341" marR="6341" marT="634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SS578</a:t>
                      </a:r>
                    </a:p>
                  </a:txBody>
                  <a:tcPr marL="6341" marR="6341" marT="634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S.S. 578 - Lavori di manutenzione programmata per il risanamento del piano viabile in tratti saltuari  . Lavori anche notturni</a:t>
                      </a:r>
                    </a:p>
                  </a:txBody>
                  <a:tcPr marL="6341" marR="6341" marT="634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4,50</a:t>
                      </a:r>
                    </a:p>
                  </a:txBody>
                  <a:tcPr marL="6341" marR="6341" marT="634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0008"/>
                  </a:ext>
                </a:extLst>
              </a:tr>
              <a:tr h="317637">
                <a:tc>
                  <a:txBody>
                    <a:bodyPr/>
                    <a:lstStyle/>
                    <a:p>
                      <a:pPr algn="ctr" fontAlgn="ctr"/>
                      <a:r>
                        <a:rPr lang="it-IT" sz="700" b="0" i="0" u="none" strike="noStrike" dirty="0">
                          <a:solidFill>
                            <a:srgbClr val="000000"/>
                          </a:solidFill>
                          <a:effectLst/>
                          <a:latin typeface="Calibri" panose="020F0502020204030204" pitchFamily="34" charset="0"/>
                        </a:rPr>
                        <a:t>8</a:t>
                      </a:r>
                    </a:p>
                  </a:txBody>
                  <a:tcPr marL="6341" marR="6341" marT="634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00"/>
                    </a:solidFill>
                  </a:tcPr>
                </a:tc>
                <a:tc>
                  <a:txBody>
                    <a:bodyPr/>
                    <a:lstStyle/>
                    <a:p>
                      <a:pPr algn="ctr" fontAlgn="ctr"/>
                      <a:r>
                        <a:rPr lang="it-IT" sz="700" b="0" i="0" u="none" strike="noStrike" dirty="0">
                          <a:solidFill>
                            <a:srgbClr val="000000"/>
                          </a:solidFill>
                          <a:effectLst/>
                          <a:latin typeface="Calibri" panose="020F0502020204030204" pitchFamily="34" charset="0"/>
                        </a:rPr>
                        <a:t>Lazio</a:t>
                      </a:r>
                    </a:p>
                  </a:txBody>
                  <a:tcPr marL="6341" marR="6341" marT="634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00"/>
                    </a:solidFill>
                  </a:tcPr>
                </a:tc>
                <a:tc>
                  <a:txBody>
                    <a:bodyPr/>
                    <a:lstStyle/>
                    <a:p>
                      <a:pPr algn="ctr" fontAlgn="ctr"/>
                      <a:r>
                        <a:rPr lang="it-IT" sz="700" b="0" i="0" u="none" strike="noStrike" dirty="0">
                          <a:solidFill>
                            <a:srgbClr val="000000"/>
                          </a:solidFill>
                          <a:effectLst/>
                          <a:latin typeface="Calibri" panose="020F0502020204030204" pitchFamily="34" charset="0"/>
                        </a:rPr>
                        <a:t>Opere d'Arte</a:t>
                      </a:r>
                    </a:p>
                  </a:txBody>
                  <a:tcPr marL="6341" marR="6341" marT="634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00"/>
                    </a:solidFill>
                  </a:tcPr>
                </a:tc>
                <a:tc>
                  <a:txBody>
                    <a:bodyPr/>
                    <a:lstStyle/>
                    <a:p>
                      <a:pPr algn="ctr" fontAlgn="ctr"/>
                      <a:r>
                        <a:rPr lang="it-IT" sz="700" b="0" i="0" u="none" strike="noStrike" dirty="0">
                          <a:solidFill>
                            <a:srgbClr val="000000"/>
                          </a:solidFill>
                          <a:effectLst/>
                          <a:latin typeface="Calibri" panose="020F0502020204030204" pitchFamily="34" charset="0"/>
                        </a:rPr>
                        <a:t>SS7</a:t>
                      </a:r>
                    </a:p>
                  </a:txBody>
                  <a:tcPr marL="6341" marR="6341" marT="634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00"/>
                    </a:solidFill>
                  </a:tcPr>
                </a:tc>
                <a:tc>
                  <a:txBody>
                    <a:bodyPr/>
                    <a:lstStyle/>
                    <a:p>
                      <a:pPr algn="ctr" fontAlgn="ctr"/>
                      <a:r>
                        <a:rPr lang="it-IT" sz="700" b="0" i="0" u="none" strike="noStrike" dirty="0">
                          <a:solidFill>
                            <a:srgbClr val="000000"/>
                          </a:solidFill>
                          <a:effectLst/>
                          <a:latin typeface="Calibri" panose="020F0502020204030204" pitchFamily="34" charset="0"/>
                        </a:rPr>
                        <a:t>Interventi di adeguamento al </a:t>
                      </a:r>
                      <a:r>
                        <a:rPr lang="it-IT" sz="700" b="0" i="0" u="none" strike="noStrike" dirty="0" err="1">
                          <a:solidFill>
                            <a:srgbClr val="000000"/>
                          </a:solidFill>
                          <a:effectLst/>
                          <a:latin typeface="Calibri" panose="020F0502020204030204" pitchFamily="34" charset="0"/>
                        </a:rPr>
                        <a:t>DLgs</a:t>
                      </a:r>
                      <a:r>
                        <a:rPr lang="it-IT" sz="700" b="0" i="0" u="none" strike="noStrike" dirty="0">
                          <a:solidFill>
                            <a:srgbClr val="000000"/>
                          </a:solidFill>
                          <a:effectLst/>
                          <a:latin typeface="Calibri" panose="020F0502020204030204" pitchFamily="34" charset="0"/>
                        </a:rPr>
                        <a:t> 264/06 delle opere civili della galleria Tempio di Giove - Canna direzione nord</a:t>
                      </a:r>
                    </a:p>
                  </a:txBody>
                  <a:tcPr marL="6341" marR="6341" marT="634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00"/>
                    </a:solidFill>
                  </a:tcPr>
                </a:tc>
                <a:tc>
                  <a:txBody>
                    <a:bodyPr/>
                    <a:lstStyle/>
                    <a:p>
                      <a:pPr algn="ctr" fontAlgn="ctr"/>
                      <a:r>
                        <a:rPr lang="it-IT" sz="700" b="0" i="0" u="none" strike="noStrike" dirty="0">
                          <a:solidFill>
                            <a:srgbClr val="000000"/>
                          </a:solidFill>
                          <a:effectLst/>
                          <a:latin typeface="Calibri" panose="020F0502020204030204" pitchFamily="34" charset="0"/>
                        </a:rPr>
                        <a:t>24,50</a:t>
                      </a:r>
                    </a:p>
                  </a:txBody>
                  <a:tcPr marL="6341" marR="6341" marT="634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00"/>
                    </a:solidFill>
                  </a:tcPr>
                </a:tc>
                <a:extLst>
                  <a:ext uri="{0D108BD9-81ED-4DB2-BD59-A6C34878D82A}">
                    <a16:rowId xmlns:a16="http://schemas.microsoft.com/office/drawing/2014/main" val="10009"/>
                  </a:ext>
                </a:extLst>
              </a:tr>
              <a:tr h="322327">
                <a:tc>
                  <a:txBody>
                    <a:bodyPr/>
                    <a:lstStyle/>
                    <a:p>
                      <a:pPr algn="ctr" fontAlgn="ctr"/>
                      <a:r>
                        <a:rPr lang="it-IT" sz="700" b="0" i="0" u="none" strike="noStrike">
                          <a:solidFill>
                            <a:srgbClr val="000000"/>
                          </a:solidFill>
                          <a:effectLst/>
                          <a:latin typeface="Calibri" panose="020F0502020204030204" pitchFamily="34" charset="0"/>
                        </a:rPr>
                        <a:t>9</a:t>
                      </a:r>
                    </a:p>
                  </a:txBody>
                  <a:tcPr marL="6341" marR="6341" marT="634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Lazio</a:t>
                      </a:r>
                    </a:p>
                  </a:txBody>
                  <a:tcPr marL="6341" marR="6341" marT="634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Piano Viabile</a:t>
                      </a:r>
                    </a:p>
                  </a:txBody>
                  <a:tcPr marL="6341" marR="6341" marT="634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A90</a:t>
                      </a:r>
                      <a:br>
                        <a:rPr lang="it-IT" sz="700" b="0" i="0" u="none" strike="noStrike">
                          <a:solidFill>
                            <a:srgbClr val="000000"/>
                          </a:solidFill>
                          <a:effectLst/>
                          <a:latin typeface="Calibri" panose="020F0502020204030204" pitchFamily="34" charset="0"/>
                        </a:rPr>
                      </a:br>
                      <a:r>
                        <a:rPr lang="it-IT" sz="700" b="0" i="0" u="none" strike="noStrike">
                          <a:solidFill>
                            <a:srgbClr val="000000"/>
                          </a:solidFill>
                          <a:effectLst/>
                          <a:latin typeface="Calibri" panose="020F0502020204030204" pitchFamily="34" charset="0"/>
                        </a:rPr>
                        <a:t>A91</a:t>
                      </a:r>
                    </a:p>
                  </a:txBody>
                  <a:tcPr marL="6341" marR="6341" marT="634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2F2F2"/>
                    </a:solidFill>
                  </a:tcPr>
                </a:tc>
                <a:tc>
                  <a:txBody>
                    <a:bodyPr/>
                    <a:lstStyle/>
                    <a:p>
                      <a:pPr algn="ctr" fontAlgn="ctr"/>
                      <a:r>
                        <a:rPr lang="it-IT" sz="700" b="0" i="0" u="none" strike="noStrike" dirty="0">
                          <a:solidFill>
                            <a:srgbClr val="000000"/>
                          </a:solidFill>
                          <a:effectLst/>
                          <a:latin typeface="Calibri" panose="020F0502020204030204" pitchFamily="34" charset="0"/>
                        </a:rPr>
                        <a:t>Autostrade A90 “Grande Raccordo Anulare” e A91 “Roma Aeroporto di Fiumicino”. Lavori di risanamento del piano viabile in tratti saltuari delle Autostrade del CMD comprese complanari e svincoli. Lavori notturni.</a:t>
                      </a:r>
                    </a:p>
                  </a:txBody>
                  <a:tcPr marL="6341" marR="6341" marT="634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2F2F2"/>
                    </a:solidFill>
                  </a:tcPr>
                </a:tc>
                <a:tc>
                  <a:txBody>
                    <a:bodyPr/>
                    <a:lstStyle/>
                    <a:p>
                      <a:pPr algn="ctr" fontAlgn="ctr"/>
                      <a:r>
                        <a:rPr lang="it-IT" sz="700" b="0" i="0" u="none" strike="noStrike" dirty="0">
                          <a:solidFill>
                            <a:srgbClr val="000000"/>
                          </a:solidFill>
                          <a:effectLst/>
                          <a:latin typeface="Calibri" panose="020F0502020204030204" pitchFamily="34" charset="0"/>
                        </a:rPr>
                        <a:t>6,00</a:t>
                      </a:r>
                    </a:p>
                  </a:txBody>
                  <a:tcPr marL="6341" marR="6341" marT="634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2F2F2"/>
                    </a:solidFill>
                  </a:tcPr>
                </a:tc>
                <a:extLst>
                  <a:ext uri="{0D108BD9-81ED-4DB2-BD59-A6C34878D82A}">
                    <a16:rowId xmlns:a16="http://schemas.microsoft.com/office/drawing/2014/main" val="10010"/>
                  </a:ext>
                </a:extLst>
              </a:tr>
              <a:tr h="158819">
                <a:tc gridSpan="6">
                  <a:txBody>
                    <a:bodyPr/>
                    <a:lstStyle/>
                    <a:p>
                      <a:pPr algn="ctr" fontAlgn="ctr"/>
                      <a:r>
                        <a:rPr lang="it-IT" sz="700" b="1" i="0" u="none" strike="noStrike" dirty="0">
                          <a:solidFill>
                            <a:srgbClr val="FFFFFF"/>
                          </a:solidFill>
                          <a:effectLst/>
                          <a:latin typeface="Calibri" panose="020F0502020204030204" pitchFamily="34" charset="0"/>
                        </a:rPr>
                        <a:t> </a:t>
                      </a:r>
                    </a:p>
                  </a:txBody>
                  <a:tcPr marL="6341" marR="6341" marT="6341" marB="0" anchor="ctr">
                    <a:lnL w="6350" cap="flat" cmpd="sng" algn="ctr">
                      <a:solidFill>
                        <a:srgbClr val="A6A6A6"/>
                      </a:solidFill>
                      <a:prstDash val="solid"/>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DC002E"/>
                    </a:solidFill>
                  </a:tcPr>
                </a:tc>
                <a:tc hMerge="1">
                  <a:txBody>
                    <a:bodyPr/>
                    <a:lstStyle/>
                    <a:p>
                      <a:endParaRPr lang="it-IT"/>
                    </a:p>
                  </a:txBody>
                  <a:tcPr/>
                </a:tc>
                <a:tc hMerge="1">
                  <a:txBody>
                    <a:bodyPr/>
                    <a:lstStyle/>
                    <a:p>
                      <a:endParaRPr lang="it-IT"/>
                    </a:p>
                  </a:txBody>
                  <a:tcPr/>
                </a:tc>
                <a:tc hMerge="1">
                  <a:txBody>
                    <a:bodyPr/>
                    <a:lstStyle/>
                    <a:p>
                      <a:endParaRPr lang="it-IT"/>
                    </a:p>
                  </a:txBody>
                  <a:tcPr/>
                </a:tc>
                <a:tc hMerge="1">
                  <a:txBody>
                    <a:bodyPr/>
                    <a:lstStyle/>
                    <a:p>
                      <a:endParaRPr lang="it-IT"/>
                    </a:p>
                  </a:txBody>
                  <a:tcPr/>
                </a:tc>
                <a:tc hMerge="1">
                  <a:txBody>
                    <a:bodyPr/>
                    <a:lstStyle/>
                    <a:p>
                      <a:endParaRPr lang="it-IT"/>
                    </a:p>
                  </a:txBody>
                  <a:tcPr/>
                </a:tc>
                <a:extLst>
                  <a:ext uri="{0D108BD9-81ED-4DB2-BD59-A6C34878D82A}">
                    <a16:rowId xmlns:a16="http://schemas.microsoft.com/office/drawing/2014/main" val="10011"/>
                  </a:ext>
                </a:extLst>
              </a:tr>
            </a:tbl>
          </a:graphicData>
        </a:graphic>
      </p:graphicFrame>
      <p:sp>
        <p:nvSpPr>
          <p:cNvPr id="12" name="CasellaDiTesto 11"/>
          <p:cNvSpPr txBox="1"/>
          <p:nvPr/>
        </p:nvSpPr>
        <p:spPr>
          <a:xfrm>
            <a:off x="379973" y="1775709"/>
            <a:ext cx="1468582" cy="276999"/>
          </a:xfrm>
          <a:prstGeom prst="rect">
            <a:avLst/>
          </a:prstGeom>
          <a:noFill/>
        </p:spPr>
        <p:txBody>
          <a:bodyPr wrap="square" rtlCol="0">
            <a:spAutoFit/>
          </a:bodyPr>
          <a:lstStyle/>
          <a:p>
            <a:r>
              <a:rPr lang="it-IT" sz="1200" b="1" dirty="0"/>
              <a:t>€/milioni</a:t>
            </a:r>
          </a:p>
        </p:txBody>
      </p:sp>
      <p:graphicFrame>
        <p:nvGraphicFramePr>
          <p:cNvPr id="8" name="Diagramma 7"/>
          <p:cNvGraphicFramePr/>
          <p:nvPr>
            <p:extLst>
              <p:ext uri="{D42A27DB-BD31-4B8C-83A1-F6EECF244321}">
                <p14:modId xmlns:p14="http://schemas.microsoft.com/office/powerpoint/2010/main" val="2826712888"/>
              </p:ext>
            </p:extLst>
          </p:nvPr>
        </p:nvGraphicFramePr>
        <p:xfrm>
          <a:off x="134978" y="16679"/>
          <a:ext cx="8286246" cy="8116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649629107"/>
      </p:ext>
    </p:extLst>
  </p:cSld>
  <p:clrMapOvr>
    <a:masterClrMapping/>
  </p:clrMapOvr>
  <p:transition spd="slow">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ttangolo arrotondato 55"/>
          <p:cNvSpPr/>
          <p:nvPr/>
        </p:nvSpPr>
        <p:spPr>
          <a:xfrm>
            <a:off x="5928021" y="2538205"/>
            <a:ext cx="1730760" cy="363760"/>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defTabSz="914263"/>
            <a:r>
              <a:rPr lang="it-IT" b="1" dirty="0">
                <a:solidFill>
                  <a:schemeClr val="bg1">
                    <a:lumMod val="50000"/>
                  </a:schemeClr>
                </a:solidFill>
                <a:latin typeface="+mj-lt"/>
              </a:rPr>
              <a:t>Impianti</a:t>
            </a:r>
            <a:endParaRPr lang="it-IT" sz="2000" b="1" dirty="0">
              <a:solidFill>
                <a:schemeClr val="bg1">
                  <a:lumMod val="50000"/>
                </a:schemeClr>
              </a:solidFill>
              <a:latin typeface="+mj-lt"/>
            </a:endParaRPr>
          </a:p>
        </p:txBody>
      </p:sp>
      <p:sp>
        <p:nvSpPr>
          <p:cNvPr id="5" name="Titolo 1"/>
          <p:cNvSpPr txBox="1">
            <a:spLocks/>
          </p:cNvSpPr>
          <p:nvPr/>
        </p:nvSpPr>
        <p:spPr>
          <a:xfrm>
            <a:off x="299404" y="869913"/>
            <a:ext cx="8382465" cy="529325"/>
          </a:xfrm>
          <a:prstGeom prst="rect">
            <a:avLst/>
          </a:prstGeom>
        </p:spPr>
        <p:txBody>
          <a:bodyPr/>
          <a:lst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a:lstStyle>
          <a:p>
            <a:pPr marL="257175" indent="-257175" defTabSz="685800" eaLnBrk="0" fontAlgn="base" hangingPunct="0">
              <a:spcBef>
                <a:spcPts val="900"/>
              </a:spcBef>
              <a:spcAft>
                <a:spcPct val="0"/>
              </a:spcAft>
              <a:defRPr/>
            </a:pPr>
            <a:r>
              <a:rPr lang="it-IT" sz="2000" dirty="0">
                <a:solidFill>
                  <a:srgbClr val="C00000"/>
                </a:solidFill>
              </a:rPr>
              <a:t>Approvazione Progetti MP 2019-20-21</a:t>
            </a:r>
            <a:endParaRPr lang="it-IT" sz="2000" u="sng" dirty="0">
              <a:solidFill>
                <a:srgbClr val="C00000"/>
              </a:solidFill>
            </a:endParaRPr>
          </a:p>
        </p:txBody>
      </p:sp>
      <p:sp>
        <p:nvSpPr>
          <p:cNvPr id="42" name="Rettangolo arrotondato 41"/>
          <p:cNvSpPr/>
          <p:nvPr/>
        </p:nvSpPr>
        <p:spPr>
          <a:xfrm>
            <a:off x="1581318" y="4732242"/>
            <a:ext cx="1730760" cy="50969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defTabSz="914263"/>
            <a:r>
              <a:rPr lang="it-IT" b="1" dirty="0">
                <a:solidFill>
                  <a:schemeClr val="bg1">
                    <a:lumMod val="50000"/>
                  </a:schemeClr>
                </a:solidFill>
                <a:latin typeface="+mj-lt"/>
              </a:rPr>
              <a:t>n. 72 Progetti</a:t>
            </a:r>
            <a:endParaRPr lang="it-IT" sz="2000" b="1" dirty="0">
              <a:solidFill>
                <a:schemeClr val="bg1">
                  <a:lumMod val="50000"/>
                </a:schemeClr>
              </a:solidFill>
              <a:latin typeface="+mj-lt"/>
            </a:endParaRPr>
          </a:p>
        </p:txBody>
      </p:sp>
      <p:sp>
        <p:nvSpPr>
          <p:cNvPr id="43" name="Shape 455"/>
          <p:cNvSpPr>
            <a:spLocks noChangeAspect="1"/>
          </p:cNvSpPr>
          <p:nvPr/>
        </p:nvSpPr>
        <p:spPr>
          <a:xfrm>
            <a:off x="3250357" y="4547522"/>
            <a:ext cx="893153" cy="879135"/>
          </a:xfrm>
          <a:prstGeom prst="ellipse">
            <a:avLst/>
          </a:prstGeom>
          <a:ln w="57150"/>
        </p:spPr>
        <p:style>
          <a:lnRef idx="2">
            <a:schemeClr val="accent2"/>
          </a:lnRef>
          <a:fillRef idx="1">
            <a:schemeClr val="lt1"/>
          </a:fillRef>
          <a:effectRef idx="0">
            <a:schemeClr val="accent2"/>
          </a:effectRef>
          <a:fontRef idx="minor">
            <a:schemeClr val="dk1"/>
          </a:fontRef>
        </p:style>
        <p:txBody>
          <a:bodyPr wrap="square" lIns="0" tIns="108000" rIns="0" bIns="0" numCol="1" anchor="t" anchorCtr="0">
            <a:noAutofit/>
          </a:bodyPr>
          <a:lstStyle/>
          <a:p>
            <a:pPr algn="ctr">
              <a:lnSpc>
                <a:spcPts val="1500"/>
              </a:lnSpc>
              <a:defRPr sz="3000" b="1">
                <a:solidFill>
                  <a:srgbClr val="1C4598"/>
                </a:solidFill>
                <a:latin typeface="Arial"/>
                <a:ea typeface="Arial"/>
                <a:cs typeface="Arial"/>
                <a:sym typeface="Arial"/>
              </a:defRPr>
            </a:pPr>
            <a:endParaRPr lang="it-IT" sz="1400" dirty="0">
              <a:ln w="0"/>
              <a:solidFill>
                <a:schemeClr val="accent1"/>
              </a:solidFill>
              <a:effectLst>
                <a:outerShdw blurRad="38100" dist="25400" dir="5400000" algn="ctr" rotWithShape="0">
                  <a:srgbClr val="6E747A">
                    <a:alpha val="43000"/>
                  </a:srgbClr>
                </a:outerShdw>
              </a:effectLst>
              <a:latin typeface="+mj-lt"/>
            </a:endParaRPr>
          </a:p>
          <a:p>
            <a:pPr algn="ctr">
              <a:lnSpc>
                <a:spcPts val="1500"/>
              </a:lnSpc>
              <a:defRPr sz="3000" b="1">
                <a:solidFill>
                  <a:srgbClr val="1C4598"/>
                </a:solidFill>
                <a:latin typeface="Arial"/>
                <a:ea typeface="Arial"/>
                <a:cs typeface="Arial"/>
                <a:sym typeface="Arial"/>
              </a:defRPr>
            </a:pPr>
            <a:endParaRPr sz="1400" dirty="0">
              <a:ln w="0"/>
              <a:solidFill>
                <a:schemeClr val="accent1"/>
              </a:solidFill>
              <a:effectLst>
                <a:outerShdw blurRad="38100" dist="25400" dir="5400000" algn="ctr" rotWithShape="0">
                  <a:srgbClr val="6E747A">
                    <a:alpha val="43000"/>
                  </a:srgbClr>
                </a:outerShdw>
              </a:effectLst>
              <a:latin typeface="+mj-lt"/>
            </a:endParaRPr>
          </a:p>
        </p:txBody>
      </p:sp>
      <p:sp>
        <p:nvSpPr>
          <p:cNvPr id="51" name="Shape 455"/>
          <p:cNvSpPr>
            <a:spLocks noChangeAspect="1"/>
          </p:cNvSpPr>
          <p:nvPr/>
        </p:nvSpPr>
        <p:spPr>
          <a:xfrm>
            <a:off x="5246593" y="2436993"/>
            <a:ext cx="612000" cy="602395"/>
          </a:xfrm>
          <a:prstGeom prst="ellipse">
            <a:avLst/>
          </a:prstGeom>
          <a:ln w="57150">
            <a:solidFill>
              <a:srgbClr val="CC0000"/>
            </a:solidFill>
          </a:ln>
        </p:spPr>
        <p:style>
          <a:lnRef idx="2">
            <a:schemeClr val="accent2"/>
          </a:lnRef>
          <a:fillRef idx="1">
            <a:schemeClr val="lt1"/>
          </a:fillRef>
          <a:effectRef idx="0">
            <a:schemeClr val="accent2"/>
          </a:effectRef>
          <a:fontRef idx="minor">
            <a:schemeClr val="dk1"/>
          </a:fontRef>
        </p:style>
        <p:txBody>
          <a:bodyPr wrap="square" lIns="0" tIns="108000" rIns="0" bIns="0" numCol="1" anchor="t" anchorCtr="0">
            <a:noAutofit/>
          </a:bodyPr>
          <a:lstStyle/>
          <a:p>
            <a:pPr algn="ctr">
              <a:lnSpc>
                <a:spcPts val="1500"/>
              </a:lnSpc>
              <a:defRPr sz="3000" b="1">
                <a:solidFill>
                  <a:srgbClr val="1C4598"/>
                </a:solidFill>
                <a:latin typeface="Arial"/>
                <a:ea typeface="Arial"/>
                <a:cs typeface="Arial"/>
                <a:sym typeface="Arial"/>
              </a:defRPr>
            </a:pPr>
            <a:r>
              <a:rPr lang="it-IT" sz="1400" dirty="0">
                <a:ln w="0"/>
                <a:solidFill>
                  <a:schemeClr val="accent1"/>
                </a:solidFill>
                <a:effectLst>
                  <a:outerShdw blurRad="38100" dist="25400" dir="5400000" algn="ctr" rotWithShape="0">
                    <a:srgbClr val="6E747A">
                      <a:alpha val="43000"/>
                    </a:srgbClr>
                  </a:outerShdw>
                </a:effectLst>
                <a:latin typeface="+mj-lt"/>
              </a:rPr>
              <a:t>54,5</a:t>
            </a:r>
            <a:endParaRPr sz="1400" dirty="0">
              <a:ln w="0"/>
              <a:solidFill>
                <a:schemeClr val="accent1"/>
              </a:solidFill>
              <a:effectLst>
                <a:outerShdw blurRad="38100" dist="25400" dir="5400000" algn="ctr" rotWithShape="0">
                  <a:srgbClr val="6E747A">
                    <a:alpha val="43000"/>
                  </a:srgbClr>
                </a:outerShdw>
              </a:effectLst>
              <a:latin typeface="+mj-lt"/>
            </a:endParaRPr>
          </a:p>
        </p:txBody>
      </p:sp>
      <p:sp>
        <p:nvSpPr>
          <p:cNvPr id="53" name="Shape 455"/>
          <p:cNvSpPr>
            <a:spLocks noChangeAspect="1"/>
          </p:cNvSpPr>
          <p:nvPr/>
        </p:nvSpPr>
        <p:spPr>
          <a:xfrm>
            <a:off x="5246593" y="3186604"/>
            <a:ext cx="612000" cy="602395"/>
          </a:xfrm>
          <a:prstGeom prst="ellipse">
            <a:avLst/>
          </a:prstGeom>
          <a:ln w="57150">
            <a:solidFill>
              <a:srgbClr val="CC0000"/>
            </a:solidFill>
          </a:ln>
        </p:spPr>
        <p:style>
          <a:lnRef idx="2">
            <a:schemeClr val="accent2"/>
          </a:lnRef>
          <a:fillRef idx="1">
            <a:schemeClr val="lt1"/>
          </a:fillRef>
          <a:effectRef idx="0">
            <a:schemeClr val="accent2"/>
          </a:effectRef>
          <a:fontRef idx="minor">
            <a:schemeClr val="dk1"/>
          </a:fontRef>
        </p:style>
        <p:txBody>
          <a:bodyPr wrap="square" lIns="0" tIns="108000" rIns="0" bIns="0" numCol="1" anchor="t" anchorCtr="0">
            <a:noAutofit/>
          </a:bodyPr>
          <a:lstStyle/>
          <a:p>
            <a:pPr algn="ctr">
              <a:lnSpc>
                <a:spcPts val="1500"/>
              </a:lnSpc>
              <a:defRPr sz="3000" b="1">
                <a:solidFill>
                  <a:srgbClr val="1C4598"/>
                </a:solidFill>
                <a:latin typeface="Arial"/>
                <a:ea typeface="Arial"/>
                <a:cs typeface="Arial"/>
                <a:sym typeface="Arial"/>
              </a:defRPr>
            </a:pPr>
            <a:r>
              <a:rPr lang="it-IT" sz="1400" dirty="0">
                <a:ln w="0"/>
                <a:solidFill>
                  <a:schemeClr val="accent1"/>
                </a:solidFill>
                <a:effectLst>
                  <a:outerShdw blurRad="38100" dist="25400" dir="5400000" algn="ctr" rotWithShape="0">
                    <a:srgbClr val="6E747A">
                      <a:alpha val="43000"/>
                    </a:srgbClr>
                  </a:outerShdw>
                </a:effectLst>
                <a:latin typeface="+mj-lt"/>
              </a:rPr>
              <a:t>23,4</a:t>
            </a:r>
            <a:endParaRPr sz="1400" dirty="0">
              <a:ln w="0"/>
              <a:solidFill>
                <a:schemeClr val="accent1"/>
              </a:solidFill>
              <a:effectLst>
                <a:outerShdw blurRad="38100" dist="25400" dir="5400000" algn="ctr" rotWithShape="0">
                  <a:srgbClr val="6E747A">
                    <a:alpha val="43000"/>
                  </a:srgbClr>
                </a:outerShdw>
              </a:effectLst>
              <a:latin typeface="+mj-lt"/>
            </a:endParaRPr>
          </a:p>
        </p:txBody>
      </p:sp>
      <p:sp>
        <p:nvSpPr>
          <p:cNvPr id="59" name="Shape 455"/>
          <p:cNvSpPr>
            <a:spLocks noChangeAspect="1"/>
          </p:cNvSpPr>
          <p:nvPr/>
        </p:nvSpPr>
        <p:spPr>
          <a:xfrm>
            <a:off x="5253155" y="3936215"/>
            <a:ext cx="612000" cy="602395"/>
          </a:xfrm>
          <a:prstGeom prst="ellipse">
            <a:avLst/>
          </a:prstGeom>
          <a:ln w="57150">
            <a:solidFill>
              <a:srgbClr val="CC0000"/>
            </a:solidFill>
          </a:ln>
        </p:spPr>
        <p:style>
          <a:lnRef idx="2">
            <a:schemeClr val="accent2"/>
          </a:lnRef>
          <a:fillRef idx="1">
            <a:schemeClr val="lt1"/>
          </a:fillRef>
          <a:effectRef idx="0">
            <a:schemeClr val="accent2"/>
          </a:effectRef>
          <a:fontRef idx="minor">
            <a:schemeClr val="dk1"/>
          </a:fontRef>
        </p:style>
        <p:txBody>
          <a:bodyPr wrap="square" lIns="0" tIns="108000" rIns="0" bIns="0" numCol="1" anchor="t" anchorCtr="0">
            <a:noAutofit/>
          </a:bodyPr>
          <a:lstStyle/>
          <a:p>
            <a:pPr algn="ctr">
              <a:lnSpc>
                <a:spcPts val="1500"/>
              </a:lnSpc>
              <a:defRPr sz="3000" b="1">
                <a:solidFill>
                  <a:srgbClr val="1C4598"/>
                </a:solidFill>
                <a:latin typeface="Arial"/>
                <a:ea typeface="Arial"/>
                <a:cs typeface="Arial"/>
                <a:sym typeface="Arial"/>
              </a:defRPr>
            </a:pPr>
            <a:r>
              <a:rPr lang="it-IT" sz="1400" dirty="0">
                <a:ln w="0"/>
                <a:solidFill>
                  <a:schemeClr val="accent1"/>
                </a:solidFill>
                <a:effectLst>
                  <a:outerShdw blurRad="38100" dist="25400" dir="5400000" algn="ctr" rotWithShape="0">
                    <a:srgbClr val="6E747A">
                      <a:alpha val="43000"/>
                    </a:srgbClr>
                  </a:outerShdw>
                </a:effectLst>
                <a:latin typeface="+mj-lt"/>
              </a:rPr>
              <a:t>39,9</a:t>
            </a:r>
            <a:endParaRPr sz="1400" dirty="0">
              <a:ln w="0"/>
              <a:solidFill>
                <a:schemeClr val="accent1"/>
              </a:solidFill>
              <a:effectLst>
                <a:outerShdw blurRad="38100" dist="25400" dir="5400000" algn="ctr" rotWithShape="0">
                  <a:srgbClr val="6E747A">
                    <a:alpha val="43000"/>
                  </a:srgbClr>
                </a:outerShdw>
              </a:effectLst>
              <a:latin typeface="+mj-lt"/>
            </a:endParaRPr>
          </a:p>
        </p:txBody>
      </p:sp>
      <p:sp>
        <p:nvSpPr>
          <p:cNvPr id="61" name="Shape 455"/>
          <p:cNvSpPr>
            <a:spLocks noChangeAspect="1"/>
          </p:cNvSpPr>
          <p:nvPr/>
        </p:nvSpPr>
        <p:spPr>
          <a:xfrm>
            <a:off x="5246279" y="4685826"/>
            <a:ext cx="612000" cy="602395"/>
          </a:xfrm>
          <a:prstGeom prst="ellipse">
            <a:avLst/>
          </a:prstGeom>
          <a:ln w="57150">
            <a:solidFill>
              <a:srgbClr val="CC0000"/>
            </a:solidFill>
          </a:ln>
        </p:spPr>
        <p:style>
          <a:lnRef idx="2">
            <a:schemeClr val="accent2"/>
          </a:lnRef>
          <a:fillRef idx="1">
            <a:schemeClr val="lt1"/>
          </a:fillRef>
          <a:effectRef idx="0">
            <a:schemeClr val="accent2"/>
          </a:effectRef>
          <a:fontRef idx="minor">
            <a:schemeClr val="dk1"/>
          </a:fontRef>
        </p:style>
        <p:txBody>
          <a:bodyPr wrap="square" lIns="0" tIns="108000" rIns="0" bIns="0" numCol="1" anchor="t" anchorCtr="0">
            <a:noAutofit/>
          </a:bodyPr>
          <a:lstStyle/>
          <a:p>
            <a:pPr algn="ctr">
              <a:lnSpc>
                <a:spcPts val="1500"/>
              </a:lnSpc>
              <a:defRPr sz="3000" b="1">
                <a:solidFill>
                  <a:srgbClr val="1C4598"/>
                </a:solidFill>
                <a:latin typeface="Arial"/>
                <a:ea typeface="Arial"/>
                <a:cs typeface="Arial"/>
                <a:sym typeface="Arial"/>
              </a:defRPr>
            </a:pPr>
            <a:r>
              <a:rPr lang="it-IT" sz="1400" dirty="0">
                <a:ln w="0"/>
                <a:solidFill>
                  <a:schemeClr val="accent1"/>
                </a:solidFill>
                <a:effectLst>
                  <a:outerShdw blurRad="38100" dist="25400" dir="5400000" algn="ctr" rotWithShape="0">
                    <a:srgbClr val="6E747A">
                      <a:alpha val="43000"/>
                    </a:srgbClr>
                  </a:outerShdw>
                </a:effectLst>
                <a:latin typeface="+mj-lt"/>
              </a:rPr>
              <a:t>54,8</a:t>
            </a:r>
            <a:endParaRPr sz="1400" dirty="0">
              <a:ln w="0"/>
              <a:solidFill>
                <a:schemeClr val="accent1"/>
              </a:solidFill>
              <a:effectLst>
                <a:outerShdw blurRad="38100" dist="25400" dir="5400000" algn="ctr" rotWithShape="0">
                  <a:srgbClr val="6E747A">
                    <a:alpha val="43000"/>
                  </a:srgbClr>
                </a:outerShdw>
              </a:effectLst>
              <a:latin typeface="+mj-lt"/>
            </a:endParaRPr>
          </a:p>
        </p:txBody>
      </p:sp>
      <p:sp>
        <p:nvSpPr>
          <p:cNvPr id="2" name="Rettangolo 1"/>
          <p:cNvSpPr/>
          <p:nvPr/>
        </p:nvSpPr>
        <p:spPr>
          <a:xfrm>
            <a:off x="3250357" y="4732242"/>
            <a:ext cx="878627" cy="509694"/>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it-IT" b="1" dirty="0">
                <a:solidFill>
                  <a:srgbClr val="008080"/>
                </a:solidFill>
              </a:rPr>
              <a:t>190,6M€</a:t>
            </a:r>
          </a:p>
        </p:txBody>
      </p:sp>
      <p:sp>
        <p:nvSpPr>
          <p:cNvPr id="28" name="Parentesi graffa aperta 27"/>
          <p:cNvSpPr/>
          <p:nvPr/>
        </p:nvSpPr>
        <p:spPr>
          <a:xfrm>
            <a:off x="4593154" y="1399239"/>
            <a:ext cx="687206" cy="3966480"/>
          </a:xfrm>
          <a:prstGeom prst="leftBrace">
            <a:avLst>
              <a:gd name="adj1" fmla="val 8333"/>
              <a:gd name="adj2" fmla="val 87934"/>
            </a:avLst>
          </a:prstGeom>
        </p:spPr>
        <p:style>
          <a:lnRef idx="3">
            <a:schemeClr val="accent1"/>
          </a:lnRef>
          <a:fillRef idx="0">
            <a:schemeClr val="accent1"/>
          </a:fillRef>
          <a:effectRef idx="2">
            <a:schemeClr val="accent1"/>
          </a:effectRef>
          <a:fontRef idx="minor">
            <a:schemeClr val="tx1"/>
          </a:fontRef>
        </p:style>
        <p:txBody>
          <a:bodyPr rtlCol="0" anchor="ctr"/>
          <a:lstStyle/>
          <a:p>
            <a:pPr algn="ctr"/>
            <a:endParaRPr lang="it-IT"/>
          </a:p>
        </p:txBody>
      </p:sp>
      <p:sp>
        <p:nvSpPr>
          <p:cNvPr id="29" name="Rettangolo arrotondato 28"/>
          <p:cNvSpPr/>
          <p:nvPr/>
        </p:nvSpPr>
        <p:spPr>
          <a:xfrm>
            <a:off x="5928021" y="3305921"/>
            <a:ext cx="2617524" cy="363760"/>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defTabSz="914263"/>
            <a:r>
              <a:rPr lang="it-IT" sz="2000" b="1" dirty="0">
                <a:solidFill>
                  <a:schemeClr val="bg1">
                    <a:lumMod val="50000"/>
                  </a:schemeClr>
                </a:solidFill>
                <a:latin typeface="+mj-lt"/>
              </a:rPr>
              <a:t>Opere Complementari</a:t>
            </a:r>
          </a:p>
        </p:txBody>
      </p:sp>
      <p:sp>
        <p:nvSpPr>
          <p:cNvPr id="30" name="Rettangolo arrotondato 29"/>
          <p:cNvSpPr/>
          <p:nvPr/>
        </p:nvSpPr>
        <p:spPr>
          <a:xfrm>
            <a:off x="5928021" y="4051345"/>
            <a:ext cx="2617524" cy="363760"/>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defTabSz="914263"/>
            <a:r>
              <a:rPr lang="it-IT" sz="2000" b="1" dirty="0">
                <a:solidFill>
                  <a:schemeClr val="bg1">
                    <a:lumMod val="50000"/>
                  </a:schemeClr>
                </a:solidFill>
                <a:latin typeface="+mj-lt"/>
              </a:rPr>
              <a:t>Opere D’Arte Maggiori</a:t>
            </a:r>
          </a:p>
        </p:txBody>
      </p:sp>
      <p:sp>
        <p:nvSpPr>
          <p:cNvPr id="31" name="Rettangolo arrotondato 30"/>
          <p:cNvSpPr/>
          <p:nvPr/>
        </p:nvSpPr>
        <p:spPr>
          <a:xfrm>
            <a:off x="5928021" y="4785717"/>
            <a:ext cx="1730760" cy="363760"/>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defTabSz="914263"/>
            <a:r>
              <a:rPr lang="it-IT" sz="2000" b="1" dirty="0">
                <a:solidFill>
                  <a:schemeClr val="bg1">
                    <a:lumMod val="50000"/>
                  </a:schemeClr>
                </a:solidFill>
                <a:latin typeface="+mj-lt"/>
              </a:rPr>
              <a:t>Piano Viabile</a:t>
            </a:r>
          </a:p>
        </p:txBody>
      </p:sp>
      <p:sp>
        <p:nvSpPr>
          <p:cNvPr id="32" name="CasellaDiTesto 31"/>
          <p:cNvSpPr txBox="1"/>
          <p:nvPr/>
        </p:nvSpPr>
        <p:spPr>
          <a:xfrm>
            <a:off x="5682809" y="1382435"/>
            <a:ext cx="2517339" cy="276999"/>
          </a:xfrm>
          <a:prstGeom prst="rect">
            <a:avLst/>
          </a:prstGeom>
          <a:noFill/>
        </p:spPr>
        <p:txBody>
          <a:bodyPr wrap="square" rtlCol="0">
            <a:spAutoFit/>
          </a:bodyPr>
          <a:lstStyle/>
          <a:p>
            <a:r>
              <a:rPr lang="it-IT" sz="1200" b="1" dirty="0">
                <a:solidFill>
                  <a:schemeClr val="tx2"/>
                </a:solidFill>
              </a:rPr>
              <a:t>Divisione Tipologica</a:t>
            </a:r>
          </a:p>
        </p:txBody>
      </p:sp>
      <p:sp>
        <p:nvSpPr>
          <p:cNvPr id="3" name="Freccia a destra rientrata 2"/>
          <p:cNvSpPr/>
          <p:nvPr/>
        </p:nvSpPr>
        <p:spPr>
          <a:xfrm rot="7395534">
            <a:off x="3844045" y="4177482"/>
            <a:ext cx="474388" cy="307990"/>
          </a:xfrm>
          <a:prstGeom prst="notched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it-IT"/>
          </a:p>
        </p:txBody>
      </p:sp>
      <p:sp>
        <p:nvSpPr>
          <p:cNvPr id="22" name="CasellaDiTesto 21"/>
          <p:cNvSpPr txBox="1"/>
          <p:nvPr/>
        </p:nvSpPr>
        <p:spPr>
          <a:xfrm>
            <a:off x="5109722" y="1393977"/>
            <a:ext cx="1101437" cy="253916"/>
          </a:xfrm>
          <a:prstGeom prst="rect">
            <a:avLst/>
          </a:prstGeom>
          <a:noFill/>
        </p:spPr>
        <p:txBody>
          <a:bodyPr wrap="square" rtlCol="0">
            <a:spAutoFit/>
          </a:bodyPr>
          <a:lstStyle/>
          <a:p>
            <a:r>
              <a:rPr lang="it-IT" sz="1050" b="1" dirty="0"/>
              <a:t>€/milioni</a:t>
            </a:r>
          </a:p>
        </p:txBody>
      </p:sp>
      <p:graphicFrame>
        <p:nvGraphicFramePr>
          <p:cNvPr id="23" name="Grafico 22"/>
          <p:cNvGraphicFramePr>
            <a:graphicFrameLocks/>
          </p:cNvGraphicFramePr>
          <p:nvPr/>
        </p:nvGraphicFramePr>
        <p:xfrm>
          <a:off x="335934" y="1441150"/>
          <a:ext cx="4572000" cy="2743200"/>
        </p:xfrm>
        <a:graphic>
          <a:graphicData uri="http://schemas.openxmlformats.org/drawingml/2006/chart">
            <c:chart xmlns:c="http://schemas.openxmlformats.org/drawingml/2006/chart" xmlns:r="http://schemas.openxmlformats.org/officeDocument/2006/relationships" r:id="rId2"/>
          </a:graphicData>
        </a:graphic>
      </p:graphicFrame>
      <p:sp>
        <p:nvSpPr>
          <p:cNvPr id="24" name="Rettangolo arrotondato 23"/>
          <p:cNvSpPr/>
          <p:nvPr/>
        </p:nvSpPr>
        <p:spPr>
          <a:xfrm>
            <a:off x="5927243" y="1794778"/>
            <a:ext cx="1730760" cy="363760"/>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defTabSz="914263"/>
            <a:r>
              <a:rPr lang="it-IT" b="1" dirty="0">
                <a:solidFill>
                  <a:schemeClr val="bg1">
                    <a:lumMod val="50000"/>
                  </a:schemeClr>
                </a:solidFill>
                <a:latin typeface="+mj-lt"/>
              </a:rPr>
              <a:t>Barriere</a:t>
            </a:r>
            <a:endParaRPr lang="it-IT" sz="2000" b="1" dirty="0">
              <a:solidFill>
                <a:schemeClr val="bg1">
                  <a:lumMod val="50000"/>
                </a:schemeClr>
              </a:solidFill>
              <a:latin typeface="+mj-lt"/>
            </a:endParaRPr>
          </a:p>
        </p:txBody>
      </p:sp>
      <p:sp>
        <p:nvSpPr>
          <p:cNvPr id="25" name="Shape 455"/>
          <p:cNvSpPr>
            <a:spLocks noChangeAspect="1"/>
          </p:cNvSpPr>
          <p:nvPr/>
        </p:nvSpPr>
        <p:spPr>
          <a:xfrm>
            <a:off x="5245815" y="1693566"/>
            <a:ext cx="612000" cy="602395"/>
          </a:xfrm>
          <a:prstGeom prst="ellipse">
            <a:avLst/>
          </a:prstGeom>
          <a:ln w="57150">
            <a:solidFill>
              <a:srgbClr val="CC0000"/>
            </a:solidFill>
          </a:ln>
        </p:spPr>
        <p:style>
          <a:lnRef idx="2">
            <a:schemeClr val="accent2"/>
          </a:lnRef>
          <a:fillRef idx="1">
            <a:schemeClr val="lt1"/>
          </a:fillRef>
          <a:effectRef idx="0">
            <a:schemeClr val="accent2"/>
          </a:effectRef>
          <a:fontRef idx="minor">
            <a:schemeClr val="dk1"/>
          </a:fontRef>
        </p:style>
        <p:txBody>
          <a:bodyPr wrap="square" lIns="0" tIns="108000" rIns="0" bIns="0" numCol="1" anchor="t" anchorCtr="0">
            <a:noAutofit/>
          </a:bodyPr>
          <a:lstStyle/>
          <a:p>
            <a:pPr algn="ctr">
              <a:lnSpc>
                <a:spcPts val="1500"/>
              </a:lnSpc>
              <a:defRPr sz="3000" b="1">
                <a:solidFill>
                  <a:srgbClr val="1C4598"/>
                </a:solidFill>
                <a:latin typeface="Arial"/>
                <a:ea typeface="Arial"/>
                <a:cs typeface="Arial"/>
                <a:sym typeface="Arial"/>
              </a:defRPr>
            </a:pPr>
            <a:r>
              <a:rPr lang="it-IT" sz="1400" dirty="0">
                <a:ln w="0"/>
                <a:solidFill>
                  <a:schemeClr val="accent1"/>
                </a:solidFill>
                <a:effectLst>
                  <a:outerShdw blurRad="38100" dist="25400" dir="5400000" algn="ctr" rotWithShape="0">
                    <a:srgbClr val="6E747A">
                      <a:alpha val="43000"/>
                    </a:srgbClr>
                  </a:outerShdw>
                </a:effectLst>
                <a:latin typeface="+mj-lt"/>
              </a:rPr>
              <a:t>18,0</a:t>
            </a:r>
            <a:endParaRPr sz="1400" dirty="0">
              <a:ln w="0"/>
              <a:solidFill>
                <a:schemeClr val="accent1"/>
              </a:solidFill>
              <a:effectLst>
                <a:outerShdw blurRad="38100" dist="25400" dir="5400000" algn="ctr" rotWithShape="0">
                  <a:srgbClr val="6E747A">
                    <a:alpha val="43000"/>
                  </a:srgbClr>
                </a:outerShdw>
              </a:effectLst>
              <a:latin typeface="+mj-lt"/>
            </a:endParaRPr>
          </a:p>
        </p:txBody>
      </p:sp>
      <p:graphicFrame>
        <p:nvGraphicFramePr>
          <p:cNvPr id="26" name="Diagramma 25"/>
          <p:cNvGraphicFramePr/>
          <p:nvPr>
            <p:extLst>
              <p:ext uri="{D42A27DB-BD31-4B8C-83A1-F6EECF244321}">
                <p14:modId xmlns:p14="http://schemas.microsoft.com/office/powerpoint/2010/main" val="2826712888"/>
              </p:ext>
            </p:extLst>
          </p:nvPr>
        </p:nvGraphicFramePr>
        <p:xfrm>
          <a:off x="134978" y="16679"/>
          <a:ext cx="8286246" cy="8116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71544691"/>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olo 1"/>
          <p:cNvSpPr txBox="1">
            <a:spLocks/>
          </p:cNvSpPr>
          <p:nvPr/>
        </p:nvSpPr>
        <p:spPr>
          <a:xfrm>
            <a:off x="364477" y="903224"/>
            <a:ext cx="11176620" cy="866367"/>
          </a:xfrm>
          <a:prstGeom prst="rect">
            <a:avLst/>
          </a:prstGeom>
        </p:spPr>
        <p:txBody>
          <a:bodyPr/>
          <a:lst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a:lstStyle>
          <a:p>
            <a:r>
              <a:rPr lang="it-IT" sz="1800" dirty="0"/>
              <a:t>Manutenzione Programmata - Andamento Produzione 2018/2021 e Previsione 2022</a:t>
            </a:r>
          </a:p>
        </p:txBody>
      </p:sp>
      <p:graphicFrame>
        <p:nvGraphicFramePr>
          <p:cNvPr id="9" name="Grafico 8"/>
          <p:cNvGraphicFramePr>
            <a:graphicFrameLocks/>
          </p:cNvGraphicFramePr>
          <p:nvPr/>
        </p:nvGraphicFramePr>
        <p:xfrm>
          <a:off x="1112363" y="2312591"/>
          <a:ext cx="7678132" cy="313266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Tabella 3"/>
          <p:cNvGraphicFramePr>
            <a:graphicFrameLocks noGrp="1"/>
          </p:cNvGraphicFramePr>
          <p:nvPr/>
        </p:nvGraphicFramePr>
        <p:xfrm>
          <a:off x="215389" y="1282046"/>
          <a:ext cx="8374065" cy="1083525"/>
        </p:xfrm>
        <a:graphic>
          <a:graphicData uri="http://schemas.openxmlformats.org/drawingml/2006/table">
            <a:tbl>
              <a:tblPr/>
              <a:tblGrid>
                <a:gridCol w="1364935">
                  <a:extLst>
                    <a:ext uri="{9D8B030D-6E8A-4147-A177-3AD203B41FA5}">
                      <a16:colId xmlns:a16="http://schemas.microsoft.com/office/drawing/2014/main" val="20000"/>
                    </a:ext>
                  </a:extLst>
                </a:gridCol>
                <a:gridCol w="1401826">
                  <a:extLst>
                    <a:ext uri="{9D8B030D-6E8A-4147-A177-3AD203B41FA5}">
                      <a16:colId xmlns:a16="http://schemas.microsoft.com/office/drawing/2014/main" val="20001"/>
                    </a:ext>
                  </a:extLst>
                </a:gridCol>
                <a:gridCol w="1401826">
                  <a:extLst>
                    <a:ext uri="{9D8B030D-6E8A-4147-A177-3AD203B41FA5}">
                      <a16:colId xmlns:a16="http://schemas.microsoft.com/office/drawing/2014/main" val="20002"/>
                    </a:ext>
                  </a:extLst>
                </a:gridCol>
                <a:gridCol w="1401826">
                  <a:extLst>
                    <a:ext uri="{9D8B030D-6E8A-4147-A177-3AD203B41FA5}">
                      <a16:colId xmlns:a16="http://schemas.microsoft.com/office/drawing/2014/main" val="20003"/>
                    </a:ext>
                  </a:extLst>
                </a:gridCol>
                <a:gridCol w="1401826">
                  <a:extLst>
                    <a:ext uri="{9D8B030D-6E8A-4147-A177-3AD203B41FA5}">
                      <a16:colId xmlns:a16="http://schemas.microsoft.com/office/drawing/2014/main" val="20004"/>
                    </a:ext>
                  </a:extLst>
                </a:gridCol>
                <a:gridCol w="1401826">
                  <a:extLst>
                    <a:ext uri="{9D8B030D-6E8A-4147-A177-3AD203B41FA5}">
                      <a16:colId xmlns:a16="http://schemas.microsoft.com/office/drawing/2014/main" val="20005"/>
                    </a:ext>
                  </a:extLst>
                </a:gridCol>
              </a:tblGrid>
              <a:tr h="343976">
                <a:tc>
                  <a:txBody>
                    <a:bodyPr/>
                    <a:lstStyle/>
                    <a:p>
                      <a:pPr algn="l" fontAlgn="b"/>
                      <a:endParaRPr lang="it-IT" sz="1100" b="0" i="0" u="none" strike="noStrike" dirty="0">
                        <a:solidFill>
                          <a:srgbClr val="000000"/>
                        </a:solidFill>
                        <a:effectLst/>
                        <a:latin typeface="Calibri" panose="020F0502020204030204" pitchFamily="34" charset="0"/>
                      </a:endParaRPr>
                    </a:p>
                  </a:txBody>
                  <a:tcPr marL="6148" marR="6148" marT="6148" marB="0" anchor="b">
                    <a:lnL>
                      <a:noFill/>
                    </a:lnL>
                    <a:lnR w="6350" cap="flat" cmpd="sng" algn="ctr">
                      <a:solidFill>
                        <a:srgbClr val="A6A6A6"/>
                      </a:solidFill>
                      <a:prstDash val="solid"/>
                      <a:round/>
                      <a:headEnd type="none" w="med" len="med"/>
                      <a:tailEnd type="none" w="med" len="med"/>
                    </a:lnR>
                    <a:lnT>
                      <a:noFill/>
                    </a:lnT>
                    <a:lnB>
                      <a:noFill/>
                    </a:lnB>
                  </a:tcPr>
                </a:tc>
                <a:tc gridSpan="5">
                  <a:txBody>
                    <a:bodyPr/>
                    <a:lstStyle/>
                    <a:p>
                      <a:pPr algn="ctr" fontAlgn="ctr"/>
                      <a:r>
                        <a:rPr lang="it-IT" sz="1100" b="1" i="0" u="none" strike="noStrike" dirty="0">
                          <a:solidFill>
                            <a:srgbClr val="000000"/>
                          </a:solidFill>
                          <a:effectLst/>
                          <a:latin typeface="Calibri" panose="020F0502020204030204" pitchFamily="34" charset="0"/>
                        </a:rPr>
                        <a:t>Anno</a:t>
                      </a:r>
                    </a:p>
                  </a:txBody>
                  <a:tcPr marL="6148" marR="6148" marT="6148" marB="0" anchor="ctr">
                    <a:lnL w="6350" cap="flat" cmpd="sng" algn="ctr">
                      <a:solidFill>
                        <a:srgbClr val="A6A6A6"/>
                      </a:solidFill>
                      <a:prstDash val="solid"/>
                      <a:round/>
                      <a:headEnd type="none" w="med" len="med"/>
                      <a:tailEnd type="none" w="med" len="med"/>
                    </a:lnL>
                    <a:lnR>
                      <a:noFill/>
                    </a:lnR>
                    <a:lnT>
                      <a:noFill/>
                    </a:lnT>
                    <a:lnB w="6350" cap="flat" cmpd="sng" algn="ctr">
                      <a:solidFill>
                        <a:srgbClr val="A6A6A6"/>
                      </a:solidFill>
                      <a:prstDash val="solid"/>
                      <a:round/>
                      <a:headEnd type="none" w="med" len="med"/>
                      <a:tailEnd type="none" w="med" len="med"/>
                    </a:lnB>
                    <a:solidFill>
                      <a:srgbClr val="D9D9D9"/>
                    </a:solidFill>
                  </a:tcPr>
                </a:tc>
                <a:tc hMerge="1">
                  <a:txBody>
                    <a:bodyPr/>
                    <a:lstStyle/>
                    <a:p>
                      <a:endParaRPr lang="it-IT"/>
                    </a:p>
                  </a:txBody>
                  <a:tcPr/>
                </a:tc>
                <a:tc hMerge="1">
                  <a:txBody>
                    <a:bodyPr/>
                    <a:lstStyle/>
                    <a:p>
                      <a:endParaRPr lang="it-IT"/>
                    </a:p>
                  </a:txBody>
                  <a:tcPr/>
                </a:tc>
                <a:tc hMerge="1">
                  <a:txBody>
                    <a:bodyPr/>
                    <a:lstStyle/>
                    <a:p>
                      <a:endParaRPr lang="it-IT"/>
                    </a:p>
                  </a:txBody>
                  <a:tcPr/>
                </a:tc>
                <a:tc hMerge="1">
                  <a:txBody>
                    <a:bodyPr/>
                    <a:lstStyle/>
                    <a:p>
                      <a:endParaRPr lang="it-IT"/>
                    </a:p>
                  </a:txBody>
                  <a:tcPr/>
                </a:tc>
                <a:extLst>
                  <a:ext uri="{0D108BD9-81ED-4DB2-BD59-A6C34878D82A}">
                    <a16:rowId xmlns:a16="http://schemas.microsoft.com/office/drawing/2014/main" val="10000"/>
                  </a:ext>
                </a:extLst>
              </a:tr>
              <a:tr h="343976">
                <a:tc>
                  <a:txBody>
                    <a:bodyPr/>
                    <a:lstStyle/>
                    <a:p>
                      <a:pPr algn="l" fontAlgn="b"/>
                      <a:endParaRPr lang="it-IT" sz="1100" b="0" i="0" u="none" strike="noStrike">
                        <a:solidFill>
                          <a:srgbClr val="000000"/>
                        </a:solidFill>
                        <a:effectLst/>
                        <a:latin typeface="Calibri" panose="020F0502020204030204" pitchFamily="34" charset="0"/>
                      </a:endParaRPr>
                    </a:p>
                  </a:txBody>
                  <a:tcPr marL="6148" marR="6148" marT="6148" marB="0" anchor="b">
                    <a:lnL>
                      <a:noFill/>
                    </a:lnL>
                    <a:lnR w="6350" cap="flat" cmpd="sng" algn="ctr">
                      <a:solidFill>
                        <a:srgbClr val="A6A6A6"/>
                      </a:solidFill>
                      <a:prstDash val="solid"/>
                      <a:round/>
                      <a:headEnd type="none" w="med" len="med"/>
                      <a:tailEnd type="none" w="med" len="med"/>
                    </a:lnR>
                    <a:lnT>
                      <a:noFill/>
                    </a:lnT>
                    <a:lnB w="6350" cap="flat" cmpd="sng" algn="ctr">
                      <a:solidFill>
                        <a:srgbClr val="A6A6A6"/>
                      </a:solidFill>
                      <a:prstDash val="solid"/>
                      <a:round/>
                      <a:headEnd type="none" w="med" len="med"/>
                      <a:tailEnd type="none" w="med" len="med"/>
                    </a:lnB>
                  </a:tcPr>
                </a:tc>
                <a:tc>
                  <a:txBody>
                    <a:bodyPr/>
                    <a:lstStyle/>
                    <a:p>
                      <a:pPr algn="ctr" fontAlgn="ctr"/>
                      <a:r>
                        <a:rPr lang="it-IT" sz="1100" b="1" i="0" u="none" strike="noStrike">
                          <a:solidFill>
                            <a:srgbClr val="000000"/>
                          </a:solidFill>
                          <a:effectLst/>
                          <a:latin typeface="Calibri" panose="020F0502020204030204" pitchFamily="34" charset="0"/>
                        </a:rPr>
                        <a:t>2018</a:t>
                      </a:r>
                    </a:p>
                  </a:txBody>
                  <a:tcPr marL="6148" marR="6148" marT="6148" marB="0" anchor="ctr">
                    <a:lnL w="6350" cap="flat" cmpd="sng" algn="ctr">
                      <a:solidFill>
                        <a:srgbClr val="A6A6A6"/>
                      </a:solidFill>
                      <a:prstDash val="solid"/>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D9D9D9"/>
                    </a:solidFill>
                  </a:tcPr>
                </a:tc>
                <a:tc>
                  <a:txBody>
                    <a:bodyPr/>
                    <a:lstStyle/>
                    <a:p>
                      <a:pPr algn="ctr" fontAlgn="ctr"/>
                      <a:r>
                        <a:rPr lang="it-IT" sz="1100" b="1" i="0" u="none" strike="noStrike">
                          <a:solidFill>
                            <a:srgbClr val="000000"/>
                          </a:solidFill>
                          <a:effectLst/>
                          <a:latin typeface="Calibri" panose="020F0502020204030204" pitchFamily="34" charset="0"/>
                        </a:rPr>
                        <a:t>2019</a:t>
                      </a:r>
                    </a:p>
                  </a:txBody>
                  <a:tcPr marL="6148" marR="6148" marT="6148" marB="0" anchor="ctr">
                    <a:lnL w="6350" cap="flat" cmpd="sng" algn="ctr">
                      <a:solidFill>
                        <a:srgbClr val="A6A6A6"/>
                      </a:solidFill>
                      <a:prstDash val="solid"/>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D9D9D9"/>
                    </a:solidFill>
                  </a:tcPr>
                </a:tc>
                <a:tc>
                  <a:txBody>
                    <a:bodyPr/>
                    <a:lstStyle/>
                    <a:p>
                      <a:pPr algn="ctr" fontAlgn="ctr"/>
                      <a:r>
                        <a:rPr lang="it-IT" sz="1100" b="1" i="0" u="none" strike="noStrike">
                          <a:solidFill>
                            <a:srgbClr val="000000"/>
                          </a:solidFill>
                          <a:effectLst/>
                          <a:latin typeface="Calibri" panose="020F0502020204030204" pitchFamily="34" charset="0"/>
                        </a:rPr>
                        <a:t>2020</a:t>
                      </a:r>
                    </a:p>
                  </a:txBody>
                  <a:tcPr marL="6148" marR="6148" marT="6148" marB="0" anchor="ctr">
                    <a:lnL w="6350" cap="flat" cmpd="sng" algn="ctr">
                      <a:solidFill>
                        <a:srgbClr val="A6A6A6"/>
                      </a:solidFill>
                      <a:prstDash val="solid"/>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D9D9D9"/>
                    </a:solidFill>
                  </a:tcPr>
                </a:tc>
                <a:tc>
                  <a:txBody>
                    <a:bodyPr/>
                    <a:lstStyle/>
                    <a:p>
                      <a:pPr algn="ctr" fontAlgn="ctr"/>
                      <a:r>
                        <a:rPr lang="it-IT" sz="1100" b="1" i="0" u="none" strike="noStrike">
                          <a:solidFill>
                            <a:srgbClr val="000000"/>
                          </a:solidFill>
                          <a:effectLst/>
                          <a:latin typeface="Calibri" panose="020F0502020204030204" pitchFamily="34" charset="0"/>
                        </a:rPr>
                        <a:t>2021</a:t>
                      </a:r>
                    </a:p>
                  </a:txBody>
                  <a:tcPr marL="6148" marR="6148" marT="6148" marB="0" anchor="ctr">
                    <a:lnL w="6350" cap="flat" cmpd="sng" algn="ctr">
                      <a:solidFill>
                        <a:srgbClr val="A6A6A6"/>
                      </a:solidFill>
                      <a:prstDash val="solid"/>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D9D9D9"/>
                    </a:solidFill>
                  </a:tcPr>
                </a:tc>
                <a:tc>
                  <a:txBody>
                    <a:bodyPr/>
                    <a:lstStyle/>
                    <a:p>
                      <a:pPr algn="ctr" fontAlgn="ctr"/>
                      <a:r>
                        <a:rPr lang="it-IT" sz="1100" b="1" i="0" u="none" strike="noStrike">
                          <a:solidFill>
                            <a:srgbClr val="000000"/>
                          </a:solidFill>
                          <a:effectLst/>
                          <a:latin typeface="Calibri" panose="020F0502020204030204" pitchFamily="34" charset="0"/>
                        </a:rPr>
                        <a:t>2022</a:t>
                      </a:r>
                    </a:p>
                  </a:txBody>
                  <a:tcPr marL="6148" marR="6148" marT="6148" marB="0" anchor="ctr">
                    <a:lnL w="6350" cap="flat" cmpd="sng" algn="ctr">
                      <a:solidFill>
                        <a:srgbClr val="A6A6A6"/>
                      </a:solidFill>
                      <a:prstDash val="solid"/>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D9D9D9"/>
                    </a:solidFill>
                  </a:tcPr>
                </a:tc>
                <a:extLst>
                  <a:ext uri="{0D108BD9-81ED-4DB2-BD59-A6C34878D82A}">
                    <a16:rowId xmlns:a16="http://schemas.microsoft.com/office/drawing/2014/main" val="10001"/>
                  </a:ext>
                </a:extLst>
              </a:tr>
              <a:tr h="395573">
                <a:tc>
                  <a:txBody>
                    <a:bodyPr/>
                    <a:lstStyle/>
                    <a:p>
                      <a:pPr algn="ctr" fontAlgn="ctr"/>
                      <a:r>
                        <a:rPr lang="it-IT" sz="1200" b="1" i="0" u="none" strike="noStrike">
                          <a:solidFill>
                            <a:srgbClr val="FFFFFF"/>
                          </a:solidFill>
                          <a:effectLst/>
                          <a:latin typeface="Calibri" panose="020F0502020204030204" pitchFamily="34" charset="0"/>
                        </a:rPr>
                        <a:t>Produzione / Previsione MP</a:t>
                      </a:r>
                    </a:p>
                  </a:txBody>
                  <a:tcPr marL="6148" marR="6148" marT="6148" marB="0" anchor="ctr">
                    <a:lnL w="6350" cap="flat" cmpd="sng" algn="ctr">
                      <a:solidFill>
                        <a:srgbClr val="A6A6A6"/>
                      </a:solidFill>
                      <a:prstDash val="solid"/>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DC002E"/>
                    </a:solidFill>
                  </a:tcPr>
                </a:tc>
                <a:tc>
                  <a:txBody>
                    <a:bodyPr/>
                    <a:lstStyle/>
                    <a:p>
                      <a:pPr algn="ctr" fontAlgn="ctr"/>
                      <a:r>
                        <a:rPr lang="it-IT" sz="1200" b="1" i="0" u="none" strike="noStrike">
                          <a:solidFill>
                            <a:srgbClr val="FFFFFF"/>
                          </a:solidFill>
                          <a:effectLst/>
                          <a:latin typeface="Calibri" panose="020F0502020204030204" pitchFamily="34" charset="0"/>
                        </a:rPr>
                        <a:t>15,59</a:t>
                      </a:r>
                    </a:p>
                  </a:txBody>
                  <a:tcPr marL="6148" marR="6148" marT="6148" marB="0" anchor="ctr">
                    <a:lnL w="6350" cap="flat" cmpd="sng" algn="ctr">
                      <a:solidFill>
                        <a:srgbClr val="A6A6A6"/>
                      </a:solidFill>
                      <a:prstDash val="solid"/>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DC002E"/>
                    </a:solidFill>
                  </a:tcPr>
                </a:tc>
                <a:tc>
                  <a:txBody>
                    <a:bodyPr/>
                    <a:lstStyle/>
                    <a:p>
                      <a:pPr algn="ctr" fontAlgn="ctr"/>
                      <a:r>
                        <a:rPr lang="it-IT" sz="1200" b="1" i="0" u="none" strike="noStrike">
                          <a:solidFill>
                            <a:srgbClr val="FFFFFF"/>
                          </a:solidFill>
                          <a:effectLst/>
                          <a:latin typeface="Calibri" panose="020F0502020204030204" pitchFamily="34" charset="0"/>
                        </a:rPr>
                        <a:t>36,44</a:t>
                      </a:r>
                    </a:p>
                  </a:txBody>
                  <a:tcPr marL="6148" marR="6148" marT="6148" marB="0" anchor="ctr">
                    <a:lnL w="6350" cap="flat" cmpd="sng" algn="ctr">
                      <a:solidFill>
                        <a:srgbClr val="A6A6A6"/>
                      </a:solidFill>
                      <a:prstDash val="solid"/>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DC002E"/>
                    </a:solidFill>
                  </a:tcPr>
                </a:tc>
                <a:tc>
                  <a:txBody>
                    <a:bodyPr/>
                    <a:lstStyle/>
                    <a:p>
                      <a:pPr algn="ctr" fontAlgn="ctr"/>
                      <a:r>
                        <a:rPr lang="it-IT" sz="1200" b="1" i="0" u="none" strike="noStrike">
                          <a:solidFill>
                            <a:srgbClr val="FFFFFF"/>
                          </a:solidFill>
                          <a:effectLst/>
                          <a:latin typeface="Calibri" panose="020F0502020204030204" pitchFamily="34" charset="0"/>
                        </a:rPr>
                        <a:t>57,79</a:t>
                      </a:r>
                    </a:p>
                  </a:txBody>
                  <a:tcPr marL="6148" marR="6148" marT="6148" marB="0" anchor="ctr">
                    <a:lnL w="6350" cap="flat" cmpd="sng" algn="ctr">
                      <a:solidFill>
                        <a:srgbClr val="A6A6A6"/>
                      </a:solidFill>
                      <a:prstDash val="solid"/>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DC002E"/>
                    </a:solidFill>
                  </a:tcPr>
                </a:tc>
                <a:tc>
                  <a:txBody>
                    <a:bodyPr/>
                    <a:lstStyle/>
                    <a:p>
                      <a:pPr algn="ctr" fontAlgn="ctr"/>
                      <a:r>
                        <a:rPr lang="it-IT" sz="1200" b="1" i="0" u="none" strike="noStrike">
                          <a:solidFill>
                            <a:srgbClr val="FFFFFF"/>
                          </a:solidFill>
                          <a:effectLst/>
                          <a:latin typeface="Calibri" panose="020F0502020204030204" pitchFamily="34" charset="0"/>
                        </a:rPr>
                        <a:t>81,40</a:t>
                      </a:r>
                    </a:p>
                  </a:txBody>
                  <a:tcPr marL="6148" marR="6148" marT="6148" marB="0" anchor="ctr">
                    <a:lnL w="6350" cap="flat" cmpd="sng" algn="ctr">
                      <a:solidFill>
                        <a:srgbClr val="A6A6A6"/>
                      </a:solidFill>
                      <a:prstDash val="solid"/>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DC002E"/>
                    </a:solidFill>
                  </a:tcPr>
                </a:tc>
                <a:tc>
                  <a:txBody>
                    <a:bodyPr/>
                    <a:lstStyle/>
                    <a:p>
                      <a:pPr algn="ctr" fontAlgn="ctr"/>
                      <a:r>
                        <a:rPr lang="it-IT" sz="1200" b="1" i="0" u="none" strike="noStrike" dirty="0">
                          <a:solidFill>
                            <a:srgbClr val="FFFFFF"/>
                          </a:solidFill>
                          <a:effectLst/>
                          <a:latin typeface="Calibri" panose="020F0502020204030204" pitchFamily="34" charset="0"/>
                        </a:rPr>
                        <a:t>80,00 + 24,00</a:t>
                      </a:r>
                    </a:p>
                  </a:txBody>
                  <a:tcPr marL="6148" marR="6148" marT="6148" marB="0" anchor="ctr">
                    <a:lnL w="6350" cap="flat" cmpd="sng" algn="ctr">
                      <a:solidFill>
                        <a:srgbClr val="A6A6A6"/>
                      </a:solidFill>
                      <a:prstDash val="solid"/>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DC002E"/>
                    </a:solidFill>
                  </a:tcPr>
                </a:tc>
                <a:extLst>
                  <a:ext uri="{0D108BD9-81ED-4DB2-BD59-A6C34878D82A}">
                    <a16:rowId xmlns:a16="http://schemas.microsoft.com/office/drawing/2014/main" val="10002"/>
                  </a:ext>
                </a:extLst>
              </a:tr>
            </a:tbl>
          </a:graphicData>
        </a:graphic>
      </p:graphicFrame>
      <p:graphicFrame>
        <p:nvGraphicFramePr>
          <p:cNvPr id="7" name="Diagramma 6"/>
          <p:cNvGraphicFramePr/>
          <p:nvPr>
            <p:extLst>
              <p:ext uri="{D42A27DB-BD31-4B8C-83A1-F6EECF244321}">
                <p14:modId xmlns:p14="http://schemas.microsoft.com/office/powerpoint/2010/main" val="2826712888"/>
              </p:ext>
            </p:extLst>
          </p:nvPr>
        </p:nvGraphicFramePr>
        <p:xfrm>
          <a:off x="134978" y="16679"/>
          <a:ext cx="8286246" cy="8116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84192328"/>
      </p:ext>
    </p:extLst>
  </p:cSld>
  <p:clrMapOvr>
    <a:masterClrMapping/>
  </p:clrMapOvr>
  <p:transition spd="slow">
    <p:wip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magine 3"/>
          <p:cNvPicPr>
            <a:picLocks noChangeAspect="1"/>
          </p:cNvPicPr>
          <p:nvPr/>
        </p:nvPicPr>
        <p:blipFill>
          <a:blip r:embed="rId3"/>
          <a:stretch>
            <a:fillRect/>
          </a:stretch>
        </p:blipFill>
        <p:spPr>
          <a:xfrm>
            <a:off x="2500297" y="623376"/>
            <a:ext cx="6277900" cy="4810161"/>
          </a:xfrm>
          <a:prstGeom prst="rect">
            <a:avLst/>
          </a:prstGeom>
        </p:spPr>
      </p:pic>
      <p:sp>
        <p:nvSpPr>
          <p:cNvPr id="14" name="Titolo 1"/>
          <p:cNvSpPr txBox="1">
            <a:spLocks/>
          </p:cNvSpPr>
          <p:nvPr/>
        </p:nvSpPr>
        <p:spPr bwMode="auto">
          <a:xfrm>
            <a:off x="256538" y="481481"/>
            <a:ext cx="8382000" cy="65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35100" rIns="67500" bIns="35100" numCol="1" anchor="b" anchorCtr="0" compatLnSpc="1">
            <a:prstTxWarp prst="textNoShape">
              <a:avLst/>
            </a:prstTxWarp>
          </a:bodyPr>
          <a:lst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a:lstStyle>
          <a:p>
            <a:r>
              <a:rPr lang="it-IT" sz="2100" dirty="0">
                <a:solidFill>
                  <a:srgbClr val="D90000"/>
                </a:solidFill>
              </a:rPr>
              <a:t>Localizzazione cantieri</a:t>
            </a:r>
          </a:p>
        </p:txBody>
      </p:sp>
      <p:grpSp>
        <p:nvGrpSpPr>
          <p:cNvPr id="3" name="Gruppo 2"/>
          <p:cNvGrpSpPr/>
          <p:nvPr/>
        </p:nvGrpSpPr>
        <p:grpSpPr>
          <a:xfrm>
            <a:off x="255742" y="2658360"/>
            <a:ext cx="1867990" cy="684883"/>
            <a:chOff x="282487" y="2829263"/>
            <a:chExt cx="2490653" cy="1016279"/>
          </a:xfrm>
        </p:grpSpPr>
        <p:sp>
          <p:nvSpPr>
            <p:cNvPr id="8" name="Rettangolo 7"/>
            <p:cNvSpPr/>
            <p:nvPr/>
          </p:nvSpPr>
          <p:spPr>
            <a:xfrm>
              <a:off x="282487" y="2829263"/>
              <a:ext cx="2490653" cy="1016279"/>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0">
                <a:solidFill>
                  <a:srgbClr val="FFFFFF"/>
                </a:solidFill>
              </a:endParaRPr>
            </a:p>
          </p:txBody>
        </p:sp>
        <p:sp>
          <p:nvSpPr>
            <p:cNvPr id="9" name="Ovale 8"/>
            <p:cNvSpPr/>
            <p:nvPr/>
          </p:nvSpPr>
          <p:spPr>
            <a:xfrm>
              <a:off x="403766" y="3237568"/>
              <a:ext cx="226423" cy="226423"/>
            </a:xfrm>
            <a:prstGeom prst="ellipse">
              <a:avLst/>
            </a:prstGeom>
            <a:solidFill>
              <a:srgbClr val="00B05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it-IT" sz="900" b="1" dirty="0">
                  <a:solidFill>
                    <a:srgbClr val="FFFFFF"/>
                  </a:solidFill>
                </a:rPr>
                <a:t>N</a:t>
              </a:r>
            </a:p>
          </p:txBody>
        </p:sp>
        <p:sp>
          <p:nvSpPr>
            <p:cNvPr id="10" name="CasellaDiTesto 9"/>
            <p:cNvSpPr txBox="1"/>
            <p:nvPr/>
          </p:nvSpPr>
          <p:spPr>
            <a:xfrm>
              <a:off x="753906" y="3219974"/>
              <a:ext cx="1892300" cy="316933"/>
            </a:xfrm>
            <a:prstGeom prst="rect">
              <a:avLst/>
            </a:prstGeom>
            <a:noFill/>
          </p:spPr>
          <p:txBody>
            <a:bodyPr wrap="square" rtlCol="0">
              <a:spAutoFit/>
            </a:bodyPr>
            <a:lstStyle/>
            <a:p>
              <a:r>
                <a:rPr lang="it-IT" sz="788" b="1" dirty="0">
                  <a:solidFill>
                    <a:srgbClr val="000000"/>
                  </a:solidFill>
                </a:rPr>
                <a:t>IN CORSO</a:t>
              </a:r>
            </a:p>
          </p:txBody>
        </p:sp>
      </p:grpSp>
      <p:grpSp>
        <p:nvGrpSpPr>
          <p:cNvPr id="35" name="Gruppo 34"/>
          <p:cNvGrpSpPr/>
          <p:nvPr/>
        </p:nvGrpSpPr>
        <p:grpSpPr>
          <a:xfrm>
            <a:off x="5265883" y="1619471"/>
            <a:ext cx="1150350" cy="1380133"/>
            <a:chOff x="6738386" y="1026239"/>
            <a:chExt cx="1679847" cy="1954976"/>
          </a:xfrm>
        </p:grpSpPr>
        <p:sp>
          <p:nvSpPr>
            <p:cNvPr id="37" name="Ovale 36"/>
            <p:cNvSpPr/>
            <p:nvPr/>
          </p:nvSpPr>
          <p:spPr>
            <a:xfrm>
              <a:off x="7447783" y="1026239"/>
              <a:ext cx="180000" cy="180000"/>
            </a:xfrm>
            <a:prstGeom prst="ellipse">
              <a:avLst/>
            </a:prstGeom>
            <a:solidFill>
              <a:srgbClr val="00B050"/>
            </a:solidFill>
            <a:ln w="25400" cap="flat" cmpd="sng" algn="ctr">
              <a:solidFill>
                <a:srgbClr val="000000">
                  <a:lumMod val="75000"/>
                  <a:lumOff val="25000"/>
                </a:srgbClr>
              </a:solidFill>
              <a:prstDash val="solid"/>
            </a:ln>
            <a:effectLst/>
          </p:spPr>
          <p:txBody>
            <a:bodyPr wrap="none" lIns="0" rIns="0" rtlCol="0" anchor="ctr"/>
            <a:lstStyle/>
            <a:p>
              <a:pPr algn="ctr">
                <a:defRPr/>
              </a:pPr>
              <a:r>
                <a:rPr lang="it-IT" sz="825" b="1" kern="0" dirty="0">
                  <a:solidFill>
                    <a:srgbClr val="FFFFFF"/>
                  </a:solidFill>
                </a:rPr>
                <a:t>2</a:t>
              </a:r>
            </a:p>
          </p:txBody>
        </p:sp>
        <p:sp>
          <p:nvSpPr>
            <p:cNvPr id="38" name="Ovale 37"/>
            <p:cNvSpPr/>
            <p:nvPr/>
          </p:nvSpPr>
          <p:spPr>
            <a:xfrm>
              <a:off x="8238233" y="1116239"/>
              <a:ext cx="180000" cy="180000"/>
            </a:xfrm>
            <a:prstGeom prst="ellipse">
              <a:avLst/>
            </a:prstGeom>
            <a:solidFill>
              <a:srgbClr val="00B050"/>
            </a:solidFill>
            <a:ln w="25400" cap="flat" cmpd="sng" algn="ctr">
              <a:solidFill>
                <a:srgbClr val="000000">
                  <a:lumMod val="75000"/>
                  <a:lumOff val="25000"/>
                </a:srgbClr>
              </a:solidFill>
              <a:prstDash val="solid"/>
            </a:ln>
            <a:effectLst/>
          </p:spPr>
          <p:txBody>
            <a:bodyPr wrap="none" lIns="0" rIns="0" rtlCol="0" anchor="ctr"/>
            <a:lstStyle/>
            <a:p>
              <a:pPr algn="ctr">
                <a:defRPr/>
              </a:pPr>
              <a:r>
                <a:rPr lang="it-IT" sz="825" b="1" kern="0" dirty="0">
                  <a:solidFill>
                    <a:srgbClr val="FFFFFF"/>
                  </a:solidFill>
                </a:rPr>
                <a:t>4</a:t>
              </a:r>
            </a:p>
          </p:txBody>
        </p:sp>
        <p:sp>
          <p:nvSpPr>
            <p:cNvPr id="39" name="Ovale 38"/>
            <p:cNvSpPr/>
            <p:nvPr/>
          </p:nvSpPr>
          <p:spPr>
            <a:xfrm>
              <a:off x="6738386" y="2801215"/>
              <a:ext cx="180000" cy="180000"/>
            </a:xfrm>
            <a:prstGeom prst="ellipse">
              <a:avLst/>
            </a:prstGeom>
            <a:solidFill>
              <a:srgbClr val="00B050"/>
            </a:solidFill>
            <a:ln w="25400" cap="flat" cmpd="sng" algn="ctr">
              <a:solidFill>
                <a:srgbClr val="000000">
                  <a:lumMod val="75000"/>
                  <a:lumOff val="25000"/>
                </a:srgbClr>
              </a:solidFill>
              <a:prstDash val="solid"/>
            </a:ln>
            <a:effectLst/>
          </p:spPr>
          <p:txBody>
            <a:bodyPr wrap="none" lIns="0" rIns="0" rtlCol="0" anchor="ctr"/>
            <a:lstStyle/>
            <a:p>
              <a:pPr algn="ctr">
                <a:defRPr/>
              </a:pPr>
              <a:r>
                <a:rPr lang="it-IT" sz="825" b="1" kern="0" dirty="0">
                  <a:solidFill>
                    <a:srgbClr val="FFFFFF"/>
                  </a:solidFill>
                </a:rPr>
                <a:t>1</a:t>
              </a:r>
            </a:p>
          </p:txBody>
        </p:sp>
        <p:sp>
          <p:nvSpPr>
            <p:cNvPr id="40" name="Ovale 39"/>
            <p:cNvSpPr/>
            <p:nvPr/>
          </p:nvSpPr>
          <p:spPr>
            <a:xfrm>
              <a:off x="7471936" y="1559445"/>
              <a:ext cx="180000" cy="180000"/>
            </a:xfrm>
            <a:prstGeom prst="ellipse">
              <a:avLst/>
            </a:prstGeom>
            <a:solidFill>
              <a:srgbClr val="00B050"/>
            </a:solidFill>
            <a:ln w="25400" cap="flat" cmpd="sng" algn="ctr">
              <a:solidFill>
                <a:srgbClr val="000000">
                  <a:lumMod val="75000"/>
                  <a:lumOff val="25000"/>
                </a:srgbClr>
              </a:solidFill>
              <a:prstDash val="solid"/>
            </a:ln>
            <a:effectLst/>
          </p:spPr>
          <p:txBody>
            <a:bodyPr wrap="none" lIns="0" rIns="0" rtlCol="0" anchor="ctr"/>
            <a:lstStyle/>
            <a:p>
              <a:pPr algn="ctr">
                <a:defRPr/>
              </a:pPr>
              <a:r>
                <a:rPr lang="it-IT" sz="825" b="1" kern="0" dirty="0">
                  <a:solidFill>
                    <a:srgbClr val="FFFFFF"/>
                  </a:solidFill>
                </a:rPr>
                <a:t>3</a:t>
              </a:r>
            </a:p>
          </p:txBody>
        </p:sp>
      </p:grpSp>
      <p:grpSp>
        <p:nvGrpSpPr>
          <p:cNvPr id="16" name="Gruppo 15"/>
          <p:cNvGrpSpPr/>
          <p:nvPr/>
        </p:nvGrpSpPr>
        <p:grpSpPr>
          <a:xfrm>
            <a:off x="1033838" y="3784773"/>
            <a:ext cx="2907829" cy="885563"/>
            <a:chOff x="282136" y="1129467"/>
            <a:chExt cx="3877105" cy="1180751"/>
          </a:xfrm>
        </p:grpSpPr>
        <p:sp>
          <p:nvSpPr>
            <p:cNvPr id="17" name="Rettangolo 16"/>
            <p:cNvSpPr/>
            <p:nvPr/>
          </p:nvSpPr>
          <p:spPr>
            <a:xfrm>
              <a:off x="823213" y="1300833"/>
              <a:ext cx="3336028" cy="838021"/>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it-IT" b="1">
                  <a:solidFill>
                    <a:srgbClr val="0039A5"/>
                  </a:solidFill>
                </a:rPr>
                <a:t>Totale Investimento</a:t>
              </a:r>
              <a:endParaRPr lang="it-IT" b="1" dirty="0">
                <a:solidFill>
                  <a:srgbClr val="0039A5"/>
                </a:solidFill>
              </a:endParaRPr>
            </a:p>
          </p:txBody>
        </p:sp>
        <p:sp>
          <p:nvSpPr>
            <p:cNvPr id="18" name="Shape 455"/>
            <p:cNvSpPr/>
            <p:nvPr/>
          </p:nvSpPr>
          <p:spPr>
            <a:xfrm>
              <a:off x="282136" y="1129467"/>
              <a:ext cx="1180800" cy="1180751"/>
            </a:xfrm>
            <a:prstGeom prst="ellipse">
              <a:avLst/>
            </a:prstGeom>
            <a:solidFill>
              <a:srgbClr val="DC002E"/>
            </a:solidFill>
            <a:ln w="57150" cap="flat">
              <a:solidFill>
                <a:schemeClr val="bg1"/>
              </a:solidFill>
              <a:prstDash val="solid"/>
              <a:miter lim="400000"/>
            </a:ln>
            <a:effectLst>
              <a:outerShdw blurRad="50800" dist="38100" dir="2700000" algn="tl" rotWithShape="0">
                <a:prstClr val="black">
                  <a:alpha val="40000"/>
                </a:prstClr>
              </a:outerShdw>
            </a:effectLst>
          </p:spPr>
          <p:txBody>
            <a:bodyPr wrap="none" lIns="0" tIns="54000" rIns="0" bIns="0" numCol="1" anchor="ctr">
              <a:noAutofit/>
            </a:bodyPr>
            <a:lstStyle/>
            <a:p>
              <a:pPr algn="ctr">
                <a:lnSpc>
                  <a:spcPts val="1875"/>
                </a:lnSpc>
                <a:defRPr sz="3000" b="1">
                  <a:solidFill>
                    <a:srgbClr val="1C4598"/>
                  </a:solidFill>
                  <a:latin typeface="Arial"/>
                  <a:ea typeface="Arial"/>
                  <a:cs typeface="Arial"/>
                  <a:sym typeface="Arial"/>
                </a:defRPr>
              </a:pPr>
              <a:r>
                <a:rPr lang="it-IT" sz="1725" b="1" spc="135" dirty="0">
                  <a:solidFill>
                    <a:srgbClr val="FFFFFF"/>
                  </a:solidFill>
                  <a:ea typeface="Arial"/>
                  <a:cs typeface="Arial"/>
                  <a:sym typeface="Arial"/>
                </a:rPr>
                <a:t>120</a:t>
              </a:r>
            </a:p>
            <a:p>
              <a:pPr algn="ctr">
                <a:lnSpc>
                  <a:spcPts val="1875"/>
                </a:lnSpc>
                <a:defRPr sz="3000" b="1">
                  <a:solidFill>
                    <a:srgbClr val="1C4598"/>
                  </a:solidFill>
                  <a:latin typeface="Arial"/>
                  <a:ea typeface="Arial"/>
                  <a:cs typeface="Arial"/>
                  <a:sym typeface="Arial"/>
                </a:defRPr>
              </a:pPr>
              <a:r>
                <a:rPr lang="it-IT" sz="1725" b="1" spc="135" dirty="0">
                  <a:solidFill>
                    <a:srgbClr val="FFFFFF"/>
                  </a:solidFill>
                  <a:ea typeface="Arial"/>
                  <a:cs typeface="Arial"/>
                  <a:sym typeface="Arial"/>
                </a:rPr>
                <a:t>M€</a:t>
              </a:r>
              <a:endParaRPr sz="1725" b="1" spc="135" dirty="0">
                <a:solidFill>
                  <a:srgbClr val="FFFFFF"/>
                </a:solidFill>
                <a:ea typeface="Arial"/>
                <a:cs typeface="Arial"/>
                <a:sym typeface="Arial"/>
              </a:endParaRPr>
            </a:p>
          </p:txBody>
        </p:sp>
      </p:grpSp>
      <p:graphicFrame>
        <p:nvGraphicFramePr>
          <p:cNvPr id="20" name="Diagramma 19"/>
          <p:cNvGraphicFramePr/>
          <p:nvPr>
            <p:extLst>
              <p:ext uri="{D42A27DB-BD31-4B8C-83A1-F6EECF244321}">
                <p14:modId xmlns:p14="http://schemas.microsoft.com/office/powerpoint/2010/main" val="1900822394"/>
              </p:ext>
            </p:extLst>
          </p:nvPr>
        </p:nvGraphicFramePr>
        <p:xfrm>
          <a:off x="134978" y="16679"/>
          <a:ext cx="8286246" cy="81167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39651829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191226" y="538531"/>
            <a:ext cx="8382465" cy="649775"/>
          </a:xfrm>
        </p:spPr>
        <p:txBody>
          <a:bodyPr/>
          <a:lstStyle/>
          <a:p>
            <a:r>
              <a:rPr lang="it-IT" sz="2400" dirty="0"/>
              <a:t>Interventi Nuove Opere – </a:t>
            </a:r>
            <a:r>
              <a:rPr lang="it-IT" sz="1400" i="1" dirty="0"/>
              <a:t>In corso di esecuzione</a:t>
            </a:r>
          </a:p>
        </p:txBody>
      </p:sp>
      <p:graphicFrame>
        <p:nvGraphicFramePr>
          <p:cNvPr id="4" name="Tabella 3"/>
          <p:cNvGraphicFramePr>
            <a:graphicFrameLocks noGrp="1"/>
          </p:cNvGraphicFramePr>
          <p:nvPr>
            <p:extLst>
              <p:ext uri="{D42A27DB-BD31-4B8C-83A1-F6EECF244321}">
                <p14:modId xmlns:p14="http://schemas.microsoft.com/office/powerpoint/2010/main" val="3700996647"/>
              </p:ext>
            </p:extLst>
          </p:nvPr>
        </p:nvGraphicFramePr>
        <p:xfrm>
          <a:off x="191226" y="1162851"/>
          <a:ext cx="8059541" cy="1005840"/>
        </p:xfrm>
        <a:graphic>
          <a:graphicData uri="http://schemas.openxmlformats.org/drawingml/2006/table">
            <a:tbl>
              <a:tblPr firstRow="1" bandRow="1">
                <a:tableStyleId>{69012ECD-51FC-41F1-AA8D-1B2483CD663E}</a:tableStyleId>
              </a:tblPr>
              <a:tblGrid>
                <a:gridCol w="380274">
                  <a:extLst>
                    <a:ext uri="{9D8B030D-6E8A-4147-A177-3AD203B41FA5}">
                      <a16:colId xmlns:a16="http://schemas.microsoft.com/office/drawing/2014/main" val="1558833783"/>
                    </a:ext>
                  </a:extLst>
                </a:gridCol>
                <a:gridCol w="5604933">
                  <a:extLst>
                    <a:ext uri="{9D8B030D-6E8A-4147-A177-3AD203B41FA5}">
                      <a16:colId xmlns:a16="http://schemas.microsoft.com/office/drawing/2014/main" val="967363192"/>
                    </a:ext>
                  </a:extLst>
                </a:gridCol>
                <a:gridCol w="2074334">
                  <a:extLst>
                    <a:ext uri="{9D8B030D-6E8A-4147-A177-3AD203B41FA5}">
                      <a16:colId xmlns:a16="http://schemas.microsoft.com/office/drawing/2014/main" val="2536182727"/>
                    </a:ext>
                  </a:extLst>
                </a:gridCol>
              </a:tblGrid>
              <a:tr h="251460">
                <a:tc>
                  <a:txBody>
                    <a:bodyPr/>
                    <a:lstStyle/>
                    <a:p>
                      <a:r>
                        <a:rPr lang="it-IT" sz="1200" dirty="0"/>
                        <a:t>N°</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it-IT" sz="1200" dirty="0"/>
                        <a:t>Titolo intervento</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it-IT" sz="1200" dirty="0"/>
                        <a:t>Finanziamento Mln€</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80396517"/>
                  </a:ext>
                </a:extLst>
              </a:tr>
              <a:tr h="754380">
                <a:tc>
                  <a:txBody>
                    <a:bodyPr/>
                    <a:lstStyle/>
                    <a:p>
                      <a:pPr algn="ctr"/>
                      <a:r>
                        <a:rPr lang="it-IT" sz="900" dirty="0"/>
                        <a:t>1</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it-IT" sz="900" dirty="0">
                          <a:solidFill>
                            <a:srgbClr val="000000"/>
                          </a:solidFill>
                          <a:latin typeface="+mn-lt"/>
                        </a:rPr>
                        <a:t>S.S. n. 4 “Salaria” – Lavori di realizzazione </a:t>
                      </a:r>
                      <a:r>
                        <a:rPr lang="it-IT" sz="900" kern="1200" dirty="0">
                          <a:solidFill>
                            <a:srgbClr val="000000"/>
                          </a:solidFill>
                          <a:latin typeface="+mn-lt"/>
                          <a:ea typeface="+mn-ea"/>
                          <a:cs typeface="+mn-cs"/>
                        </a:rPr>
                        <a:t>del collegamento tra l’Autostrada </a:t>
                      </a:r>
                      <a:r>
                        <a:rPr lang="it-IT" sz="900" dirty="0">
                          <a:solidFill>
                            <a:srgbClr val="000000"/>
                          </a:solidFill>
                          <a:latin typeface="+mn-lt"/>
                        </a:rPr>
                        <a:t>“</a:t>
                      </a:r>
                      <a:r>
                        <a:rPr lang="it-IT" sz="900" kern="1200" dirty="0">
                          <a:solidFill>
                            <a:srgbClr val="000000"/>
                          </a:solidFill>
                          <a:latin typeface="+mn-lt"/>
                          <a:ea typeface="+mn-ea"/>
                          <a:cs typeface="+mn-cs"/>
                        </a:rPr>
                        <a:t>A1dir</a:t>
                      </a:r>
                      <a:r>
                        <a:rPr lang="it-IT" sz="900" dirty="0">
                          <a:solidFill>
                            <a:srgbClr val="000000"/>
                          </a:solidFill>
                          <a:latin typeface="+mn-lt"/>
                        </a:rPr>
                        <a:t>“</a:t>
                      </a:r>
                      <a:r>
                        <a:rPr lang="it-IT" sz="900" kern="1200" dirty="0">
                          <a:solidFill>
                            <a:srgbClr val="000000"/>
                          </a:solidFill>
                          <a:latin typeface="+mn-lt"/>
                          <a:ea typeface="+mn-ea"/>
                          <a:cs typeface="+mn-cs"/>
                        </a:rPr>
                        <a:t> e la S.S. n. 4 “Salaria” a</a:t>
                      </a:r>
                      <a:r>
                        <a:rPr lang="it-IT" sz="900" kern="1200" baseline="0" dirty="0">
                          <a:solidFill>
                            <a:srgbClr val="000000"/>
                          </a:solidFill>
                          <a:latin typeface="+mn-lt"/>
                          <a:ea typeface="+mn-ea"/>
                          <a:cs typeface="+mn-cs"/>
                        </a:rPr>
                        <a:t> </a:t>
                      </a:r>
                      <a:r>
                        <a:rPr lang="it-IT" sz="900" kern="1200" dirty="0">
                          <a:solidFill>
                            <a:srgbClr val="000000"/>
                          </a:solidFill>
                          <a:latin typeface="+mn-lt"/>
                          <a:ea typeface="+mn-ea"/>
                          <a:cs typeface="+mn-cs"/>
                        </a:rPr>
                        <a:t>Monterotondo Scalo.</a:t>
                      </a:r>
                      <a:r>
                        <a:rPr lang="it-IT" sz="900" kern="1200" baseline="0" dirty="0">
                          <a:solidFill>
                            <a:srgbClr val="000000"/>
                          </a:solidFill>
                          <a:latin typeface="+mn-lt"/>
                          <a:ea typeface="+mn-ea"/>
                          <a:cs typeface="+mn-cs"/>
                        </a:rPr>
                        <a:t> </a:t>
                      </a:r>
                      <a:r>
                        <a:rPr lang="it-IT" sz="900" dirty="0">
                          <a:solidFill>
                            <a:srgbClr val="000000"/>
                          </a:solidFill>
                          <a:latin typeface="+mn-lt"/>
                        </a:rPr>
                        <a:t>“</a:t>
                      </a:r>
                      <a:r>
                        <a:rPr lang="it-IT" sz="900" kern="1200" dirty="0">
                          <a:solidFill>
                            <a:srgbClr val="000000"/>
                          </a:solidFill>
                          <a:latin typeface="+mn-lt"/>
                          <a:ea typeface="+mn-ea"/>
                          <a:cs typeface="+mn-cs"/>
                        </a:rPr>
                        <a:t>Bretella Salaria Sud</a:t>
                      </a:r>
                      <a:r>
                        <a:rPr lang="it-IT" sz="900" dirty="0">
                          <a:solidFill>
                            <a:srgbClr val="000000"/>
                          </a:solidFill>
                          <a:latin typeface="+mn-lt"/>
                        </a:rPr>
                        <a:t>“.</a:t>
                      </a:r>
                      <a:endParaRPr lang="it-IT" sz="900" kern="1200" dirty="0">
                        <a:solidFill>
                          <a:srgbClr val="000000"/>
                        </a:solidFill>
                        <a:latin typeface="+mn-lt"/>
                        <a:ea typeface="+mn-ea"/>
                        <a:cs typeface="+mn-cs"/>
                      </a:endParaRPr>
                    </a:p>
                    <a:p>
                      <a:r>
                        <a:rPr lang="it-IT" sz="900" kern="1200" dirty="0">
                          <a:solidFill>
                            <a:srgbClr val="000000"/>
                          </a:solidFill>
                          <a:latin typeface="+mn-lt"/>
                          <a:ea typeface="+mn-ea"/>
                          <a:cs typeface="+mn-cs"/>
                        </a:rPr>
                        <a:t>1° stralcio</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FF00"/>
                    </a:solidFill>
                  </a:tcPr>
                </a:tc>
                <a:tc>
                  <a:txBody>
                    <a:bodyPr/>
                    <a:lstStyle/>
                    <a:p>
                      <a:pPr algn="ctr"/>
                      <a:r>
                        <a:rPr lang="it-IT" sz="900" b="1" dirty="0"/>
                        <a:t>20,53</a:t>
                      </a:r>
                    </a:p>
                    <a:p>
                      <a:pPr algn="ctr"/>
                      <a:r>
                        <a:rPr lang="it-IT" sz="900" dirty="0"/>
                        <a:t>Finanziato con Fondi</a:t>
                      </a:r>
                      <a:r>
                        <a:rPr lang="it-IT" sz="900" baseline="0" dirty="0"/>
                        <a:t> Regionali di cui alla Convenzione (RM22) del 2012, c</a:t>
                      </a:r>
                      <a:r>
                        <a:rPr lang="it-IT" sz="900" dirty="0"/>
                        <a:t>on</a:t>
                      </a:r>
                      <a:r>
                        <a:rPr lang="it-IT" sz="900" baseline="0" dirty="0"/>
                        <a:t> </a:t>
                      </a:r>
                      <a:r>
                        <a:rPr lang="it-IT" sz="900" dirty="0"/>
                        <a:t>il Contratto di Programma 2011</a:t>
                      </a:r>
                      <a:r>
                        <a:rPr lang="it-IT" sz="900" baseline="0" dirty="0"/>
                        <a:t> e con  Fondi ANAS </a:t>
                      </a:r>
                      <a:endParaRPr lang="it-IT" sz="900" dirty="0"/>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42906158"/>
                  </a:ext>
                </a:extLst>
              </a:tr>
            </a:tbl>
          </a:graphicData>
        </a:graphic>
      </p:graphicFrame>
      <p:sp>
        <p:nvSpPr>
          <p:cNvPr id="5" name="CasellaDiTesto 4"/>
          <p:cNvSpPr txBox="1"/>
          <p:nvPr/>
        </p:nvSpPr>
        <p:spPr>
          <a:xfrm>
            <a:off x="134992" y="2589748"/>
            <a:ext cx="8298386" cy="2585323"/>
          </a:xfrm>
          <a:prstGeom prst="rect">
            <a:avLst/>
          </a:prstGeom>
          <a:noFill/>
        </p:spPr>
        <p:txBody>
          <a:bodyPr wrap="square" rtlCol="0">
            <a:spAutoFit/>
          </a:bodyPr>
          <a:lstStyle/>
          <a:p>
            <a:pPr algn="just">
              <a:defRPr/>
            </a:pPr>
            <a:r>
              <a:rPr lang="it-IT" sz="900" dirty="0">
                <a:solidFill>
                  <a:srgbClr val="000000"/>
                </a:solidFill>
              </a:rPr>
              <a:t>L’intervento riguarda i lavori di realizzazione del 1° Stralcio del Progetto Esecutivo “Bretella Salaria Sud” relativo al Collegamento Stradale tra l’Autostrada “A1 Dir” e la S.S. n. 4 “Salaria” a Monterotondo Scalo.</a:t>
            </a:r>
          </a:p>
          <a:p>
            <a:r>
              <a:rPr lang="it-IT" sz="900" dirty="0">
                <a:solidFill>
                  <a:srgbClr val="000000"/>
                </a:solidFill>
              </a:rPr>
              <a:t>Il presente intervento prevede la realizzazione del tratto stradale di collegamento tra l’intersezione a “T” denominata “Nodo E” e la rotatoria esistente individuata come Nodo “C”, dello sviluppo totale di </a:t>
            </a:r>
            <a:r>
              <a:rPr lang="it-IT" sz="900" b="1" dirty="0">
                <a:solidFill>
                  <a:srgbClr val="000000"/>
                </a:solidFill>
              </a:rPr>
              <a:t>2.055 m</a:t>
            </a:r>
            <a:r>
              <a:rPr lang="it-IT" sz="900" dirty="0">
                <a:solidFill>
                  <a:srgbClr val="000000"/>
                </a:solidFill>
              </a:rPr>
              <a:t> con sezione di tipo C2 (strada extraurbana secondaria) di cui al D.M. 05/11/2001, per una larghezza complessiva di 9,50 m, con due corsie, una per senso di marcia, della larghezza di 3,50 m e banchine laterali da 1,25 m. Sono inoltre previste la deviazione del tratto finale di Via Righi, con l’innesto di solo ingresso della stessa al Nodo “C” e la variante altimetrica di Via del </a:t>
            </a:r>
            <a:r>
              <a:rPr lang="it-IT" sz="900" dirty="0" err="1">
                <a:solidFill>
                  <a:srgbClr val="000000"/>
                </a:solidFill>
              </a:rPr>
              <a:t>Semblera</a:t>
            </a:r>
            <a:r>
              <a:rPr lang="it-IT" sz="900" dirty="0">
                <a:solidFill>
                  <a:srgbClr val="000000"/>
                </a:solidFill>
              </a:rPr>
              <a:t>, per consentire la realizzazione dell’intersezione a T di inizio progetto (Nodo “E”).</a:t>
            </a:r>
          </a:p>
          <a:p>
            <a:r>
              <a:rPr lang="it-IT" sz="900" dirty="0">
                <a:solidFill>
                  <a:srgbClr val="000000"/>
                </a:solidFill>
              </a:rPr>
              <a:t>A seguito di esperimento di procedura di gara, in data 05/07/2019 è stata disposta l’aggiudicazione dell’appalto in favore del Consorzio Stabile Olimpia, con consorziata designata l’Impresa Sposato Costruzioni S.r.l., con ribasso del 25,131%, per un importo di € 10.860.177, oltre € 1.021.865 per Oneri di Sicurezza. </a:t>
            </a:r>
          </a:p>
          <a:p>
            <a:r>
              <a:rPr lang="it-IT" sz="900" dirty="0">
                <a:solidFill>
                  <a:srgbClr val="000000"/>
                </a:solidFill>
              </a:rPr>
              <a:t>Il contratto di appalto è stato stipulato in data 13/11/2019 e i lavori sono stati consegnati in data 08/01/2020.</a:t>
            </a:r>
          </a:p>
          <a:p>
            <a:r>
              <a:rPr lang="it-IT" sz="900" dirty="0">
                <a:solidFill>
                  <a:srgbClr val="000000"/>
                </a:solidFill>
              </a:rPr>
              <a:t>Successivamente, in esito al Dispositivo del 28/05/2021 con il quale è stata approvata la Perizia di Variante n. 1, l’importo dei lavori è stato aumentato ad </a:t>
            </a:r>
            <a:r>
              <a:rPr lang="it-IT" sz="900" b="1" dirty="0">
                <a:solidFill>
                  <a:srgbClr val="000000"/>
                </a:solidFill>
              </a:rPr>
              <a:t>€ 13.054.006 </a:t>
            </a:r>
            <a:r>
              <a:rPr lang="it-IT" sz="900" dirty="0">
                <a:solidFill>
                  <a:srgbClr val="000000"/>
                </a:solidFill>
              </a:rPr>
              <a:t>(compresi oneri sicurezza), fermo restando l’importo dell’investimento al netto del ribasso, pari ad € 16.885.526</a:t>
            </a:r>
          </a:p>
          <a:p>
            <a:r>
              <a:rPr lang="it-IT" sz="900" dirty="0">
                <a:solidFill>
                  <a:srgbClr val="000000"/>
                </a:solidFill>
              </a:rPr>
              <a:t>Si sta attualmente provvedendo alla realizzazione di alcuni tratti del rilevato stradale con funzione di argine del fiume Tevere, alla cui base è previsto un taglione costituito da una paratia di pali secanti ed al cui piede sono da posare in opera i gabbioni. Sono altresì in corso di esecuzione i nuovi collettori fognari del Comune di Monterotondo e di ACEA ATO2 (come da accordi con i suddetti enti) ed alcune opere d’arte minori (muri, tombini idraulici, ecc.).</a:t>
            </a:r>
          </a:p>
          <a:p>
            <a:pPr algn="just">
              <a:defRPr/>
            </a:pPr>
            <a:r>
              <a:rPr lang="it-IT" sz="900" dirty="0">
                <a:solidFill>
                  <a:srgbClr val="000000"/>
                </a:solidFill>
              </a:rPr>
              <a:t>Si segnala, infine, che dal 24/06/2021 i lavori sono sospesi per un tratto di circa 200 m in corrispondenza del quale sono stati rinvenuti reperti di interesse archeologico, per la caratterizzazione dei quali è attualmente in corso una campagna di saggi, concordata con la Soprintendenza Archeologica.</a:t>
            </a:r>
          </a:p>
          <a:p>
            <a:pPr algn="just">
              <a:defRPr/>
            </a:pPr>
            <a:r>
              <a:rPr lang="it-IT" sz="900" dirty="0">
                <a:solidFill>
                  <a:srgbClr val="000000"/>
                </a:solidFill>
              </a:rPr>
              <a:t>L’ultimazione dei lavori è prevista per il mese di marzo 2022, a meno di una proroga degli stessi a seguito dell’approvazione di una perizia di variante tecnica in corso di redazione.</a:t>
            </a:r>
          </a:p>
        </p:txBody>
      </p:sp>
      <p:sp>
        <p:nvSpPr>
          <p:cNvPr id="10" name="CasellaDiTesto 9"/>
          <p:cNvSpPr txBox="1"/>
          <p:nvPr/>
        </p:nvSpPr>
        <p:spPr>
          <a:xfrm>
            <a:off x="6843063" y="2227012"/>
            <a:ext cx="1191575" cy="332006"/>
          </a:xfrm>
          <a:prstGeom prst="roundRect">
            <a:avLst/>
          </a:prstGeom>
          <a:solidFill>
            <a:srgbClr val="DC002E"/>
          </a:solidFill>
        </p:spPr>
        <p:txBody>
          <a:bodyPr wrap="square" rtlCol="0">
            <a:spAutoFit/>
          </a:bodyPr>
          <a:lstStyle/>
          <a:p>
            <a:pPr algn="ctr"/>
            <a:r>
              <a:rPr lang="it-IT" sz="1350" b="1" dirty="0">
                <a:solidFill>
                  <a:srgbClr val="FFFFFF"/>
                </a:solidFill>
              </a:rPr>
              <a:t>20,53 Mln€</a:t>
            </a:r>
          </a:p>
        </p:txBody>
      </p:sp>
      <p:graphicFrame>
        <p:nvGraphicFramePr>
          <p:cNvPr id="8" name="Diagramma 7"/>
          <p:cNvGraphicFramePr/>
          <p:nvPr>
            <p:extLst>
              <p:ext uri="{D42A27DB-BD31-4B8C-83A1-F6EECF244321}">
                <p14:modId xmlns:p14="http://schemas.microsoft.com/office/powerpoint/2010/main" val="1900822394"/>
              </p:ext>
            </p:extLst>
          </p:nvPr>
        </p:nvGraphicFramePr>
        <p:xfrm>
          <a:off x="134978" y="16679"/>
          <a:ext cx="8286246" cy="8116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02206547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ella 3"/>
          <p:cNvGraphicFramePr>
            <a:graphicFrameLocks noGrp="1"/>
          </p:cNvGraphicFramePr>
          <p:nvPr>
            <p:extLst>
              <p:ext uri="{D42A27DB-BD31-4B8C-83A1-F6EECF244321}">
                <p14:modId xmlns:p14="http://schemas.microsoft.com/office/powerpoint/2010/main" val="3459808131"/>
              </p:ext>
            </p:extLst>
          </p:nvPr>
        </p:nvGraphicFramePr>
        <p:xfrm>
          <a:off x="259299" y="1003416"/>
          <a:ext cx="8059541" cy="796172"/>
        </p:xfrm>
        <a:graphic>
          <a:graphicData uri="http://schemas.openxmlformats.org/drawingml/2006/table">
            <a:tbl>
              <a:tblPr firstRow="1" bandRow="1">
                <a:tableStyleId>{69012ECD-51FC-41F1-AA8D-1B2483CD663E}</a:tableStyleId>
              </a:tblPr>
              <a:tblGrid>
                <a:gridCol w="380274">
                  <a:extLst>
                    <a:ext uri="{9D8B030D-6E8A-4147-A177-3AD203B41FA5}">
                      <a16:colId xmlns:a16="http://schemas.microsoft.com/office/drawing/2014/main" val="1558833783"/>
                    </a:ext>
                  </a:extLst>
                </a:gridCol>
                <a:gridCol w="5604933">
                  <a:extLst>
                    <a:ext uri="{9D8B030D-6E8A-4147-A177-3AD203B41FA5}">
                      <a16:colId xmlns:a16="http://schemas.microsoft.com/office/drawing/2014/main" val="967363192"/>
                    </a:ext>
                  </a:extLst>
                </a:gridCol>
                <a:gridCol w="2074334">
                  <a:extLst>
                    <a:ext uri="{9D8B030D-6E8A-4147-A177-3AD203B41FA5}">
                      <a16:colId xmlns:a16="http://schemas.microsoft.com/office/drawing/2014/main" val="2536182727"/>
                    </a:ext>
                  </a:extLst>
                </a:gridCol>
              </a:tblGrid>
              <a:tr h="278907">
                <a:tc>
                  <a:txBody>
                    <a:bodyPr/>
                    <a:lstStyle/>
                    <a:p>
                      <a:r>
                        <a:rPr lang="it-IT" sz="1200" dirty="0"/>
                        <a:t>N°</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it-IT" sz="1200" dirty="0"/>
                        <a:t>Titolo intervento</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it-IT" sz="1200" dirty="0"/>
                        <a:t>Finanziamento Mln€</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80396517"/>
                  </a:ext>
                </a:extLst>
              </a:tr>
              <a:tr h="517265">
                <a:tc>
                  <a:txBody>
                    <a:bodyPr/>
                    <a:lstStyle/>
                    <a:p>
                      <a:pPr algn="ctr"/>
                      <a:r>
                        <a:rPr lang="it-IT" sz="900" dirty="0"/>
                        <a:t>2</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it-IT" sz="900" kern="1200" dirty="0">
                          <a:solidFill>
                            <a:srgbClr val="000000"/>
                          </a:solidFill>
                          <a:latin typeface="+mn-lt"/>
                          <a:ea typeface="+mn-ea"/>
                          <a:cs typeface="+mn-cs"/>
                        </a:rPr>
                        <a:t>S.S. n. 79 </a:t>
                      </a:r>
                      <a:r>
                        <a:rPr lang="it-IT" sz="900" dirty="0">
                          <a:solidFill>
                            <a:srgbClr val="000000"/>
                          </a:solidFill>
                          <a:latin typeface="+mn-lt"/>
                        </a:rPr>
                        <a:t>“</a:t>
                      </a:r>
                      <a:r>
                        <a:rPr lang="it-IT" sz="900" kern="1200" dirty="0">
                          <a:solidFill>
                            <a:srgbClr val="000000"/>
                          </a:solidFill>
                          <a:latin typeface="+mn-lt"/>
                          <a:ea typeface="+mn-ea"/>
                          <a:cs typeface="+mn-cs"/>
                        </a:rPr>
                        <a:t>Ternana</a:t>
                      </a:r>
                      <a:r>
                        <a:rPr lang="it-IT" sz="900" dirty="0">
                          <a:solidFill>
                            <a:srgbClr val="000000"/>
                          </a:solidFill>
                          <a:latin typeface="+mn-lt"/>
                        </a:rPr>
                        <a:t>“. Direttrice</a:t>
                      </a:r>
                      <a:r>
                        <a:rPr lang="it-IT" sz="900" baseline="0" dirty="0">
                          <a:solidFill>
                            <a:srgbClr val="000000"/>
                          </a:solidFill>
                          <a:latin typeface="+mn-lt"/>
                        </a:rPr>
                        <a:t> </a:t>
                      </a:r>
                      <a:r>
                        <a:rPr lang="it-IT" sz="900" dirty="0">
                          <a:solidFill>
                            <a:srgbClr val="000000"/>
                          </a:solidFill>
                          <a:latin typeface="+mn-lt"/>
                        </a:rPr>
                        <a:t>“Terni – Rieti“.</a:t>
                      </a:r>
                      <a:r>
                        <a:rPr lang="it-IT" sz="900" kern="1200" dirty="0">
                          <a:solidFill>
                            <a:srgbClr val="000000"/>
                          </a:solidFill>
                          <a:latin typeface="+mn-lt"/>
                          <a:ea typeface="+mn-ea"/>
                          <a:cs typeface="+mn-cs"/>
                        </a:rPr>
                        <a:t> </a:t>
                      </a:r>
                    </a:p>
                    <a:p>
                      <a:r>
                        <a:rPr lang="it-IT" sz="900" kern="1200" dirty="0">
                          <a:solidFill>
                            <a:srgbClr val="000000"/>
                          </a:solidFill>
                          <a:latin typeface="+mn-lt"/>
                          <a:ea typeface="+mn-ea"/>
                          <a:cs typeface="+mn-cs"/>
                        </a:rPr>
                        <a:t>Tratto Laziale: dalla Galleria Montelungo al Confine Regionale (dal Km 10+240 al Km 10+940) e </a:t>
                      </a:r>
                    </a:p>
                    <a:p>
                      <a:r>
                        <a:rPr lang="it-IT" sz="900" kern="1200" dirty="0">
                          <a:solidFill>
                            <a:srgbClr val="000000"/>
                          </a:solidFill>
                          <a:latin typeface="+mn-lt"/>
                          <a:ea typeface="+mn-ea"/>
                          <a:cs typeface="+mn-cs"/>
                        </a:rPr>
                        <a:t>Tratto Umbro:</a:t>
                      </a:r>
                      <a:r>
                        <a:rPr lang="it-IT" sz="900" kern="1200" baseline="0" dirty="0">
                          <a:solidFill>
                            <a:srgbClr val="000000"/>
                          </a:solidFill>
                          <a:latin typeface="+mn-lt"/>
                          <a:ea typeface="+mn-ea"/>
                          <a:cs typeface="+mn-cs"/>
                        </a:rPr>
                        <a:t> </a:t>
                      </a:r>
                      <a:r>
                        <a:rPr lang="it-IT" sz="900" kern="1200" dirty="0">
                          <a:solidFill>
                            <a:srgbClr val="000000"/>
                          </a:solidFill>
                          <a:latin typeface="+mn-lt"/>
                          <a:ea typeface="+mn-ea"/>
                          <a:cs typeface="+mn-cs"/>
                        </a:rPr>
                        <a:t>Lavori</a:t>
                      </a:r>
                      <a:r>
                        <a:rPr lang="it-IT" sz="900" kern="1200" baseline="0" dirty="0">
                          <a:solidFill>
                            <a:srgbClr val="000000"/>
                          </a:solidFill>
                          <a:latin typeface="+mn-lt"/>
                          <a:ea typeface="+mn-ea"/>
                          <a:cs typeface="+mn-cs"/>
                        </a:rPr>
                        <a:t> di </a:t>
                      </a:r>
                      <a:r>
                        <a:rPr lang="it-IT" sz="900" kern="1200" dirty="0">
                          <a:solidFill>
                            <a:srgbClr val="000000"/>
                          </a:solidFill>
                          <a:latin typeface="+mn-lt"/>
                          <a:ea typeface="+mn-ea"/>
                          <a:cs typeface="+mn-cs"/>
                        </a:rPr>
                        <a:t>Completamento</a:t>
                      </a:r>
                      <a:r>
                        <a:rPr lang="it-IT" sz="900" kern="1200" baseline="0" dirty="0">
                          <a:solidFill>
                            <a:srgbClr val="000000"/>
                          </a:solidFill>
                          <a:latin typeface="+mn-lt"/>
                          <a:ea typeface="+mn-ea"/>
                          <a:cs typeface="+mn-cs"/>
                        </a:rPr>
                        <a:t> da Terni al Confine Regionale </a:t>
                      </a:r>
                      <a:r>
                        <a:rPr lang="it-IT" sz="900" kern="1200" dirty="0">
                          <a:solidFill>
                            <a:srgbClr val="000000"/>
                          </a:solidFill>
                          <a:latin typeface="+mn-lt"/>
                          <a:ea typeface="+mn-ea"/>
                          <a:cs typeface="+mn-cs"/>
                        </a:rPr>
                        <a:t>(dal Km 7+968 al Km 10+240) </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FF00"/>
                    </a:solidFill>
                  </a:tcPr>
                </a:tc>
                <a:tc>
                  <a:txBody>
                    <a:bodyPr/>
                    <a:lstStyle/>
                    <a:p>
                      <a:pPr algn="ctr"/>
                      <a:r>
                        <a:rPr lang="it-IT" sz="900" b="1" dirty="0">
                          <a:solidFill>
                            <a:schemeClr val="tx1"/>
                          </a:solidFill>
                        </a:rPr>
                        <a:t>19,8</a:t>
                      </a:r>
                    </a:p>
                    <a:p>
                      <a:pPr algn="ctr"/>
                      <a:r>
                        <a:rPr lang="it-IT" sz="900" dirty="0">
                          <a:solidFill>
                            <a:schemeClr val="tx1"/>
                          </a:solidFill>
                        </a:rPr>
                        <a:t>Finanziato con Contratto di Programma 2014</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42906158"/>
                  </a:ext>
                </a:extLst>
              </a:tr>
            </a:tbl>
          </a:graphicData>
        </a:graphic>
      </p:graphicFrame>
      <p:sp>
        <p:nvSpPr>
          <p:cNvPr id="5" name="CasellaDiTesto 4"/>
          <p:cNvSpPr txBox="1"/>
          <p:nvPr/>
        </p:nvSpPr>
        <p:spPr>
          <a:xfrm>
            <a:off x="143755" y="2270716"/>
            <a:ext cx="8298386" cy="2169825"/>
          </a:xfrm>
          <a:prstGeom prst="rect">
            <a:avLst/>
          </a:prstGeom>
          <a:noFill/>
        </p:spPr>
        <p:txBody>
          <a:bodyPr wrap="square" rtlCol="0">
            <a:spAutoFit/>
          </a:bodyPr>
          <a:lstStyle/>
          <a:p>
            <a:pPr>
              <a:defRPr/>
            </a:pPr>
            <a:endParaRPr lang="it-IT" sz="900" dirty="0">
              <a:solidFill>
                <a:srgbClr val="000000"/>
              </a:solidFill>
            </a:endParaRPr>
          </a:p>
          <a:p>
            <a:pPr>
              <a:defRPr/>
            </a:pPr>
            <a:r>
              <a:rPr lang="it-IT" sz="900" dirty="0">
                <a:solidFill>
                  <a:srgbClr val="000000"/>
                </a:solidFill>
              </a:rPr>
              <a:t>L’intervento, per il tratto laziale, prevede la realizzazione del tratto di strada in variante della lunghezza di circa </a:t>
            </a:r>
            <a:r>
              <a:rPr lang="it-IT" sz="900" b="1" dirty="0">
                <a:solidFill>
                  <a:srgbClr val="000000"/>
                </a:solidFill>
              </a:rPr>
              <a:t>700m</a:t>
            </a:r>
            <a:r>
              <a:rPr lang="it-IT" sz="900" dirty="0">
                <a:solidFill>
                  <a:srgbClr val="000000"/>
                </a:solidFill>
              </a:rPr>
              <a:t> tra le progressive 10+240 e 10+940 della S.S. n. 79 esistente, oltre che di una serie di rami secondari per i collegamenti tra l’Asse principale, il Comune di Colli sul Velino, il centro abitato di Piè di Moggio e la stazione ferroviaria esistente sulla linea “Terni – Rieti – L’Aquila - Sulmona“.</a:t>
            </a:r>
          </a:p>
          <a:p>
            <a:pPr>
              <a:defRPr/>
            </a:pPr>
            <a:r>
              <a:rPr lang="it-IT" sz="900" dirty="0">
                <a:solidFill>
                  <a:srgbClr val="000000"/>
                </a:solidFill>
              </a:rPr>
              <a:t>A seguito di procedura di gara, con Dispositivo n. 137 del 13/07/2016, l’appalto per l’esecuzione dei lavori del tratto laziale è stato aggiudicato a IRCOP Costruzioni Generali S.p.A. per un importo lavori di € 10.872.718 (comprensivi di Oneri di Sicurezza), corrispondente ad un investimento al netto del ribasso pari a € 16.119.033.</a:t>
            </a:r>
          </a:p>
          <a:p>
            <a:pPr>
              <a:defRPr/>
            </a:pPr>
            <a:r>
              <a:rPr lang="it-IT" sz="900" dirty="0">
                <a:solidFill>
                  <a:srgbClr val="000000"/>
                </a:solidFill>
              </a:rPr>
              <a:t>Successivamente, con Dispositivo n. 57288 del 30/02/2020 dell’Amministratore Delegato e Direttore Generale di ANAS, ai sensi dell’art. 57 del D. </a:t>
            </a:r>
            <a:r>
              <a:rPr lang="it-IT" sz="900" dirty="0" err="1">
                <a:solidFill>
                  <a:srgbClr val="000000"/>
                </a:solidFill>
              </a:rPr>
              <a:t>Lgs</a:t>
            </a:r>
            <a:r>
              <a:rPr lang="it-IT" sz="900" dirty="0">
                <a:solidFill>
                  <a:srgbClr val="000000"/>
                </a:solidFill>
              </a:rPr>
              <a:t>. 163/06, sono stati affidati alla IRCOP (appaltatore del tratto laziale) anche i lavori di completamento del tratto compreso tra le progressive 7+968 e 10+240 (pari a circa </a:t>
            </a:r>
            <a:r>
              <a:rPr lang="it-IT" sz="900" b="1" dirty="0">
                <a:solidFill>
                  <a:srgbClr val="000000"/>
                </a:solidFill>
              </a:rPr>
              <a:t>2300m</a:t>
            </a:r>
            <a:r>
              <a:rPr lang="it-IT" sz="900" dirty="0">
                <a:solidFill>
                  <a:srgbClr val="000000"/>
                </a:solidFill>
              </a:rPr>
              <a:t>) dell’Asta principale dell’attiguo tratto umbro, interrotti unilateralmente dall’Appaltatore (UNITER Consorzio Stabile) nel mese di ottobre 2017. </a:t>
            </a:r>
          </a:p>
          <a:p>
            <a:pPr>
              <a:defRPr/>
            </a:pPr>
            <a:r>
              <a:rPr lang="it-IT" sz="900" dirty="0">
                <a:solidFill>
                  <a:srgbClr val="000000"/>
                </a:solidFill>
              </a:rPr>
              <a:t>In esito al suddetto Dispositivo, l’importo dell’investimento al netto del ribasso è asceso a € 19.805.687, di cui </a:t>
            </a:r>
            <a:r>
              <a:rPr lang="it-IT" sz="900" b="1" dirty="0">
                <a:solidFill>
                  <a:srgbClr val="000000"/>
                </a:solidFill>
              </a:rPr>
              <a:t>€ 14.490.774 </a:t>
            </a:r>
            <a:r>
              <a:rPr lang="it-IT" sz="900" dirty="0">
                <a:solidFill>
                  <a:srgbClr val="000000"/>
                </a:solidFill>
              </a:rPr>
              <a:t>per lavori (comprensivi degli Oneri della Sicurezza).</a:t>
            </a:r>
          </a:p>
          <a:p>
            <a:pPr algn="just"/>
            <a:r>
              <a:rPr lang="it-IT" sz="900" dirty="0">
                <a:solidFill>
                  <a:srgbClr val="000000"/>
                </a:solidFill>
              </a:rPr>
              <a:t>Le lavorazioni principali sono ultimate: in data 23/12/2020 è stata aperta al traffico l’Asta principale dei due tratti umbro e laziale; in data 30/07/2021 è stato aperto al traffico lo Svincolo di Piediluco (tratto umbro); in data 13/08/2021 è stato aperto al traffico lo Svincolo di Colli sul Velino (tratto laziale).</a:t>
            </a:r>
          </a:p>
          <a:p>
            <a:pPr algn="just"/>
            <a:r>
              <a:rPr lang="it-IT" sz="900" dirty="0">
                <a:solidFill>
                  <a:srgbClr val="000000"/>
                </a:solidFill>
              </a:rPr>
              <a:t>Sono attualmente in corso di esecuzione alcune lavorazioni non incidenti sull'uso e la funzionalità dell'opera, quali le stazioni di sollevamento e relative condotte per lo smaltimento delle acque meteoriche; le opere a verde di mitigazione ambientale e le recinzioni.</a:t>
            </a:r>
          </a:p>
          <a:p>
            <a:pPr algn="just"/>
            <a:r>
              <a:rPr lang="it-IT" sz="900" dirty="0">
                <a:solidFill>
                  <a:srgbClr val="000000"/>
                </a:solidFill>
              </a:rPr>
              <a:t>Le suddette lavorazioni verranno ultimate entro il mese di Febbraio 2022.</a:t>
            </a:r>
            <a:endParaRPr lang="it-IT" sz="900" dirty="0">
              <a:solidFill>
                <a:srgbClr val="0E6B69"/>
              </a:solidFill>
            </a:endParaRPr>
          </a:p>
        </p:txBody>
      </p:sp>
      <p:sp>
        <p:nvSpPr>
          <p:cNvPr id="10" name="CasellaDiTesto 9"/>
          <p:cNvSpPr txBox="1"/>
          <p:nvPr/>
        </p:nvSpPr>
        <p:spPr>
          <a:xfrm>
            <a:off x="6662350" y="1964248"/>
            <a:ext cx="1191575" cy="332006"/>
          </a:xfrm>
          <a:prstGeom prst="roundRect">
            <a:avLst/>
          </a:prstGeom>
          <a:solidFill>
            <a:srgbClr val="DC002E"/>
          </a:solidFill>
        </p:spPr>
        <p:txBody>
          <a:bodyPr wrap="square" rtlCol="0">
            <a:spAutoFit/>
          </a:bodyPr>
          <a:lstStyle/>
          <a:p>
            <a:pPr algn="ctr"/>
            <a:r>
              <a:rPr lang="it-IT" sz="1350" b="1" dirty="0">
                <a:solidFill>
                  <a:srgbClr val="FFFFFF"/>
                </a:solidFill>
              </a:rPr>
              <a:t>19,8 Mln€</a:t>
            </a:r>
          </a:p>
        </p:txBody>
      </p:sp>
      <p:graphicFrame>
        <p:nvGraphicFramePr>
          <p:cNvPr id="7" name="Diagramma 6"/>
          <p:cNvGraphicFramePr/>
          <p:nvPr>
            <p:extLst>
              <p:ext uri="{D42A27DB-BD31-4B8C-83A1-F6EECF244321}">
                <p14:modId xmlns:p14="http://schemas.microsoft.com/office/powerpoint/2010/main" val="1900822394"/>
              </p:ext>
            </p:extLst>
          </p:nvPr>
        </p:nvGraphicFramePr>
        <p:xfrm>
          <a:off x="134978" y="16679"/>
          <a:ext cx="8286246" cy="8116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5054799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ella 3"/>
          <p:cNvGraphicFramePr>
            <a:graphicFrameLocks noGrp="1"/>
          </p:cNvGraphicFramePr>
          <p:nvPr>
            <p:extLst>
              <p:ext uri="{D42A27DB-BD31-4B8C-83A1-F6EECF244321}">
                <p14:modId xmlns:p14="http://schemas.microsoft.com/office/powerpoint/2010/main" val="759819388"/>
              </p:ext>
            </p:extLst>
          </p:nvPr>
        </p:nvGraphicFramePr>
        <p:xfrm>
          <a:off x="259299" y="995212"/>
          <a:ext cx="8059541" cy="768725"/>
        </p:xfrm>
        <a:graphic>
          <a:graphicData uri="http://schemas.openxmlformats.org/drawingml/2006/table">
            <a:tbl>
              <a:tblPr firstRow="1" bandRow="1">
                <a:tableStyleId>{69012ECD-51FC-41F1-AA8D-1B2483CD663E}</a:tableStyleId>
              </a:tblPr>
              <a:tblGrid>
                <a:gridCol w="380274">
                  <a:extLst>
                    <a:ext uri="{9D8B030D-6E8A-4147-A177-3AD203B41FA5}">
                      <a16:colId xmlns:a16="http://schemas.microsoft.com/office/drawing/2014/main" val="1558833783"/>
                    </a:ext>
                  </a:extLst>
                </a:gridCol>
                <a:gridCol w="5604933">
                  <a:extLst>
                    <a:ext uri="{9D8B030D-6E8A-4147-A177-3AD203B41FA5}">
                      <a16:colId xmlns:a16="http://schemas.microsoft.com/office/drawing/2014/main" val="967363192"/>
                    </a:ext>
                  </a:extLst>
                </a:gridCol>
                <a:gridCol w="2074334">
                  <a:extLst>
                    <a:ext uri="{9D8B030D-6E8A-4147-A177-3AD203B41FA5}">
                      <a16:colId xmlns:a16="http://schemas.microsoft.com/office/drawing/2014/main" val="2536182727"/>
                    </a:ext>
                  </a:extLst>
                </a:gridCol>
              </a:tblGrid>
              <a:tr h="251460">
                <a:tc>
                  <a:txBody>
                    <a:bodyPr/>
                    <a:lstStyle/>
                    <a:p>
                      <a:r>
                        <a:rPr lang="it-IT" sz="1200" dirty="0"/>
                        <a:t>N°</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it-IT" sz="1200" dirty="0"/>
                        <a:t>Titolo intervento</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it-IT" sz="1200" dirty="0"/>
                        <a:t>Finanziamento Mln€</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80396517"/>
                  </a:ext>
                </a:extLst>
              </a:tr>
              <a:tr h="517265">
                <a:tc>
                  <a:txBody>
                    <a:bodyPr/>
                    <a:lstStyle/>
                    <a:p>
                      <a:pPr algn="ctr"/>
                      <a:r>
                        <a:rPr lang="it-IT" sz="900" dirty="0"/>
                        <a:t>3</a:t>
                      </a:r>
                    </a:p>
                    <a:p>
                      <a:pPr algn="ctr"/>
                      <a:r>
                        <a:rPr lang="it-IT" sz="900" dirty="0"/>
                        <a:t>(*)</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it-IT" sz="900" dirty="0">
                          <a:solidFill>
                            <a:srgbClr val="000000"/>
                          </a:solidFill>
                          <a:latin typeface="+mn-lt"/>
                        </a:rPr>
                        <a:t>S.S. n. 4 “Salaria” – Opere infrastrutturali per il potenziamento</a:t>
                      </a:r>
                      <a:r>
                        <a:rPr lang="it-IT" sz="900" baseline="0" dirty="0">
                          <a:solidFill>
                            <a:srgbClr val="000000"/>
                          </a:solidFill>
                          <a:latin typeface="+mn-lt"/>
                        </a:rPr>
                        <a:t> ed il </a:t>
                      </a:r>
                      <a:r>
                        <a:rPr lang="it-IT" sz="900" dirty="0">
                          <a:solidFill>
                            <a:srgbClr val="000000"/>
                          </a:solidFill>
                          <a:latin typeface="+mn-lt"/>
                        </a:rPr>
                        <a:t>miglioramento funzionale degli Svincoli di Rieti.</a:t>
                      </a:r>
                      <a:endParaRPr lang="it-IT" sz="900" kern="1200" dirty="0">
                        <a:solidFill>
                          <a:srgbClr val="000000"/>
                        </a:solidFill>
                        <a:latin typeface="+mn-lt"/>
                        <a:ea typeface="+mn-ea"/>
                        <a:cs typeface="+mn-cs"/>
                      </a:endParaRPr>
                    </a:p>
                    <a:p>
                      <a:r>
                        <a:rPr lang="it-IT" sz="900" kern="1200" dirty="0">
                          <a:solidFill>
                            <a:srgbClr val="000000"/>
                          </a:solidFill>
                          <a:latin typeface="+mn-lt"/>
                          <a:ea typeface="+mn-ea"/>
                          <a:cs typeface="+mn-cs"/>
                        </a:rPr>
                        <a:t>Interventi</a:t>
                      </a:r>
                      <a:r>
                        <a:rPr lang="it-IT" sz="900" kern="1200" baseline="0" dirty="0">
                          <a:solidFill>
                            <a:srgbClr val="000000"/>
                          </a:solidFill>
                          <a:latin typeface="+mn-lt"/>
                          <a:ea typeface="+mn-ea"/>
                          <a:cs typeface="+mn-cs"/>
                        </a:rPr>
                        <a:t> </a:t>
                      </a:r>
                      <a:r>
                        <a:rPr lang="it-IT" sz="900" dirty="0">
                          <a:solidFill>
                            <a:srgbClr val="000000"/>
                          </a:solidFill>
                          <a:latin typeface="+mn-lt"/>
                        </a:rPr>
                        <a:t>“A“, “B“ e “C“.</a:t>
                      </a:r>
                      <a:endParaRPr lang="it-IT" sz="900" kern="1200" dirty="0">
                        <a:solidFill>
                          <a:srgbClr val="000000"/>
                        </a:solidFill>
                        <a:latin typeface="+mn-lt"/>
                        <a:ea typeface="+mn-ea"/>
                        <a:cs typeface="+mn-cs"/>
                      </a:endParaRP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FF00"/>
                    </a:solidFill>
                  </a:tcPr>
                </a:tc>
                <a:tc>
                  <a:txBody>
                    <a:bodyPr/>
                    <a:lstStyle/>
                    <a:p>
                      <a:pPr algn="ctr"/>
                      <a:r>
                        <a:rPr lang="it-IT" sz="900" b="1" dirty="0"/>
                        <a:t>28,44</a:t>
                      </a:r>
                    </a:p>
                    <a:p>
                      <a:pPr algn="ctr"/>
                      <a:r>
                        <a:rPr lang="it-IT" sz="900" dirty="0"/>
                        <a:t>Finanziato con il Contratto di Programma 2015</a:t>
                      </a:r>
                      <a:r>
                        <a:rPr lang="it-IT" sz="900" baseline="0" dirty="0"/>
                        <a:t> e con Fondi ANAS </a:t>
                      </a:r>
                      <a:endParaRPr lang="it-IT" sz="900" dirty="0"/>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42906158"/>
                  </a:ext>
                </a:extLst>
              </a:tr>
            </a:tbl>
          </a:graphicData>
        </a:graphic>
      </p:graphicFrame>
      <p:sp>
        <p:nvSpPr>
          <p:cNvPr id="5" name="CasellaDiTesto 4"/>
          <p:cNvSpPr txBox="1"/>
          <p:nvPr/>
        </p:nvSpPr>
        <p:spPr>
          <a:xfrm>
            <a:off x="203065" y="2388214"/>
            <a:ext cx="8298386" cy="2585323"/>
          </a:xfrm>
          <a:prstGeom prst="rect">
            <a:avLst/>
          </a:prstGeom>
          <a:noFill/>
        </p:spPr>
        <p:txBody>
          <a:bodyPr wrap="square" rtlCol="0">
            <a:spAutoFit/>
          </a:bodyPr>
          <a:lstStyle/>
          <a:p>
            <a:pPr algn="just">
              <a:defRPr/>
            </a:pPr>
            <a:r>
              <a:rPr lang="it-IT" sz="900" dirty="0">
                <a:solidFill>
                  <a:srgbClr val="000000"/>
                </a:solidFill>
              </a:rPr>
              <a:t>Il progetto prevede la realizzazione di tre distinti interventi, di lunghezza complessiva pari a </a:t>
            </a:r>
            <a:r>
              <a:rPr lang="it-IT" sz="900" b="1" dirty="0">
                <a:solidFill>
                  <a:srgbClr val="000000"/>
                </a:solidFill>
              </a:rPr>
              <a:t>5,3 km</a:t>
            </a:r>
            <a:r>
              <a:rPr lang="it-IT" sz="900" dirty="0">
                <a:solidFill>
                  <a:srgbClr val="000000"/>
                </a:solidFill>
              </a:rPr>
              <a:t>, finalizzati al miglioramento dell’accessibilità alla città di Rieti attraverso la sistemazione e l’ottimizzazione della viabilità esistente e delle relative intersezioni.</a:t>
            </a:r>
          </a:p>
          <a:p>
            <a:pPr marL="128588" indent="-128588" algn="just">
              <a:buFontTx/>
              <a:buChar char="-"/>
              <a:defRPr/>
            </a:pPr>
            <a:r>
              <a:rPr lang="it-IT" sz="900" dirty="0">
                <a:solidFill>
                  <a:srgbClr val="000000"/>
                </a:solidFill>
              </a:rPr>
              <a:t>Intervento “A“: della lunghezza di </a:t>
            </a:r>
            <a:r>
              <a:rPr lang="it-IT" sz="900" b="1" dirty="0">
                <a:solidFill>
                  <a:srgbClr val="000000"/>
                </a:solidFill>
              </a:rPr>
              <a:t>1,6 km</a:t>
            </a:r>
            <a:r>
              <a:rPr lang="it-IT" sz="900" dirty="0">
                <a:solidFill>
                  <a:srgbClr val="000000"/>
                </a:solidFill>
              </a:rPr>
              <a:t>, previsto per il potenziamento dell’incrocio in località Villa </a:t>
            </a:r>
            <a:r>
              <a:rPr lang="it-IT" sz="900" dirty="0" err="1">
                <a:solidFill>
                  <a:srgbClr val="000000"/>
                </a:solidFill>
              </a:rPr>
              <a:t>Stoli</a:t>
            </a:r>
            <a:r>
              <a:rPr lang="it-IT" sz="900" dirty="0">
                <a:solidFill>
                  <a:srgbClr val="000000"/>
                </a:solidFill>
              </a:rPr>
              <a:t>;</a:t>
            </a:r>
          </a:p>
          <a:p>
            <a:pPr marL="128588" indent="-128588" algn="just">
              <a:buFontTx/>
              <a:buChar char="-"/>
              <a:defRPr/>
            </a:pPr>
            <a:r>
              <a:rPr lang="it-IT" sz="900" dirty="0">
                <a:solidFill>
                  <a:srgbClr val="000000"/>
                </a:solidFill>
              </a:rPr>
              <a:t>Intervento “B“: della lunghezza di </a:t>
            </a:r>
            <a:r>
              <a:rPr lang="it-IT" sz="900" b="1" dirty="0">
                <a:solidFill>
                  <a:srgbClr val="000000"/>
                </a:solidFill>
              </a:rPr>
              <a:t>1,9 km</a:t>
            </a:r>
            <a:r>
              <a:rPr lang="it-IT" sz="900" dirty="0">
                <a:solidFill>
                  <a:srgbClr val="000000"/>
                </a:solidFill>
              </a:rPr>
              <a:t>, finalizzato al potenziamento dell’accesso sud della città, in località Porta Romana;</a:t>
            </a:r>
          </a:p>
          <a:p>
            <a:pPr marL="128588" indent="-128588" algn="just">
              <a:buFontTx/>
              <a:buChar char="-"/>
              <a:defRPr/>
            </a:pPr>
            <a:r>
              <a:rPr lang="it-IT" sz="900" dirty="0">
                <a:solidFill>
                  <a:srgbClr val="000000"/>
                </a:solidFill>
              </a:rPr>
              <a:t>Intervento “C“: della lunghezza di </a:t>
            </a:r>
            <a:r>
              <a:rPr lang="it-IT" sz="900" b="1" dirty="0">
                <a:solidFill>
                  <a:srgbClr val="000000"/>
                </a:solidFill>
              </a:rPr>
              <a:t>1,8 km</a:t>
            </a:r>
            <a:r>
              <a:rPr lang="it-IT" sz="900" dirty="0">
                <a:solidFill>
                  <a:srgbClr val="000000"/>
                </a:solidFill>
              </a:rPr>
              <a:t>, previsto per il potenziamento dell’accesso ovest di Rieti, in località Giorlandina.</a:t>
            </a:r>
          </a:p>
          <a:p>
            <a:pPr algn="just">
              <a:defRPr/>
            </a:pPr>
            <a:r>
              <a:rPr lang="it-IT" sz="900" dirty="0">
                <a:solidFill>
                  <a:srgbClr val="000000"/>
                </a:solidFill>
              </a:rPr>
              <a:t>Nel progetto sono previsti n.4 ponti, di cui n.1 ferroviario, da realizzare previa demolizione di quello esistente (come da Convenzione stipulata con RFI), oltre a svariate opere minori.</a:t>
            </a:r>
            <a:endParaRPr lang="it-IT" sz="900" strike="sngStrike" dirty="0">
              <a:solidFill>
                <a:srgbClr val="000000"/>
              </a:solidFill>
            </a:endParaRPr>
          </a:p>
          <a:p>
            <a:r>
              <a:rPr lang="it-IT" sz="900" dirty="0">
                <a:solidFill>
                  <a:srgbClr val="000000"/>
                </a:solidFill>
              </a:rPr>
              <a:t>A seguito di procedura di gara, con Dispositivo del 19/07/2021, l’appalto per l’esecuzione dei lavori è stato aggiudicato all’Impresa CEC – Consorzio stabile Europeo Costruttori (Consorziata individuata: Impresa Quattrini S.r.l.) con un ribasso offerto del 24,67% e per un importo lavori di </a:t>
            </a:r>
            <a:r>
              <a:rPr lang="it-IT" sz="900" b="1" dirty="0">
                <a:solidFill>
                  <a:srgbClr val="000000"/>
                </a:solidFill>
              </a:rPr>
              <a:t>€ 14.599.689 </a:t>
            </a:r>
            <a:r>
              <a:rPr lang="it-IT" sz="900" dirty="0">
                <a:solidFill>
                  <a:srgbClr val="000000"/>
                </a:solidFill>
              </a:rPr>
              <a:t>(comprensivo degli Oneri per la Sicurezza).</a:t>
            </a:r>
          </a:p>
          <a:p>
            <a:r>
              <a:rPr lang="it-IT" sz="900" dirty="0">
                <a:solidFill>
                  <a:srgbClr val="000000"/>
                </a:solidFill>
              </a:rPr>
              <a:t>Il contratto con l’Impresa aggiudicataria è stato stipulato in data 20/07/2021.</a:t>
            </a:r>
          </a:p>
          <a:p>
            <a:r>
              <a:rPr lang="it-IT" sz="900" dirty="0">
                <a:solidFill>
                  <a:srgbClr val="000000"/>
                </a:solidFill>
              </a:rPr>
              <a:t>La consegna dei lavori è avvenuta in data 21/07/2021.</a:t>
            </a:r>
          </a:p>
          <a:p>
            <a:pPr fontAlgn="base" hangingPunct="0"/>
            <a:r>
              <a:rPr lang="it-IT" sz="900" dirty="0">
                <a:solidFill>
                  <a:srgbClr val="000000"/>
                </a:solidFill>
              </a:rPr>
              <a:t>Sono attualmente in corso </a:t>
            </a:r>
            <a:r>
              <a:rPr lang="it-IT" sz="900" dirty="0"/>
              <a:t>le attività previste nell’Intervento A e nell’Intervento B. Le rimanenti attività, inerenti l’Intervento C, non sono state ancora avviate.</a:t>
            </a:r>
            <a:endParaRPr lang="it-IT" sz="900" strike="sngStrike" dirty="0">
              <a:solidFill>
                <a:srgbClr val="000000"/>
              </a:solidFill>
            </a:endParaRPr>
          </a:p>
          <a:p>
            <a:pPr fontAlgn="base" hangingPunct="0"/>
            <a:r>
              <a:rPr lang="it-IT" sz="900" dirty="0">
                <a:solidFill>
                  <a:srgbClr val="000000"/>
                </a:solidFill>
              </a:rPr>
              <a:t>L’ultimazione dei lavori è prevista per il mese di novembre 2022.</a:t>
            </a:r>
          </a:p>
          <a:p>
            <a:pPr algn="just">
              <a:defRPr/>
            </a:pPr>
            <a:endParaRPr lang="it-IT" sz="900" strike="sngStrike" dirty="0">
              <a:solidFill>
                <a:srgbClr val="000000"/>
              </a:solidFill>
            </a:endParaRPr>
          </a:p>
          <a:p>
            <a:pPr algn="just">
              <a:defRPr/>
            </a:pPr>
            <a:r>
              <a:rPr lang="it-IT" sz="900" dirty="0">
                <a:solidFill>
                  <a:srgbClr val="000000"/>
                </a:solidFill>
              </a:rPr>
              <a:t>Si evidenzia che il presente appalto è compreso tra quelli nelle competenze del Commissario Straordinario dei lavori della S.S. n. 4 “Salaria” (Ing. F.M. </a:t>
            </a:r>
            <a:r>
              <a:rPr lang="it-IT" sz="900" dirty="0" err="1">
                <a:solidFill>
                  <a:srgbClr val="000000"/>
                </a:solidFill>
              </a:rPr>
              <a:t>Soccodato</a:t>
            </a:r>
            <a:r>
              <a:rPr lang="it-IT" sz="900" dirty="0">
                <a:solidFill>
                  <a:srgbClr val="000000"/>
                </a:solidFill>
              </a:rPr>
              <a:t>), nominato con Decreto del Presidente del Consiglio dei Ministri del 16 Aprile 2021 ai sensi dell’art. 4, comma 1, del Decreto Legge 18 Aprile 2019, n. 32.</a:t>
            </a:r>
          </a:p>
          <a:p>
            <a:pPr algn="just">
              <a:defRPr/>
            </a:pPr>
            <a:r>
              <a:rPr lang="it-IT" sz="900" i="1" dirty="0">
                <a:solidFill>
                  <a:srgbClr val="000000"/>
                </a:solidFill>
              </a:rPr>
              <a:t>(*) Intervento Commissariale</a:t>
            </a:r>
          </a:p>
          <a:p>
            <a:pPr algn="just">
              <a:defRPr/>
            </a:pPr>
            <a:endParaRPr lang="it-IT" sz="900" i="1" dirty="0">
              <a:solidFill>
                <a:srgbClr val="000000"/>
              </a:solidFill>
            </a:endParaRPr>
          </a:p>
        </p:txBody>
      </p:sp>
      <p:sp>
        <p:nvSpPr>
          <p:cNvPr id="10" name="CasellaDiTesto 9"/>
          <p:cNvSpPr txBox="1"/>
          <p:nvPr/>
        </p:nvSpPr>
        <p:spPr>
          <a:xfrm>
            <a:off x="6911136" y="1907932"/>
            <a:ext cx="1191575" cy="332006"/>
          </a:xfrm>
          <a:prstGeom prst="roundRect">
            <a:avLst/>
          </a:prstGeom>
          <a:solidFill>
            <a:srgbClr val="DC002E"/>
          </a:solidFill>
        </p:spPr>
        <p:txBody>
          <a:bodyPr wrap="square" rtlCol="0">
            <a:spAutoFit/>
          </a:bodyPr>
          <a:lstStyle/>
          <a:p>
            <a:pPr algn="ctr"/>
            <a:r>
              <a:rPr lang="it-IT" sz="1350" b="1" dirty="0">
                <a:solidFill>
                  <a:srgbClr val="FFFFFF"/>
                </a:solidFill>
              </a:rPr>
              <a:t>28,44 Mln€</a:t>
            </a:r>
          </a:p>
        </p:txBody>
      </p:sp>
      <p:graphicFrame>
        <p:nvGraphicFramePr>
          <p:cNvPr id="7" name="Diagramma 6"/>
          <p:cNvGraphicFramePr/>
          <p:nvPr>
            <p:extLst>
              <p:ext uri="{D42A27DB-BD31-4B8C-83A1-F6EECF244321}">
                <p14:modId xmlns:p14="http://schemas.microsoft.com/office/powerpoint/2010/main" val="1900822394"/>
              </p:ext>
            </p:extLst>
          </p:nvPr>
        </p:nvGraphicFramePr>
        <p:xfrm>
          <a:off x="134978" y="16679"/>
          <a:ext cx="8286246" cy="8116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3046887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ella 3"/>
          <p:cNvGraphicFramePr>
            <a:graphicFrameLocks noGrp="1"/>
          </p:cNvGraphicFramePr>
          <p:nvPr>
            <p:extLst>
              <p:ext uri="{D42A27DB-BD31-4B8C-83A1-F6EECF244321}">
                <p14:modId xmlns:p14="http://schemas.microsoft.com/office/powerpoint/2010/main" val="2867570794"/>
              </p:ext>
            </p:extLst>
          </p:nvPr>
        </p:nvGraphicFramePr>
        <p:xfrm>
          <a:off x="259299" y="998362"/>
          <a:ext cx="8059541" cy="1005840"/>
        </p:xfrm>
        <a:graphic>
          <a:graphicData uri="http://schemas.openxmlformats.org/drawingml/2006/table">
            <a:tbl>
              <a:tblPr firstRow="1" bandRow="1">
                <a:tableStyleId>{69012ECD-51FC-41F1-AA8D-1B2483CD663E}</a:tableStyleId>
              </a:tblPr>
              <a:tblGrid>
                <a:gridCol w="380274">
                  <a:extLst>
                    <a:ext uri="{9D8B030D-6E8A-4147-A177-3AD203B41FA5}">
                      <a16:colId xmlns:a16="http://schemas.microsoft.com/office/drawing/2014/main" val="1558833783"/>
                    </a:ext>
                  </a:extLst>
                </a:gridCol>
                <a:gridCol w="5604933">
                  <a:extLst>
                    <a:ext uri="{9D8B030D-6E8A-4147-A177-3AD203B41FA5}">
                      <a16:colId xmlns:a16="http://schemas.microsoft.com/office/drawing/2014/main" val="967363192"/>
                    </a:ext>
                  </a:extLst>
                </a:gridCol>
                <a:gridCol w="2074334">
                  <a:extLst>
                    <a:ext uri="{9D8B030D-6E8A-4147-A177-3AD203B41FA5}">
                      <a16:colId xmlns:a16="http://schemas.microsoft.com/office/drawing/2014/main" val="2536182727"/>
                    </a:ext>
                  </a:extLst>
                </a:gridCol>
              </a:tblGrid>
              <a:tr h="251460">
                <a:tc>
                  <a:txBody>
                    <a:bodyPr/>
                    <a:lstStyle/>
                    <a:p>
                      <a:r>
                        <a:rPr lang="it-IT" sz="1200" dirty="0"/>
                        <a:t>N°</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it-IT" sz="1200" dirty="0"/>
                        <a:t>Titolo intervento</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it-IT" sz="1200" dirty="0"/>
                        <a:t>Finanziamento Mln€</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80396517"/>
                  </a:ext>
                </a:extLst>
              </a:tr>
              <a:tr h="754380">
                <a:tc>
                  <a:txBody>
                    <a:bodyPr/>
                    <a:lstStyle/>
                    <a:p>
                      <a:pPr algn="ctr"/>
                      <a:r>
                        <a:rPr lang="it-IT" sz="900" dirty="0"/>
                        <a:t>4</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it-IT" sz="900" dirty="0">
                          <a:solidFill>
                            <a:srgbClr val="000000"/>
                          </a:solidFill>
                          <a:latin typeface="+mn-lt"/>
                        </a:rPr>
                        <a:t>S.S. n. 4 “Salaria” – Lavori di adeguamento in</a:t>
                      </a:r>
                      <a:r>
                        <a:rPr lang="it-IT" sz="900" baseline="0" dirty="0">
                          <a:solidFill>
                            <a:srgbClr val="000000"/>
                          </a:solidFill>
                          <a:latin typeface="+mn-lt"/>
                        </a:rPr>
                        <a:t> sede della piattaforma stradale al tipo </a:t>
                      </a:r>
                      <a:r>
                        <a:rPr lang="it-IT" sz="900" dirty="0">
                          <a:solidFill>
                            <a:srgbClr val="000000"/>
                          </a:solidFill>
                          <a:latin typeface="+mn-lt"/>
                        </a:rPr>
                        <a:t>“C1“.</a:t>
                      </a:r>
                    </a:p>
                    <a:p>
                      <a:r>
                        <a:rPr lang="it-IT" sz="900" kern="1200" dirty="0">
                          <a:solidFill>
                            <a:srgbClr val="000000"/>
                          </a:solidFill>
                          <a:latin typeface="+mn-lt"/>
                          <a:ea typeface="+mn-ea"/>
                          <a:cs typeface="+mn-cs"/>
                        </a:rPr>
                        <a:t>Tratto tra il bivio di Micigliano (km 113+200)</a:t>
                      </a:r>
                      <a:r>
                        <a:rPr lang="it-IT" sz="900" kern="1200" baseline="0" dirty="0">
                          <a:solidFill>
                            <a:srgbClr val="000000"/>
                          </a:solidFill>
                          <a:latin typeface="+mn-lt"/>
                          <a:ea typeface="+mn-ea"/>
                          <a:cs typeface="+mn-cs"/>
                        </a:rPr>
                        <a:t> e l’inizio della Galleria </a:t>
                      </a:r>
                      <a:r>
                        <a:rPr lang="it-IT" sz="900" dirty="0">
                          <a:solidFill>
                            <a:srgbClr val="000000"/>
                          </a:solidFill>
                          <a:latin typeface="+mn-lt"/>
                        </a:rPr>
                        <a:t>“Gole del Velino“ (km 117+000).</a:t>
                      </a:r>
                      <a:endParaRPr lang="it-IT" sz="900" kern="1200" dirty="0">
                        <a:solidFill>
                          <a:srgbClr val="000000"/>
                        </a:solidFill>
                        <a:latin typeface="+mn-lt"/>
                        <a:ea typeface="+mn-ea"/>
                        <a:cs typeface="+mn-cs"/>
                      </a:endParaRP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FF00"/>
                    </a:solidFill>
                  </a:tcPr>
                </a:tc>
                <a:tc>
                  <a:txBody>
                    <a:bodyPr/>
                    <a:lstStyle/>
                    <a:p>
                      <a:pPr algn="ctr"/>
                      <a:r>
                        <a:rPr lang="it-IT" sz="900" b="1" dirty="0"/>
                        <a:t>49,01</a:t>
                      </a:r>
                    </a:p>
                    <a:p>
                      <a:pPr algn="ctr"/>
                      <a:r>
                        <a:rPr lang="it-IT" sz="900" dirty="0"/>
                        <a:t>Previsto nel Contratto di Programma 2003-2005 e finanziato</a:t>
                      </a:r>
                      <a:r>
                        <a:rPr lang="it-IT" sz="900" baseline="0" dirty="0"/>
                        <a:t> con risorse assegnate ad ANAS dalla Legge 388/2000</a:t>
                      </a:r>
                    </a:p>
                    <a:p>
                      <a:pPr algn="ctr"/>
                      <a:r>
                        <a:rPr lang="it-IT" sz="900" baseline="0" dirty="0"/>
                        <a:t>c.d. </a:t>
                      </a:r>
                      <a:r>
                        <a:rPr lang="it-IT" sz="900" dirty="0">
                          <a:solidFill>
                            <a:srgbClr val="000000"/>
                          </a:solidFill>
                          <a:latin typeface="+mn-lt"/>
                        </a:rPr>
                        <a:t>“Legge Finanziaria</a:t>
                      </a:r>
                      <a:r>
                        <a:rPr lang="it-IT" sz="900" baseline="0" dirty="0">
                          <a:solidFill>
                            <a:srgbClr val="000000"/>
                          </a:solidFill>
                          <a:latin typeface="+mn-lt"/>
                        </a:rPr>
                        <a:t> 2001</a:t>
                      </a:r>
                      <a:r>
                        <a:rPr lang="it-IT" sz="900" dirty="0">
                          <a:solidFill>
                            <a:srgbClr val="000000"/>
                          </a:solidFill>
                          <a:latin typeface="+mn-lt"/>
                        </a:rPr>
                        <a:t>“</a:t>
                      </a:r>
                      <a:endParaRPr lang="it-IT" sz="900" dirty="0"/>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42906158"/>
                  </a:ext>
                </a:extLst>
              </a:tr>
            </a:tbl>
          </a:graphicData>
        </a:graphic>
      </p:graphicFrame>
      <p:sp>
        <p:nvSpPr>
          <p:cNvPr id="5" name="CasellaDiTesto 4"/>
          <p:cNvSpPr txBox="1"/>
          <p:nvPr/>
        </p:nvSpPr>
        <p:spPr>
          <a:xfrm>
            <a:off x="247159" y="2461306"/>
            <a:ext cx="8298386" cy="3000821"/>
          </a:xfrm>
          <a:prstGeom prst="rect">
            <a:avLst/>
          </a:prstGeom>
          <a:noFill/>
        </p:spPr>
        <p:txBody>
          <a:bodyPr wrap="square" rtlCol="0">
            <a:spAutoFit/>
          </a:bodyPr>
          <a:lstStyle/>
          <a:p>
            <a:r>
              <a:rPr lang="it-IT" sz="900" dirty="0">
                <a:solidFill>
                  <a:srgbClr val="000000"/>
                </a:solidFill>
              </a:rPr>
              <a:t>L’intervento riguarda i lavori di adeguamento in sede ed in variante del tratto di circa </a:t>
            </a:r>
            <a:r>
              <a:rPr lang="it-IT" sz="900" b="1" dirty="0">
                <a:solidFill>
                  <a:srgbClr val="000000"/>
                </a:solidFill>
              </a:rPr>
              <a:t>3,8 km </a:t>
            </a:r>
            <a:r>
              <a:rPr lang="it-IT" sz="900" dirty="0">
                <a:solidFill>
                  <a:srgbClr val="000000"/>
                </a:solidFill>
              </a:rPr>
              <a:t>della S.S. n. 4 “Salaria” compreso tra il bivio di Micigliano (km 113+200) e l’imbocco sud della Galleria “Gole del Velino” (km 117+000). Le opere principali di progetto sono rappresentate dalle due gallerie “San Quirico”, di lunghezza pari a 890 m (per la quale è anche prevista la realizzazione di un cunicolo di emergenza), e “Sant’Angelo”, di lunghezza pari a 140 m.</a:t>
            </a:r>
          </a:p>
          <a:p>
            <a:r>
              <a:rPr lang="it-IT" sz="900" dirty="0">
                <a:solidFill>
                  <a:srgbClr val="000000"/>
                </a:solidFill>
              </a:rPr>
              <a:t>Sono inoltre previsti alcuni interventi di consolidamento dei versanti nei confronti della caduta massi, oltre a paratie di micropali, muri di sostegno e alcuni manufatti scatolari.</a:t>
            </a:r>
          </a:p>
          <a:p>
            <a:r>
              <a:rPr lang="it-IT" sz="900" dirty="0">
                <a:solidFill>
                  <a:srgbClr val="000000"/>
                </a:solidFill>
              </a:rPr>
              <a:t>A seguito di procedura di gara per appalto integrato, la progettazione e la realizzazione dei lavori in argomento è stata aggiudicata all’Impresa SAFAB S.p.A. e, in esito all’approvazione del Progetto Esecutivo per un importo complessivo di € 42,480.289 (di cui € 40.204.063 per lavori), le lavorazioni sono state avviate nel 2009 per poi essere interrotte in esito al recesso del contratto con la SAFAB, disposto con Provvedimento del Presidente ANAS del 25/07/2011. </a:t>
            </a:r>
          </a:p>
          <a:p>
            <a:r>
              <a:rPr lang="it-IT" sz="900" dirty="0">
                <a:solidFill>
                  <a:srgbClr val="000000"/>
                </a:solidFill>
              </a:rPr>
              <a:t>E’ stato quindi redatto il Progetto di Completamento, di importo lavori pari ad </a:t>
            </a:r>
            <a:r>
              <a:rPr lang="it-IT" sz="900" b="1" dirty="0">
                <a:solidFill>
                  <a:srgbClr val="000000"/>
                </a:solidFill>
              </a:rPr>
              <a:t>€ 29.910.948 </a:t>
            </a:r>
            <a:r>
              <a:rPr lang="it-IT" sz="900" dirty="0">
                <a:solidFill>
                  <a:srgbClr val="000000"/>
                </a:solidFill>
              </a:rPr>
              <a:t>(comprensivo di Oneri della Sicurezza), i cui lavori sono stati affidati alla </a:t>
            </a:r>
            <a:r>
              <a:rPr lang="it-IT" sz="900" dirty="0" err="1">
                <a:solidFill>
                  <a:srgbClr val="000000"/>
                </a:solidFill>
              </a:rPr>
              <a:t>Tecnis</a:t>
            </a:r>
            <a:r>
              <a:rPr lang="it-IT" sz="900" dirty="0">
                <a:solidFill>
                  <a:srgbClr val="000000"/>
                </a:solidFill>
              </a:rPr>
              <a:t>, concorrente secondo graduato. A causa delle difficoltà economiche del nuovo Appaltatore (ammesso alla procedura di Amministrazione Straordinaria) le lavorazioni sono state nuovamente interrotte a far data dal 30/03/2018, per poi essere temporaneamente ripresa dall’Impresa </a:t>
            </a:r>
            <a:r>
              <a:rPr lang="it-IT" sz="900" dirty="0" err="1">
                <a:solidFill>
                  <a:srgbClr val="000000"/>
                </a:solidFill>
              </a:rPr>
              <a:t>Aleandri</a:t>
            </a:r>
            <a:r>
              <a:rPr lang="it-IT" sz="900" dirty="0">
                <a:solidFill>
                  <a:srgbClr val="000000"/>
                </a:solidFill>
              </a:rPr>
              <a:t>, che in data 07/05/2018, ha affittato il ramo di azienda dalla </a:t>
            </a:r>
            <a:r>
              <a:rPr lang="it-IT" sz="900" dirty="0" err="1">
                <a:solidFill>
                  <a:srgbClr val="000000"/>
                </a:solidFill>
              </a:rPr>
              <a:t>Tecnis</a:t>
            </a:r>
            <a:r>
              <a:rPr lang="it-IT" sz="900" dirty="0">
                <a:solidFill>
                  <a:srgbClr val="000000"/>
                </a:solidFill>
              </a:rPr>
              <a:t> in A.S. fino alla data del mese di settembre 2019.</a:t>
            </a:r>
          </a:p>
          <a:p>
            <a:r>
              <a:rPr lang="it-IT" sz="900" dirty="0">
                <a:solidFill>
                  <a:srgbClr val="000000"/>
                </a:solidFill>
              </a:rPr>
              <a:t>Nel corso dell’esecuzione dei lavori da parte di </a:t>
            </a:r>
            <a:r>
              <a:rPr lang="it-IT" sz="900" dirty="0" err="1">
                <a:solidFill>
                  <a:srgbClr val="000000"/>
                </a:solidFill>
              </a:rPr>
              <a:t>Aleandri</a:t>
            </a:r>
            <a:r>
              <a:rPr lang="it-IT" sz="900" dirty="0">
                <a:solidFill>
                  <a:srgbClr val="000000"/>
                </a:solidFill>
              </a:rPr>
              <a:t> S.p.A., la </a:t>
            </a:r>
            <a:r>
              <a:rPr lang="it-IT" sz="900" dirty="0" err="1">
                <a:solidFill>
                  <a:srgbClr val="000000"/>
                </a:solidFill>
              </a:rPr>
              <a:t>Tecnis</a:t>
            </a:r>
            <a:r>
              <a:rPr lang="it-IT" sz="900" dirty="0">
                <a:solidFill>
                  <a:srgbClr val="000000"/>
                </a:solidFill>
              </a:rPr>
              <a:t> in A.S. ha venduto il Ramo di Azienda all’Impresa D’Agostino Angelo Antonio Costruzioni Generali S.p.A. che, a far data dal 03/06/2020, ha riavviato le lavorazioni. </a:t>
            </a:r>
          </a:p>
          <a:p>
            <a:r>
              <a:rPr lang="it-IT" sz="900" dirty="0">
                <a:solidFill>
                  <a:srgbClr val="000000"/>
                </a:solidFill>
              </a:rPr>
              <a:t>In data 09/10/2020 sono stati aperti al traffico circa 2,7 km dell’Asta principale, comprendenti le due nuove gallerie ed il rilevato di fine lotto, seppure in sezione ridotta. </a:t>
            </a:r>
          </a:p>
          <a:p>
            <a:r>
              <a:rPr lang="it-IT" sz="900" dirty="0">
                <a:solidFill>
                  <a:srgbClr val="000000"/>
                </a:solidFill>
              </a:rPr>
              <a:t>Sono stati quindi ultimati i rafforzamenti corticali e la stesa dello strato di usura della pavimentazione e, in seguito al completamento dei getti strutturali della calotta del cunicolo di emergenza della Galleria San Quirico e dei collegamenti impiantistici alla Sala Radio Compartimentale, i lavori principali sono stati ultimati in data 22/07/2021.</a:t>
            </a:r>
          </a:p>
          <a:p>
            <a:r>
              <a:rPr lang="it-IT" sz="900" dirty="0">
                <a:solidFill>
                  <a:srgbClr val="000000"/>
                </a:solidFill>
              </a:rPr>
              <a:t>Allo stato attuale le lavorazioni risultano in gran parte completate a meno del rifacimento della pavimentazione stradale che verrà eseguito dall’Area Gestione Rete della Struttura Territoriale Lazio.</a:t>
            </a:r>
          </a:p>
          <a:p>
            <a:endParaRPr lang="it-IT" sz="900" dirty="0">
              <a:solidFill>
                <a:srgbClr val="000000"/>
              </a:solidFill>
            </a:endParaRPr>
          </a:p>
          <a:p>
            <a:endParaRPr lang="it-IT" sz="900" dirty="0">
              <a:solidFill>
                <a:srgbClr val="000000"/>
              </a:solidFill>
            </a:endParaRPr>
          </a:p>
          <a:p>
            <a:endParaRPr lang="it-IT" sz="900" dirty="0">
              <a:solidFill>
                <a:srgbClr val="000000"/>
              </a:solidFill>
            </a:endParaRPr>
          </a:p>
        </p:txBody>
      </p:sp>
      <p:sp>
        <p:nvSpPr>
          <p:cNvPr id="10" name="CasellaDiTesto 9"/>
          <p:cNvSpPr txBox="1"/>
          <p:nvPr/>
        </p:nvSpPr>
        <p:spPr>
          <a:xfrm>
            <a:off x="6911136" y="2066751"/>
            <a:ext cx="1191575" cy="332006"/>
          </a:xfrm>
          <a:prstGeom prst="roundRect">
            <a:avLst/>
          </a:prstGeom>
          <a:solidFill>
            <a:srgbClr val="DC002E"/>
          </a:solidFill>
        </p:spPr>
        <p:txBody>
          <a:bodyPr wrap="square" rtlCol="0">
            <a:spAutoFit/>
          </a:bodyPr>
          <a:lstStyle/>
          <a:p>
            <a:pPr algn="ctr"/>
            <a:r>
              <a:rPr lang="it-IT" sz="1350" b="1" dirty="0">
                <a:solidFill>
                  <a:srgbClr val="FFFFFF"/>
                </a:solidFill>
              </a:rPr>
              <a:t>49,01 Mln€</a:t>
            </a:r>
          </a:p>
        </p:txBody>
      </p:sp>
      <p:graphicFrame>
        <p:nvGraphicFramePr>
          <p:cNvPr id="7" name="Diagramma 6"/>
          <p:cNvGraphicFramePr/>
          <p:nvPr>
            <p:extLst>
              <p:ext uri="{D42A27DB-BD31-4B8C-83A1-F6EECF244321}">
                <p14:modId xmlns:p14="http://schemas.microsoft.com/office/powerpoint/2010/main" val="1900822394"/>
              </p:ext>
            </p:extLst>
          </p:nvPr>
        </p:nvGraphicFramePr>
        <p:xfrm>
          <a:off x="134978" y="16679"/>
          <a:ext cx="8286246" cy="8116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255621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po 3"/>
          <p:cNvGrpSpPr/>
          <p:nvPr/>
        </p:nvGrpSpPr>
        <p:grpSpPr>
          <a:xfrm>
            <a:off x="2133157" y="749712"/>
            <a:ext cx="6475526" cy="4866228"/>
            <a:chOff x="2599072" y="169792"/>
            <a:chExt cx="9038817" cy="6752703"/>
          </a:xfrm>
        </p:grpSpPr>
        <p:pic>
          <p:nvPicPr>
            <p:cNvPr id="6" name="Immagine 5"/>
            <p:cNvPicPr>
              <a:picLocks noChangeAspect="1"/>
            </p:cNvPicPr>
            <p:nvPr/>
          </p:nvPicPr>
          <p:blipFill rotWithShape="1">
            <a:blip r:embed="rId2">
              <a:extLst>
                <a:ext uri="{28A0092B-C50C-407E-A947-70E740481C1C}">
                  <a14:useLocalDpi xmlns:a14="http://schemas.microsoft.com/office/drawing/2010/main" val="0"/>
                </a:ext>
              </a:extLst>
            </a:blip>
            <a:srcRect t="2405" b="2839"/>
            <a:stretch/>
          </p:blipFill>
          <p:spPr>
            <a:xfrm>
              <a:off x="2599072" y="169792"/>
              <a:ext cx="9038817" cy="6752703"/>
            </a:xfrm>
            <a:prstGeom prst="rect">
              <a:avLst/>
            </a:prstGeom>
          </p:spPr>
        </p:pic>
        <p:grpSp>
          <p:nvGrpSpPr>
            <p:cNvPr id="3" name="Gruppo 2"/>
            <p:cNvGrpSpPr/>
            <p:nvPr/>
          </p:nvGrpSpPr>
          <p:grpSpPr>
            <a:xfrm>
              <a:off x="4167081" y="2214710"/>
              <a:ext cx="5215027" cy="4351646"/>
              <a:chOff x="4167081" y="2214710"/>
              <a:chExt cx="5215027" cy="4351646"/>
            </a:xfrm>
          </p:grpSpPr>
          <p:sp>
            <p:nvSpPr>
              <p:cNvPr id="14" name="Ovale 13"/>
              <p:cNvSpPr/>
              <p:nvPr/>
            </p:nvSpPr>
            <p:spPr>
              <a:xfrm>
                <a:off x="6633080" y="3266789"/>
                <a:ext cx="180000" cy="180000"/>
              </a:xfrm>
              <a:prstGeom prst="ellipse">
                <a:avLst/>
              </a:prstGeom>
              <a:solidFill>
                <a:srgbClr val="D900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it-IT" sz="825" b="1" dirty="0"/>
                  <a:t>2</a:t>
                </a:r>
              </a:p>
            </p:txBody>
          </p:sp>
          <p:sp>
            <p:nvSpPr>
              <p:cNvPr id="15" name="Ovale 14"/>
              <p:cNvSpPr/>
              <p:nvPr/>
            </p:nvSpPr>
            <p:spPr>
              <a:xfrm>
                <a:off x="6804803" y="3805823"/>
                <a:ext cx="180000" cy="180000"/>
              </a:xfrm>
              <a:prstGeom prst="ellipse">
                <a:avLst/>
              </a:prstGeom>
              <a:solidFill>
                <a:srgbClr val="D900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it-IT" sz="825" b="1" dirty="0"/>
                  <a:t>3</a:t>
                </a:r>
              </a:p>
            </p:txBody>
          </p:sp>
          <p:sp>
            <p:nvSpPr>
              <p:cNvPr id="16" name="Ovale 15"/>
              <p:cNvSpPr/>
              <p:nvPr/>
            </p:nvSpPr>
            <p:spPr>
              <a:xfrm>
                <a:off x="6813080" y="3974048"/>
                <a:ext cx="180000" cy="180000"/>
              </a:xfrm>
              <a:prstGeom prst="ellipse">
                <a:avLst/>
              </a:prstGeom>
              <a:solidFill>
                <a:srgbClr val="D900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it-IT" sz="825" b="1" dirty="0"/>
                  <a:t>4</a:t>
                </a:r>
              </a:p>
            </p:txBody>
          </p:sp>
          <p:sp>
            <p:nvSpPr>
              <p:cNvPr id="17" name="Ovale 16"/>
              <p:cNvSpPr/>
              <p:nvPr/>
            </p:nvSpPr>
            <p:spPr>
              <a:xfrm>
                <a:off x="4167081" y="2762057"/>
                <a:ext cx="180000" cy="180000"/>
              </a:xfrm>
              <a:prstGeom prst="ellipse">
                <a:avLst/>
              </a:prstGeom>
              <a:solidFill>
                <a:srgbClr val="D900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it-IT" sz="825" b="1" dirty="0"/>
                  <a:t>5</a:t>
                </a:r>
              </a:p>
            </p:txBody>
          </p:sp>
          <p:sp>
            <p:nvSpPr>
              <p:cNvPr id="18" name="Ovale 17"/>
              <p:cNvSpPr/>
              <p:nvPr/>
            </p:nvSpPr>
            <p:spPr>
              <a:xfrm>
                <a:off x="6714803" y="3705659"/>
                <a:ext cx="180000" cy="180000"/>
              </a:xfrm>
              <a:prstGeom prst="ellipse">
                <a:avLst/>
              </a:prstGeom>
              <a:solidFill>
                <a:srgbClr val="D900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it-IT" sz="825" b="1" dirty="0"/>
                  <a:t>6</a:t>
                </a:r>
              </a:p>
            </p:txBody>
          </p:sp>
          <p:sp>
            <p:nvSpPr>
              <p:cNvPr id="19" name="Ovale 18"/>
              <p:cNvSpPr/>
              <p:nvPr/>
            </p:nvSpPr>
            <p:spPr>
              <a:xfrm>
                <a:off x="6762797" y="4134584"/>
                <a:ext cx="180000" cy="180000"/>
              </a:xfrm>
              <a:prstGeom prst="ellipse">
                <a:avLst/>
              </a:prstGeom>
              <a:solidFill>
                <a:srgbClr val="D900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it-IT" sz="825" b="1" dirty="0"/>
                  <a:t>7</a:t>
                </a:r>
              </a:p>
            </p:txBody>
          </p:sp>
          <p:sp>
            <p:nvSpPr>
              <p:cNvPr id="20" name="Ovale 19"/>
              <p:cNvSpPr/>
              <p:nvPr/>
            </p:nvSpPr>
            <p:spPr>
              <a:xfrm>
                <a:off x="9202108" y="6147716"/>
                <a:ext cx="180000" cy="180000"/>
              </a:xfrm>
              <a:prstGeom prst="ellipse">
                <a:avLst/>
              </a:prstGeom>
              <a:solidFill>
                <a:srgbClr val="D900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it-IT" sz="825" b="1" dirty="0"/>
                  <a:t>1</a:t>
                </a:r>
              </a:p>
            </p:txBody>
          </p:sp>
          <p:sp>
            <p:nvSpPr>
              <p:cNvPr id="21" name="Ovale 20"/>
              <p:cNvSpPr/>
              <p:nvPr/>
            </p:nvSpPr>
            <p:spPr>
              <a:xfrm>
                <a:off x="7426436" y="2449092"/>
                <a:ext cx="180000" cy="180000"/>
              </a:xfrm>
              <a:prstGeom prst="ellipse">
                <a:avLst/>
              </a:prstGeom>
              <a:solidFill>
                <a:srgbClr val="D900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it-IT" sz="825" b="1" dirty="0"/>
                  <a:t>8</a:t>
                </a:r>
              </a:p>
            </p:txBody>
          </p:sp>
          <p:sp>
            <p:nvSpPr>
              <p:cNvPr id="22" name="Ovale 21"/>
              <p:cNvSpPr/>
              <p:nvPr/>
            </p:nvSpPr>
            <p:spPr>
              <a:xfrm>
                <a:off x="9022108" y="6386356"/>
                <a:ext cx="180000" cy="180000"/>
              </a:xfrm>
              <a:prstGeom prst="ellipse">
                <a:avLst/>
              </a:prstGeom>
              <a:solidFill>
                <a:srgbClr val="D900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it-IT" sz="825" b="1" dirty="0"/>
                  <a:t>9</a:t>
                </a:r>
              </a:p>
            </p:txBody>
          </p:sp>
          <p:sp>
            <p:nvSpPr>
              <p:cNvPr id="23" name="Ovale 22"/>
              <p:cNvSpPr/>
              <p:nvPr/>
            </p:nvSpPr>
            <p:spPr>
              <a:xfrm>
                <a:off x="5118395" y="3651858"/>
                <a:ext cx="180000" cy="180000"/>
              </a:xfrm>
              <a:prstGeom prst="ellipse">
                <a:avLst/>
              </a:prstGeom>
              <a:solidFill>
                <a:srgbClr val="D900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it-IT" sz="825" b="1" dirty="0"/>
                  <a:t>10</a:t>
                </a:r>
              </a:p>
            </p:txBody>
          </p:sp>
          <p:sp>
            <p:nvSpPr>
              <p:cNvPr id="24" name="Ovale 23"/>
              <p:cNvSpPr/>
              <p:nvPr/>
            </p:nvSpPr>
            <p:spPr>
              <a:xfrm>
                <a:off x="6047804" y="4314584"/>
                <a:ext cx="180000" cy="180000"/>
              </a:xfrm>
              <a:prstGeom prst="ellipse">
                <a:avLst/>
              </a:prstGeom>
              <a:solidFill>
                <a:srgbClr val="D900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it-IT" sz="825" b="1" dirty="0"/>
                  <a:t>11</a:t>
                </a:r>
              </a:p>
            </p:txBody>
          </p:sp>
          <p:sp>
            <p:nvSpPr>
              <p:cNvPr id="25" name="Ovale 24"/>
              <p:cNvSpPr/>
              <p:nvPr/>
            </p:nvSpPr>
            <p:spPr>
              <a:xfrm>
                <a:off x="7426436" y="2214710"/>
                <a:ext cx="180000" cy="180000"/>
              </a:xfrm>
              <a:prstGeom prst="ellipse">
                <a:avLst/>
              </a:prstGeom>
              <a:solidFill>
                <a:srgbClr val="D900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it-IT" sz="825" b="1" dirty="0"/>
                  <a:t>12</a:t>
                </a:r>
              </a:p>
            </p:txBody>
          </p:sp>
          <p:sp>
            <p:nvSpPr>
              <p:cNvPr id="26" name="Ovale 25"/>
              <p:cNvSpPr/>
              <p:nvPr/>
            </p:nvSpPr>
            <p:spPr>
              <a:xfrm>
                <a:off x="6548763" y="4460293"/>
                <a:ext cx="180000" cy="180000"/>
              </a:xfrm>
              <a:prstGeom prst="ellipse">
                <a:avLst/>
              </a:prstGeom>
              <a:solidFill>
                <a:srgbClr val="D900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it-IT" sz="825" b="1" dirty="0"/>
                  <a:t>13</a:t>
                </a:r>
              </a:p>
            </p:txBody>
          </p:sp>
        </p:grpSp>
      </p:grpSp>
      <p:sp>
        <p:nvSpPr>
          <p:cNvPr id="2" name="Titolo 1"/>
          <p:cNvSpPr>
            <a:spLocks noGrp="1"/>
          </p:cNvSpPr>
          <p:nvPr>
            <p:ph type="title"/>
          </p:nvPr>
        </p:nvSpPr>
        <p:spPr>
          <a:xfrm>
            <a:off x="265635" y="615346"/>
            <a:ext cx="4850469" cy="649775"/>
          </a:xfrm>
        </p:spPr>
        <p:txBody>
          <a:bodyPr/>
          <a:lstStyle/>
          <a:p>
            <a:r>
              <a:rPr lang="it-IT" sz="1800" dirty="0">
                <a:solidFill>
                  <a:srgbClr val="D90000"/>
                </a:solidFill>
              </a:rPr>
              <a:t>Localizzazione progettazioni</a:t>
            </a:r>
          </a:p>
        </p:txBody>
      </p:sp>
      <p:grpSp>
        <p:nvGrpSpPr>
          <p:cNvPr id="7" name="Gruppo 6"/>
          <p:cNvGrpSpPr/>
          <p:nvPr/>
        </p:nvGrpSpPr>
        <p:grpSpPr>
          <a:xfrm>
            <a:off x="1092901" y="3803948"/>
            <a:ext cx="2907829" cy="885563"/>
            <a:chOff x="282136" y="1129467"/>
            <a:chExt cx="3877105" cy="1180751"/>
          </a:xfrm>
        </p:grpSpPr>
        <p:sp>
          <p:nvSpPr>
            <p:cNvPr id="8" name="Rettangolo 7"/>
            <p:cNvSpPr/>
            <p:nvPr/>
          </p:nvSpPr>
          <p:spPr>
            <a:xfrm>
              <a:off x="823213" y="1300833"/>
              <a:ext cx="3336028" cy="838021"/>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it-IT" b="1" dirty="0">
                  <a:solidFill>
                    <a:srgbClr val="0039A5"/>
                  </a:solidFill>
                </a:rPr>
                <a:t>Totale Investimento</a:t>
              </a:r>
            </a:p>
            <a:p>
              <a:pPr algn="r"/>
              <a:r>
                <a:rPr lang="it-IT" b="1" dirty="0">
                  <a:solidFill>
                    <a:srgbClr val="0039A5"/>
                  </a:solidFill>
                </a:rPr>
                <a:t>(finanziato al 27%)</a:t>
              </a:r>
            </a:p>
          </p:txBody>
        </p:sp>
        <p:sp>
          <p:nvSpPr>
            <p:cNvPr id="9" name="Shape 455"/>
            <p:cNvSpPr/>
            <p:nvPr/>
          </p:nvSpPr>
          <p:spPr>
            <a:xfrm>
              <a:off x="282136" y="1129467"/>
              <a:ext cx="1180800" cy="1180751"/>
            </a:xfrm>
            <a:prstGeom prst="ellipse">
              <a:avLst/>
            </a:prstGeom>
            <a:solidFill>
              <a:srgbClr val="DC002E"/>
            </a:solidFill>
            <a:ln w="57150" cap="flat">
              <a:solidFill>
                <a:schemeClr val="bg1"/>
              </a:solidFill>
              <a:prstDash val="solid"/>
              <a:miter lim="400000"/>
            </a:ln>
            <a:effectLst>
              <a:outerShdw blurRad="50800" dist="38100" dir="2700000" algn="tl" rotWithShape="0">
                <a:prstClr val="black">
                  <a:alpha val="40000"/>
                </a:prstClr>
              </a:outerShdw>
            </a:effectLst>
          </p:spPr>
          <p:txBody>
            <a:bodyPr wrap="none" lIns="0" tIns="54000" rIns="0" bIns="0" numCol="1" anchor="ctr">
              <a:noAutofit/>
            </a:bodyPr>
            <a:lstStyle/>
            <a:p>
              <a:pPr algn="ctr">
                <a:lnSpc>
                  <a:spcPts val="1875"/>
                </a:lnSpc>
                <a:defRPr sz="3000" b="1">
                  <a:solidFill>
                    <a:srgbClr val="1C4598"/>
                  </a:solidFill>
                  <a:latin typeface="Arial"/>
                  <a:ea typeface="Arial"/>
                  <a:cs typeface="Arial"/>
                  <a:sym typeface="Arial"/>
                </a:defRPr>
              </a:pPr>
              <a:r>
                <a:rPr lang="it-IT" sz="2700" spc="135" dirty="0">
                  <a:solidFill>
                    <a:schemeClr val="bg1"/>
                  </a:solidFill>
                  <a:latin typeface="Calibri" panose="020F0502020204030204" pitchFamily="34" charset="0"/>
                </a:rPr>
                <a:t>2,59</a:t>
              </a:r>
            </a:p>
            <a:p>
              <a:pPr algn="ctr">
                <a:lnSpc>
                  <a:spcPts val="1875"/>
                </a:lnSpc>
                <a:defRPr sz="3000" b="1">
                  <a:solidFill>
                    <a:srgbClr val="1C4598"/>
                  </a:solidFill>
                  <a:latin typeface="Arial"/>
                  <a:ea typeface="Arial"/>
                  <a:cs typeface="Arial"/>
                  <a:sym typeface="Arial"/>
                </a:defRPr>
              </a:pPr>
              <a:r>
                <a:rPr lang="it-IT" sz="1950" spc="135" dirty="0">
                  <a:solidFill>
                    <a:schemeClr val="bg1"/>
                  </a:solidFill>
                  <a:latin typeface="Calibri" panose="020F0502020204030204" pitchFamily="34" charset="0"/>
                </a:rPr>
                <a:t>MLD€</a:t>
              </a:r>
              <a:endParaRPr sz="1950" spc="135" dirty="0">
                <a:solidFill>
                  <a:schemeClr val="bg1"/>
                </a:solidFill>
                <a:latin typeface="Calibri" panose="020F0502020204030204" pitchFamily="34" charset="0"/>
              </a:endParaRPr>
            </a:p>
          </p:txBody>
        </p:sp>
      </p:grpSp>
      <p:sp>
        <p:nvSpPr>
          <p:cNvPr id="10" name="Rettangolo 9"/>
          <p:cNvSpPr/>
          <p:nvPr/>
        </p:nvSpPr>
        <p:spPr>
          <a:xfrm>
            <a:off x="385122" y="2424793"/>
            <a:ext cx="1867990" cy="378549"/>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0"/>
          </a:p>
        </p:txBody>
      </p:sp>
      <p:sp>
        <p:nvSpPr>
          <p:cNvPr id="11" name="Ovale 10"/>
          <p:cNvSpPr/>
          <p:nvPr/>
        </p:nvSpPr>
        <p:spPr>
          <a:xfrm>
            <a:off x="494513" y="2529159"/>
            <a:ext cx="169817" cy="169817"/>
          </a:xfrm>
          <a:prstGeom prst="ellipse">
            <a:avLst/>
          </a:prstGeom>
          <a:solidFill>
            <a:srgbClr val="D900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it-IT" sz="900" b="1" dirty="0"/>
              <a:t>N</a:t>
            </a:r>
          </a:p>
        </p:txBody>
      </p:sp>
      <p:sp>
        <p:nvSpPr>
          <p:cNvPr id="12" name="CasellaDiTesto 11"/>
          <p:cNvSpPr txBox="1"/>
          <p:nvPr/>
        </p:nvSpPr>
        <p:spPr>
          <a:xfrm>
            <a:off x="713932" y="2535552"/>
            <a:ext cx="1419225" cy="213585"/>
          </a:xfrm>
          <a:prstGeom prst="rect">
            <a:avLst/>
          </a:prstGeom>
          <a:noFill/>
        </p:spPr>
        <p:txBody>
          <a:bodyPr wrap="square" rtlCol="0">
            <a:spAutoFit/>
          </a:bodyPr>
          <a:lstStyle/>
          <a:p>
            <a:r>
              <a:rPr lang="it-IT" sz="788" b="1" dirty="0"/>
              <a:t>IN PROGETTAZIONE</a:t>
            </a:r>
          </a:p>
        </p:txBody>
      </p:sp>
      <p:sp>
        <p:nvSpPr>
          <p:cNvPr id="28" name="Segnaposto data 4"/>
          <p:cNvSpPr txBox="1">
            <a:spLocks/>
          </p:cNvSpPr>
          <p:nvPr/>
        </p:nvSpPr>
        <p:spPr>
          <a:xfrm>
            <a:off x="8737056" y="5099586"/>
            <a:ext cx="65" cy="92333"/>
          </a:xfrm>
          <a:prstGeom prst="rect">
            <a:avLst/>
          </a:prstGeom>
          <a:solidFill>
            <a:schemeClr val="bg1"/>
          </a:solidFill>
          <a:effectLst/>
        </p:spPr>
        <p:txBody>
          <a:bodyPr wrap="none" lIns="0" tIns="0" rIns="0" bIns="0" rtlCol="0" anchor="ctr">
            <a:spAutoFit/>
          </a:bodyPr>
          <a:lstStyle>
            <a:defPPr>
              <a:defRPr lang="en-US"/>
            </a:defPPr>
            <a:lvl1pPr algn="r" defTabSz="1219170">
              <a:defRPr lang="it-IT" sz="800" smtClean="0">
                <a:solidFill>
                  <a:srgbClr val="DC002E"/>
                </a:solidFill>
                <a:effectLst/>
              </a:defRPr>
            </a:lvl1pPr>
          </a:lstStyle>
          <a:p>
            <a:endParaRPr sz="600" dirty="0"/>
          </a:p>
        </p:txBody>
      </p:sp>
      <p:sp>
        <p:nvSpPr>
          <p:cNvPr id="27" name="Ovale 26"/>
          <p:cNvSpPr/>
          <p:nvPr/>
        </p:nvSpPr>
        <p:spPr>
          <a:xfrm>
            <a:off x="5400211" y="2659694"/>
            <a:ext cx="128954" cy="129714"/>
          </a:xfrm>
          <a:prstGeom prst="ellipse">
            <a:avLst/>
          </a:prstGeom>
          <a:solidFill>
            <a:srgbClr val="D900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it-IT" sz="825" b="1" dirty="0"/>
              <a:t>14</a:t>
            </a:r>
          </a:p>
        </p:txBody>
      </p:sp>
      <p:graphicFrame>
        <p:nvGraphicFramePr>
          <p:cNvPr id="30" name="Diagramma 29"/>
          <p:cNvGraphicFramePr/>
          <p:nvPr>
            <p:extLst>
              <p:ext uri="{D42A27DB-BD31-4B8C-83A1-F6EECF244321}">
                <p14:modId xmlns:p14="http://schemas.microsoft.com/office/powerpoint/2010/main" val="1900822394"/>
              </p:ext>
            </p:extLst>
          </p:nvPr>
        </p:nvGraphicFramePr>
        <p:xfrm>
          <a:off x="134978" y="16679"/>
          <a:ext cx="8286246" cy="8116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962830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magine 12"/>
          <p:cNvPicPr>
            <a:picLocks noChangeAspect="1"/>
          </p:cNvPicPr>
          <p:nvPr/>
        </p:nvPicPr>
        <p:blipFill rotWithShape="1">
          <a:blip r:embed="rId3">
            <a:extLst>
              <a:ext uri="{28A0092B-C50C-407E-A947-70E740481C1C}">
                <a14:useLocalDpi xmlns:a14="http://schemas.microsoft.com/office/drawing/2010/main" val="0"/>
              </a:ext>
            </a:extLst>
          </a:blip>
          <a:srcRect b="2839"/>
          <a:stretch/>
        </p:blipFill>
        <p:spPr>
          <a:xfrm>
            <a:off x="148423" y="1133564"/>
            <a:ext cx="5460476" cy="3907049"/>
          </a:xfrm>
          <a:prstGeom prst="rect">
            <a:avLst/>
          </a:prstGeom>
        </p:spPr>
      </p:pic>
      <p:sp>
        <p:nvSpPr>
          <p:cNvPr id="8" name="Freccia a sinistra 7"/>
          <p:cNvSpPr/>
          <p:nvPr/>
        </p:nvSpPr>
        <p:spPr>
          <a:xfrm>
            <a:off x="453223" y="2192896"/>
            <a:ext cx="540689" cy="260473"/>
          </a:xfrm>
          <a:prstGeom prst="leftArrow">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800" b="1" dirty="0">
                <a:solidFill>
                  <a:schemeClr val="bg1"/>
                </a:solidFill>
              </a:rPr>
              <a:t>TERNI</a:t>
            </a:r>
          </a:p>
        </p:txBody>
      </p:sp>
      <p:sp>
        <p:nvSpPr>
          <p:cNvPr id="15" name="Rettangolo arrotondato 14"/>
          <p:cNvSpPr/>
          <p:nvPr/>
        </p:nvSpPr>
        <p:spPr>
          <a:xfrm>
            <a:off x="6066099" y="3374130"/>
            <a:ext cx="2413910" cy="509695"/>
          </a:xfrm>
          <a:prstGeom prst="roundRect">
            <a:avLst/>
          </a:prstGeom>
          <a:solidFill>
            <a:schemeClr val="bg1">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914263"/>
            <a:r>
              <a:rPr lang="it-IT" sz="1600" b="1" dirty="0">
                <a:solidFill>
                  <a:srgbClr val="DC002E"/>
                </a:solidFill>
                <a:latin typeface="+mj-lt"/>
              </a:rPr>
              <a:t>KM STRADE DI RIENTRO</a:t>
            </a:r>
          </a:p>
        </p:txBody>
      </p:sp>
      <p:sp>
        <p:nvSpPr>
          <p:cNvPr id="16" name="Shape 455"/>
          <p:cNvSpPr>
            <a:spLocks noChangeAspect="1"/>
          </p:cNvSpPr>
          <p:nvPr/>
        </p:nvSpPr>
        <p:spPr>
          <a:xfrm>
            <a:off x="5493985" y="3264189"/>
            <a:ext cx="703383" cy="684000"/>
          </a:xfrm>
          <a:prstGeom prst="ellipse">
            <a:avLst/>
          </a:prstGeom>
          <a:solidFill>
            <a:schemeClr val="bg1"/>
          </a:solidFill>
          <a:ln w="50800" cap="flat">
            <a:solidFill>
              <a:srgbClr val="DC002E"/>
            </a:solidFill>
            <a:prstDash val="solid"/>
            <a:miter lim="400000"/>
          </a:ln>
          <a:effectLst>
            <a:outerShdw blurRad="50800" dist="38100" dir="2700000" algn="tl" rotWithShape="0">
              <a:prstClr val="black">
                <a:alpha val="40000"/>
              </a:prstClr>
            </a:outerShdw>
          </a:effectLst>
        </p:spPr>
        <p:txBody>
          <a:bodyPr wrap="square" lIns="0" tIns="108000" rIns="0" bIns="0" numCol="1" anchor="ctr">
            <a:noAutofit/>
          </a:bodyPr>
          <a:lstStyle/>
          <a:p>
            <a:pPr algn="ctr">
              <a:lnSpc>
                <a:spcPts val="1500"/>
              </a:lnSpc>
              <a:defRPr sz="3000" b="1">
                <a:solidFill>
                  <a:srgbClr val="1C4598"/>
                </a:solidFill>
                <a:latin typeface="Arial"/>
                <a:ea typeface="Arial"/>
                <a:cs typeface="Arial"/>
                <a:sym typeface="Arial"/>
              </a:defRPr>
            </a:pPr>
            <a:r>
              <a:rPr lang="it-IT" sz="2200" dirty="0">
                <a:solidFill>
                  <a:schemeClr val="tx1">
                    <a:lumMod val="65000"/>
                    <a:lumOff val="35000"/>
                  </a:schemeClr>
                </a:solidFill>
                <a:latin typeface="+mj-lt"/>
              </a:rPr>
              <a:t>679</a:t>
            </a:r>
            <a:endParaRPr sz="2200" dirty="0">
              <a:solidFill>
                <a:schemeClr val="tx1">
                  <a:lumMod val="65000"/>
                  <a:lumOff val="35000"/>
                </a:schemeClr>
              </a:solidFill>
              <a:latin typeface="+mj-lt"/>
            </a:endParaRPr>
          </a:p>
        </p:txBody>
      </p:sp>
      <p:sp>
        <p:nvSpPr>
          <p:cNvPr id="21" name="Rettangolo arrotondato 20"/>
          <p:cNvSpPr/>
          <p:nvPr/>
        </p:nvSpPr>
        <p:spPr>
          <a:xfrm>
            <a:off x="6066099" y="4178352"/>
            <a:ext cx="2413910" cy="509695"/>
          </a:xfrm>
          <a:prstGeom prst="roundRect">
            <a:avLst/>
          </a:prstGeom>
          <a:solidFill>
            <a:schemeClr val="bg1">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914263"/>
            <a:r>
              <a:rPr lang="it-IT" sz="1600" b="1" dirty="0">
                <a:solidFill>
                  <a:srgbClr val="DC002E"/>
                </a:solidFill>
                <a:latin typeface="+mj-lt"/>
              </a:rPr>
              <a:t>STRADE ANAS PRE 2018</a:t>
            </a:r>
          </a:p>
        </p:txBody>
      </p:sp>
      <p:sp>
        <p:nvSpPr>
          <p:cNvPr id="22" name="Shape 455"/>
          <p:cNvSpPr>
            <a:spLocks noChangeAspect="1"/>
          </p:cNvSpPr>
          <p:nvPr/>
        </p:nvSpPr>
        <p:spPr>
          <a:xfrm>
            <a:off x="5540877" y="4091200"/>
            <a:ext cx="703383" cy="684000"/>
          </a:xfrm>
          <a:prstGeom prst="ellipse">
            <a:avLst/>
          </a:prstGeom>
          <a:solidFill>
            <a:schemeClr val="bg1"/>
          </a:solidFill>
          <a:ln w="50800" cap="flat">
            <a:solidFill>
              <a:srgbClr val="92D050"/>
            </a:solidFill>
            <a:prstDash val="solid"/>
            <a:miter lim="400000"/>
          </a:ln>
          <a:effectLst>
            <a:outerShdw blurRad="50800" dist="38100" dir="2700000" algn="tl" rotWithShape="0">
              <a:prstClr val="black">
                <a:alpha val="40000"/>
              </a:prstClr>
            </a:outerShdw>
          </a:effectLst>
        </p:spPr>
        <p:txBody>
          <a:bodyPr wrap="square" lIns="0" tIns="108000" rIns="0" bIns="0" numCol="1" anchor="ctr">
            <a:noAutofit/>
          </a:bodyPr>
          <a:lstStyle/>
          <a:p>
            <a:pPr algn="ctr">
              <a:lnSpc>
                <a:spcPts val="1500"/>
              </a:lnSpc>
              <a:defRPr sz="3000" b="1">
                <a:solidFill>
                  <a:srgbClr val="1C4598"/>
                </a:solidFill>
                <a:latin typeface="Arial"/>
                <a:ea typeface="Arial"/>
                <a:cs typeface="Arial"/>
                <a:sym typeface="Arial"/>
              </a:defRPr>
            </a:pPr>
            <a:r>
              <a:rPr lang="it-IT" sz="2200" dirty="0">
                <a:solidFill>
                  <a:schemeClr val="tx1">
                    <a:lumMod val="65000"/>
                    <a:lumOff val="35000"/>
                  </a:schemeClr>
                </a:solidFill>
                <a:latin typeface="+mj-lt"/>
              </a:rPr>
              <a:t>549</a:t>
            </a:r>
            <a:endParaRPr sz="2200" dirty="0">
              <a:solidFill>
                <a:schemeClr val="tx1">
                  <a:lumMod val="65000"/>
                  <a:lumOff val="35000"/>
                </a:schemeClr>
              </a:solidFill>
              <a:latin typeface="+mj-lt"/>
            </a:endParaRPr>
          </a:p>
        </p:txBody>
      </p:sp>
      <p:sp>
        <p:nvSpPr>
          <p:cNvPr id="24" name="Figura a mano libera 23"/>
          <p:cNvSpPr/>
          <p:nvPr/>
        </p:nvSpPr>
        <p:spPr>
          <a:xfrm>
            <a:off x="2407920" y="3647440"/>
            <a:ext cx="1757680" cy="1239520"/>
          </a:xfrm>
          <a:custGeom>
            <a:avLst/>
            <a:gdLst>
              <a:gd name="connsiteX0" fmla="*/ 47810 w 1759770"/>
              <a:gd name="connsiteY0" fmla="*/ 0 h 1229384"/>
              <a:gd name="connsiteX1" fmla="*/ 2090 w 1759770"/>
              <a:gd name="connsiteY1" fmla="*/ 208280 h 1229384"/>
              <a:gd name="connsiteX2" fmla="*/ 7170 w 1759770"/>
              <a:gd name="connsiteY2" fmla="*/ 213360 h 1229384"/>
              <a:gd name="connsiteX3" fmla="*/ 550730 w 1759770"/>
              <a:gd name="connsiteY3" fmla="*/ 635000 h 1229384"/>
              <a:gd name="connsiteX4" fmla="*/ 875850 w 1759770"/>
              <a:gd name="connsiteY4" fmla="*/ 777240 h 1229384"/>
              <a:gd name="connsiteX5" fmla="*/ 931730 w 1759770"/>
              <a:gd name="connsiteY5" fmla="*/ 868680 h 1229384"/>
              <a:gd name="connsiteX6" fmla="*/ 1073970 w 1759770"/>
              <a:gd name="connsiteY6" fmla="*/ 924560 h 1229384"/>
              <a:gd name="connsiteX7" fmla="*/ 1297490 w 1759770"/>
              <a:gd name="connsiteY7" fmla="*/ 1076960 h 1229384"/>
              <a:gd name="connsiteX8" fmla="*/ 1343210 w 1759770"/>
              <a:gd name="connsiteY8" fmla="*/ 1183640 h 1229384"/>
              <a:gd name="connsiteX9" fmla="*/ 1439730 w 1759770"/>
              <a:gd name="connsiteY9" fmla="*/ 1229360 h 1229384"/>
              <a:gd name="connsiteX10" fmla="*/ 1592130 w 1759770"/>
              <a:gd name="connsiteY10" fmla="*/ 1178560 h 1229384"/>
              <a:gd name="connsiteX11" fmla="*/ 1759770 w 1759770"/>
              <a:gd name="connsiteY11" fmla="*/ 1168400 h 1229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59770" h="1229384">
                <a:moveTo>
                  <a:pt x="47810" y="0"/>
                </a:moveTo>
                <a:cubicBezTo>
                  <a:pt x="32570" y="69427"/>
                  <a:pt x="8863" y="172720"/>
                  <a:pt x="2090" y="208280"/>
                </a:cubicBezTo>
                <a:cubicBezTo>
                  <a:pt x="-4683" y="243840"/>
                  <a:pt x="7170" y="213360"/>
                  <a:pt x="7170" y="213360"/>
                </a:cubicBezTo>
                <a:cubicBezTo>
                  <a:pt x="98610" y="284480"/>
                  <a:pt x="405950" y="541020"/>
                  <a:pt x="550730" y="635000"/>
                </a:cubicBezTo>
                <a:cubicBezTo>
                  <a:pt x="695510" y="728980"/>
                  <a:pt x="812350" y="738293"/>
                  <a:pt x="875850" y="777240"/>
                </a:cubicBezTo>
                <a:cubicBezTo>
                  <a:pt x="939350" y="816187"/>
                  <a:pt x="898710" y="844127"/>
                  <a:pt x="931730" y="868680"/>
                </a:cubicBezTo>
                <a:cubicBezTo>
                  <a:pt x="964750" y="893233"/>
                  <a:pt x="1013010" y="889847"/>
                  <a:pt x="1073970" y="924560"/>
                </a:cubicBezTo>
                <a:cubicBezTo>
                  <a:pt x="1134930" y="959273"/>
                  <a:pt x="1252617" y="1033780"/>
                  <a:pt x="1297490" y="1076960"/>
                </a:cubicBezTo>
                <a:cubicBezTo>
                  <a:pt x="1342363" y="1120140"/>
                  <a:pt x="1319503" y="1158240"/>
                  <a:pt x="1343210" y="1183640"/>
                </a:cubicBezTo>
                <a:cubicBezTo>
                  <a:pt x="1366917" y="1209040"/>
                  <a:pt x="1398243" y="1230207"/>
                  <a:pt x="1439730" y="1229360"/>
                </a:cubicBezTo>
                <a:cubicBezTo>
                  <a:pt x="1481217" y="1228513"/>
                  <a:pt x="1538790" y="1188720"/>
                  <a:pt x="1592130" y="1178560"/>
                </a:cubicBezTo>
                <a:cubicBezTo>
                  <a:pt x="1645470" y="1168400"/>
                  <a:pt x="1759770" y="1168400"/>
                  <a:pt x="1759770" y="1168400"/>
                </a:cubicBezTo>
              </a:path>
            </a:pathLst>
          </a:custGeom>
          <a:ln w="57150">
            <a:solidFill>
              <a:srgbClr val="FF0000"/>
            </a:solidFill>
          </a:ln>
        </p:spPr>
        <p:style>
          <a:lnRef idx="3">
            <a:schemeClr val="accent6"/>
          </a:lnRef>
          <a:fillRef idx="0">
            <a:schemeClr val="accent6"/>
          </a:fillRef>
          <a:effectRef idx="2">
            <a:schemeClr val="accent6"/>
          </a:effectRef>
          <a:fontRef idx="minor">
            <a:schemeClr val="tx1"/>
          </a:fontRef>
        </p:style>
        <p:txBody>
          <a:bodyPr rtlCol="0" anchor="ctr"/>
          <a:lstStyle/>
          <a:p>
            <a:pPr algn="ctr"/>
            <a:endParaRPr lang="it-IT"/>
          </a:p>
        </p:txBody>
      </p:sp>
      <p:sp>
        <p:nvSpPr>
          <p:cNvPr id="25" name="Figura a mano libera 24"/>
          <p:cNvSpPr/>
          <p:nvPr/>
        </p:nvSpPr>
        <p:spPr>
          <a:xfrm>
            <a:off x="2667000" y="3647440"/>
            <a:ext cx="2407920" cy="1275080"/>
          </a:xfrm>
          <a:custGeom>
            <a:avLst/>
            <a:gdLst>
              <a:gd name="connsiteX0" fmla="*/ 0 w 2407920"/>
              <a:gd name="connsiteY0" fmla="*/ 0 h 1275080"/>
              <a:gd name="connsiteX1" fmla="*/ 157480 w 2407920"/>
              <a:gd name="connsiteY1" fmla="*/ 182880 h 1275080"/>
              <a:gd name="connsiteX2" fmla="*/ 289560 w 2407920"/>
              <a:gd name="connsiteY2" fmla="*/ 279400 h 1275080"/>
              <a:gd name="connsiteX3" fmla="*/ 416560 w 2407920"/>
              <a:gd name="connsiteY3" fmla="*/ 350520 h 1275080"/>
              <a:gd name="connsiteX4" fmla="*/ 492760 w 2407920"/>
              <a:gd name="connsiteY4" fmla="*/ 472440 h 1275080"/>
              <a:gd name="connsiteX5" fmla="*/ 553720 w 2407920"/>
              <a:gd name="connsiteY5" fmla="*/ 563880 h 1275080"/>
              <a:gd name="connsiteX6" fmla="*/ 690880 w 2407920"/>
              <a:gd name="connsiteY6" fmla="*/ 629920 h 1275080"/>
              <a:gd name="connsiteX7" fmla="*/ 853440 w 2407920"/>
              <a:gd name="connsiteY7" fmla="*/ 797560 h 1275080"/>
              <a:gd name="connsiteX8" fmla="*/ 1061720 w 2407920"/>
              <a:gd name="connsiteY8" fmla="*/ 955040 h 1275080"/>
              <a:gd name="connsiteX9" fmla="*/ 1249680 w 2407920"/>
              <a:gd name="connsiteY9" fmla="*/ 1127760 h 1275080"/>
              <a:gd name="connsiteX10" fmla="*/ 1366520 w 2407920"/>
              <a:gd name="connsiteY10" fmla="*/ 1173480 h 1275080"/>
              <a:gd name="connsiteX11" fmla="*/ 1483360 w 2407920"/>
              <a:gd name="connsiteY11" fmla="*/ 1127760 h 1275080"/>
              <a:gd name="connsiteX12" fmla="*/ 1645920 w 2407920"/>
              <a:gd name="connsiteY12" fmla="*/ 1010920 h 1275080"/>
              <a:gd name="connsiteX13" fmla="*/ 1752600 w 2407920"/>
              <a:gd name="connsiteY13" fmla="*/ 1051560 h 1275080"/>
              <a:gd name="connsiteX14" fmla="*/ 1899920 w 2407920"/>
              <a:gd name="connsiteY14" fmla="*/ 1158240 h 1275080"/>
              <a:gd name="connsiteX15" fmla="*/ 1991360 w 2407920"/>
              <a:gd name="connsiteY15" fmla="*/ 1214120 h 1275080"/>
              <a:gd name="connsiteX16" fmla="*/ 2133600 w 2407920"/>
              <a:gd name="connsiteY16" fmla="*/ 1209040 h 1275080"/>
              <a:gd name="connsiteX17" fmla="*/ 2296160 w 2407920"/>
              <a:gd name="connsiteY17" fmla="*/ 1229360 h 1275080"/>
              <a:gd name="connsiteX18" fmla="*/ 2407920 w 2407920"/>
              <a:gd name="connsiteY18" fmla="*/ 1275080 h 1275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07920" h="1275080">
                <a:moveTo>
                  <a:pt x="0" y="0"/>
                </a:moveTo>
                <a:cubicBezTo>
                  <a:pt x="54610" y="68156"/>
                  <a:pt x="109220" y="136313"/>
                  <a:pt x="157480" y="182880"/>
                </a:cubicBezTo>
                <a:cubicBezTo>
                  <a:pt x="205740" y="229447"/>
                  <a:pt x="246380" y="251460"/>
                  <a:pt x="289560" y="279400"/>
                </a:cubicBezTo>
                <a:cubicBezTo>
                  <a:pt x="332740" y="307340"/>
                  <a:pt x="382693" y="318347"/>
                  <a:pt x="416560" y="350520"/>
                </a:cubicBezTo>
                <a:cubicBezTo>
                  <a:pt x="450427" y="382693"/>
                  <a:pt x="469900" y="436880"/>
                  <a:pt x="492760" y="472440"/>
                </a:cubicBezTo>
                <a:cubicBezTo>
                  <a:pt x="515620" y="508000"/>
                  <a:pt x="520700" y="537633"/>
                  <a:pt x="553720" y="563880"/>
                </a:cubicBezTo>
                <a:cubicBezTo>
                  <a:pt x="586740" y="590127"/>
                  <a:pt x="640927" y="590973"/>
                  <a:pt x="690880" y="629920"/>
                </a:cubicBezTo>
                <a:cubicBezTo>
                  <a:pt x="740833" y="668867"/>
                  <a:pt x="791633" y="743373"/>
                  <a:pt x="853440" y="797560"/>
                </a:cubicBezTo>
                <a:cubicBezTo>
                  <a:pt x="915247" y="851747"/>
                  <a:pt x="995680" y="900007"/>
                  <a:pt x="1061720" y="955040"/>
                </a:cubicBezTo>
                <a:cubicBezTo>
                  <a:pt x="1127760" y="1010073"/>
                  <a:pt x="1198880" y="1091353"/>
                  <a:pt x="1249680" y="1127760"/>
                </a:cubicBezTo>
                <a:cubicBezTo>
                  <a:pt x="1300480" y="1164167"/>
                  <a:pt x="1327573" y="1173480"/>
                  <a:pt x="1366520" y="1173480"/>
                </a:cubicBezTo>
                <a:cubicBezTo>
                  <a:pt x="1405467" y="1173480"/>
                  <a:pt x="1436793" y="1154853"/>
                  <a:pt x="1483360" y="1127760"/>
                </a:cubicBezTo>
                <a:cubicBezTo>
                  <a:pt x="1529927" y="1100667"/>
                  <a:pt x="1601047" y="1023620"/>
                  <a:pt x="1645920" y="1010920"/>
                </a:cubicBezTo>
                <a:cubicBezTo>
                  <a:pt x="1690793" y="998220"/>
                  <a:pt x="1710267" y="1027007"/>
                  <a:pt x="1752600" y="1051560"/>
                </a:cubicBezTo>
                <a:cubicBezTo>
                  <a:pt x="1794933" y="1076113"/>
                  <a:pt x="1860127" y="1131147"/>
                  <a:pt x="1899920" y="1158240"/>
                </a:cubicBezTo>
                <a:cubicBezTo>
                  <a:pt x="1939713" y="1185333"/>
                  <a:pt x="1952413" y="1205653"/>
                  <a:pt x="1991360" y="1214120"/>
                </a:cubicBezTo>
                <a:cubicBezTo>
                  <a:pt x="2030307" y="1222587"/>
                  <a:pt x="2082800" y="1206500"/>
                  <a:pt x="2133600" y="1209040"/>
                </a:cubicBezTo>
                <a:cubicBezTo>
                  <a:pt x="2184400" y="1211580"/>
                  <a:pt x="2250440" y="1218353"/>
                  <a:pt x="2296160" y="1229360"/>
                </a:cubicBezTo>
                <a:cubicBezTo>
                  <a:pt x="2341880" y="1240367"/>
                  <a:pt x="2383367" y="1263227"/>
                  <a:pt x="2407920" y="1275080"/>
                </a:cubicBezTo>
              </a:path>
            </a:pathLst>
          </a:custGeom>
          <a:ln w="57150">
            <a:solidFill>
              <a:srgbClr val="92D050"/>
            </a:solidFill>
          </a:ln>
        </p:spPr>
        <p:style>
          <a:lnRef idx="3">
            <a:schemeClr val="accent6"/>
          </a:lnRef>
          <a:fillRef idx="0">
            <a:schemeClr val="accent6"/>
          </a:fillRef>
          <a:effectRef idx="2">
            <a:schemeClr val="accent6"/>
          </a:effectRef>
          <a:fontRef idx="minor">
            <a:schemeClr val="tx1"/>
          </a:fontRef>
        </p:style>
        <p:txBody>
          <a:bodyPr rtlCol="0" anchor="ctr"/>
          <a:lstStyle/>
          <a:p>
            <a:pPr algn="ctr"/>
            <a:endParaRPr lang="it-IT">
              <a:solidFill>
                <a:schemeClr val="tx1"/>
              </a:solidFill>
            </a:endParaRPr>
          </a:p>
        </p:txBody>
      </p:sp>
      <p:sp>
        <p:nvSpPr>
          <p:cNvPr id="26" name="Figura a mano libera 25"/>
          <p:cNvSpPr/>
          <p:nvPr/>
        </p:nvSpPr>
        <p:spPr>
          <a:xfrm>
            <a:off x="3388360" y="3859523"/>
            <a:ext cx="777240" cy="629134"/>
          </a:xfrm>
          <a:custGeom>
            <a:avLst/>
            <a:gdLst>
              <a:gd name="connsiteX0" fmla="*/ 0 w 777240"/>
              <a:gd name="connsiteY0" fmla="*/ 621037 h 629134"/>
              <a:gd name="connsiteX1" fmla="*/ 86360 w 777240"/>
              <a:gd name="connsiteY1" fmla="*/ 626117 h 629134"/>
              <a:gd name="connsiteX2" fmla="*/ 137160 w 777240"/>
              <a:gd name="connsiteY2" fmla="*/ 580397 h 629134"/>
              <a:gd name="connsiteX3" fmla="*/ 208280 w 777240"/>
              <a:gd name="connsiteY3" fmla="*/ 499117 h 629134"/>
              <a:gd name="connsiteX4" fmla="*/ 299720 w 777240"/>
              <a:gd name="connsiteY4" fmla="*/ 534677 h 629134"/>
              <a:gd name="connsiteX5" fmla="*/ 375920 w 777240"/>
              <a:gd name="connsiteY5" fmla="*/ 534677 h 629134"/>
              <a:gd name="connsiteX6" fmla="*/ 467360 w 777240"/>
              <a:gd name="connsiteY6" fmla="*/ 509277 h 629134"/>
              <a:gd name="connsiteX7" fmla="*/ 518160 w 777240"/>
              <a:gd name="connsiteY7" fmla="*/ 509277 h 629134"/>
              <a:gd name="connsiteX8" fmla="*/ 579120 w 777240"/>
              <a:gd name="connsiteY8" fmla="*/ 483877 h 629134"/>
              <a:gd name="connsiteX9" fmla="*/ 665480 w 777240"/>
              <a:gd name="connsiteY9" fmla="*/ 433077 h 629134"/>
              <a:gd name="connsiteX10" fmla="*/ 629920 w 777240"/>
              <a:gd name="connsiteY10" fmla="*/ 346717 h 629134"/>
              <a:gd name="connsiteX11" fmla="*/ 670560 w 777240"/>
              <a:gd name="connsiteY11" fmla="*/ 250197 h 629134"/>
              <a:gd name="connsiteX12" fmla="*/ 706120 w 777240"/>
              <a:gd name="connsiteY12" fmla="*/ 204477 h 629134"/>
              <a:gd name="connsiteX13" fmla="*/ 756920 w 777240"/>
              <a:gd name="connsiteY13" fmla="*/ 123197 h 629134"/>
              <a:gd name="connsiteX14" fmla="*/ 777240 w 777240"/>
              <a:gd name="connsiteY14" fmla="*/ 57157 h 629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77240" h="629134">
                <a:moveTo>
                  <a:pt x="0" y="621037"/>
                </a:moveTo>
                <a:cubicBezTo>
                  <a:pt x="31750" y="626963"/>
                  <a:pt x="63500" y="632890"/>
                  <a:pt x="86360" y="626117"/>
                </a:cubicBezTo>
                <a:cubicBezTo>
                  <a:pt x="109220" y="619344"/>
                  <a:pt x="116840" y="601564"/>
                  <a:pt x="137160" y="580397"/>
                </a:cubicBezTo>
                <a:cubicBezTo>
                  <a:pt x="157480" y="559230"/>
                  <a:pt x="181187" y="506737"/>
                  <a:pt x="208280" y="499117"/>
                </a:cubicBezTo>
                <a:cubicBezTo>
                  <a:pt x="235373" y="491497"/>
                  <a:pt x="271780" y="528750"/>
                  <a:pt x="299720" y="534677"/>
                </a:cubicBezTo>
                <a:cubicBezTo>
                  <a:pt x="327660" y="540604"/>
                  <a:pt x="347980" y="538910"/>
                  <a:pt x="375920" y="534677"/>
                </a:cubicBezTo>
                <a:cubicBezTo>
                  <a:pt x="403860" y="530444"/>
                  <a:pt x="443653" y="513510"/>
                  <a:pt x="467360" y="509277"/>
                </a:cubicBezTo>
                <a:cubicBezTo>
                  <a:pt x="491067" y="505044"/>
                  <a:pt x="499533" y="513510"/>
                  <a:pt x="518160" y="509277"/>
                </a:cubicBezTo>
                <a:cubicBezTo>
                  <a:pt x="536787" y="505044"/>
                  <a:pt x="554567" y="496577"/>
                  <a:pt x="579120" y="483877"/>
                </a:cubicBezTo>
                <a:cubicBezTo>
                  <a:pt x="603673" y="471177"/>
                  <a:pt x="657013" y="455937"/>
                  <a:pt x="665480" y="433077"/>
                </a:cubicBezTo>
                <a:cubicBezTo>
                  <a:pt x="673947" y="410217"/>
                  <a:pt x="629073" y="377197"/>
                  <a:pt x="629920" y="346717"/>
                </a:cubicBezTo>
                <a:cubicBezTo>
                  <a:pt x="630767" y="316237"/>
                  <a:pt x="657860" y="273904"/>
                  <a:pt x="670560" y="250197"/>
                </a:cubicBezTo>
                <a:cubicBezTo>
                  <a:pt x="683260" y="226490"/>
                  <a:pt x="691727" y="225644"/>
                  <a:pt x="706120" y="204477"/>
                </a:cubicBezTo>
                <a:cubicBezTo>
                  <a:pt x="720513" y="183310"/>
                  <a:pt x="745067" y="147750"/>
                  <a:pt x="756920" y="123197"/>
                </a:cubicBezTo>
                <a:cubicBezTo>
                  <a:pt x="768773" y="98644"/>
                  <a:pt x="734060" y="-93550"/>
                  <a:pt x="777240" y="57157"/>
                </a:cubicBezTo>
              </a:path>
            </a:pathLst>
          </a:custGeom>
          <a:ln w="57150">
            <a:solidFill>
              <a:srgbClr val="FF0000"/>
            </a:solidFill>
          </a:ln>
        </p:spPr>
        <p:style>
          <a:lnRef idx="3">
            <a:schemeClr val="accent6"/>
          </a:lnRef>
          <a:fillRef idx="0">
            <a:schemeClr val="accent6"/>
          </a:fillRef>
          <a:effectRef idx="2">
            <a:schemeClr val="accent6"/>
          </a:effectRef>
          <a:fontRef idx="minor">
            <a:schemeClr val="tx1"/>
          </a:fontRef>
        </p:style>
        <p:txBody>
          <a:bodyPr rtlCol="0" anchor="ctr"/>
          <a:lstStyle/>
          <a:p>
            <a:pPr algn="ctr"/>
            <a:endParaRPr lang="it-IT">
              <a:solidFill>
                <a:schemeClr val="tx1"/>
              </a:solidFill>
            </a:endParaRPr>
          </a:p>
        </p:txBody>
      </p:sp>
      <p:sp>
        <p:nvSpPr>
          <p:cNvPr id="27" name="Figura a mano libera 26"/>
          <p:cNvSpPr/>
          <p:nvPr/>
        </p:nvSpPr>
        <p:spPr>
          <a:xfrm>
            <a:off x="3903620" y="4358640"/>
            <a:ext cx="38490" cy="416560"/>
          </a:xfrm>
          <a:custGeom>
            <a:avLst/>
            <a:gdLst>
              <a:gd name="connsiteX0" fmla="*/ 13060 w 38490"/>
              <a:gd name="connsiteY0" fmla="*/ 416560 h 416560"/>
              <a:gd name="connsiteX1" fmla="*/ 18140 w 38490"/>
              <a:gd name="connsiteY1" fmla="*/ 304800 h 416560"/>
              <a:gd name="connsiteX2" fmla="*/ 38460 w 38490"/>
              <a:gd name="connsiteY2" fmla="*/ 213360 h 416560"/>
              <a:gd name="connsiteX3" fmla="*/ 13060 w 38490"/>
              <a:gd name="connsiteY3" fmla="*/ 157480 h 416560"/>
              <a:gd name="connsiteX4" fmla="*/ 18140 w 38490"/>
              <a:gd name="connsiteY4" fmla="*/ 0 h 416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490" h="416560">
                <a:moveTo>
                  <a:pt x="13060" y="416560"/>
                </a:moveTo>
                <a:cubicBezTo>
                  <a:pt x="13483" y="377613"/>
                  <a:pt x="13907" y="338667"/>
                  <a:pt x="18140" y="304800"/>
                </a:cubicBezTo>
                <a:cubicBezTo>
                  <a:pt x="22373" y="270933"/>
                  <a:pt x="39307" y="237913"/>
                  <a:pt x="38460" y="213360"/>
                </a:cubicBezTo>
                <a:cubicBezTo>
                  <a:pt x="37613" y="188807"/>
                  <a:pt x="16447" y="193040"/>
                  <a:pt x="13060" y="157480"/>
                </a:cubicBezTo>
                <a:cubicBezTo>
                  <a:pt x="9673" y="121920"/>
                  <a:pt x="-17420" y="18627"/>
                  <a:pt x="18140" y="0"/>
                </a:cubicBezTo>
              </a:path>
            </a:pathLst>
          </a:custGeom>
          <a:ln w="57150">
            <a:solidFill>
              <a:srgbClr val="92D050"/>
            </a:solidFill>
          </a:ln>
        </p:spPr>
        <p:style>
          <a:lnRef idx="3">
            <a:schemeClr val="accent6"/>
          </a:lnRef>
          <a:fillRef idx="0">
            <a:schemeClr val="accent6"/>
          </a:fillRef>
          <a:effectRef idx="2">
            <a:schemeClr val="accent6"/>
          </a:effectRef>
          <a:fontRef idx="minor">
            <a:schemeClr val="tx1"/>
          </a:fontRef>
        </p:style>
        <p:txBody>
          <a:bodyPr rtlCol="0" anchor="ctr"/>
          <a:lstStyle/>
          <a:p>
            <a:pPr algn="ctr"/>
            <a:endParaRPr lang="it-IT">
              <a:solidFill>
                <a:schemeClr val="tx1"/>
              </a:solidFill>
            </a:endParaRPr>
          </a:p>
        </p:txBody>
      </p:sp>
      <p:sp>
        <p:nvSpPr>
          <p:cNvPr id="29" name="Figura a mano libera 28"/>
          <p:cNvSpPr/>
          <p:nvPr/>
        </p:nvSpPr>
        <p:spPr>
          <a:xfrm>
            <a:off x="2250440" y="3220244"/>
            <a:ext cx="488474" cy="483663"/>
          </a:xfrm>
          <a:custGeom>
            <a:avLst/>
            <a:gdLst>
              <a:gd name="connsiteX0" fmla="*/ 31048 w 489042"/>
              <a:gd name="connsiteY0" fmla="*/ 254476 h 470061"/>
              <a:gd name="connsiteX1" fmla="*/ 25968 w 489042"/>
              <a:gd name="connsiteY1" fmla="*/ 315436 h 470061"/>
              <a:gd name="connsiteX2" fmla="*/ 71688 w 489042"/>
              <a:gd name="connsiteY2" fmla="*/ 401796 h 470061"/>
              <a:gd name="connsiteX3" fmla="*/ 193608 w 489042"/>
              <a:gd name="connsiteY3" fmla="*/ 462756 h 470061"/>
              <a:gd name="connsiteX4" fmla="*/ 346008 w 489042"/>
              <a:gd name="connsiteY4" fmla="*/ 462756 h 470061"/>
              <a:gd name="connsiteX5" fmla="*/ 422208 w 489042"/>
              <a:gd name="connsiteY5" fmla="*/ 406876 h 470061"/>
              <a:gd name="connsiteX6" fmla="*/ 467928 w 489042"/>
              <a:gd name="connsiteY6" fmla="*/ 310356 h 470061"/>
              <a:gd name="connsiteX7" fmla="*/ 488248 w 489042"/>
              <a:gd name="connsiteY7" fmla="*/ 218916 h 470061"/>
              <a:gd name="connsiteX8" fmla="*/ 442528 w 489042"/>
              <a:gd name="connsiteY8" fmla="*/ 107156 h 470061"/>
              <a:gd name="connsiteX9" fmla="*/ 335848 w 489042"/>
              <a:gd name="connsiteY9" fmla="*/ 15716 h 470061"/>
              <a:gd name="connsiteX10" fmla="*/ 254568 w 489042"/>
              <a:gd name="connsiteY10" fmla="*/ 476 h 470061"/>
              <a:gd name="connsiteX11" fmla="*/ 152968 w 489042"/>
              <a:gd name="connsiteY11" fmla="*/ 20796 h 470061"/>
              <a:gd name="connsiteX12" fmla="*/ 61528 w 489042"/>
              <a:gd name="connsiteY12" fmla="*/ 46196 h 470061"/>
              <a:gd name="connsiteX13" fmla="*/ 568 w 489042"/>
              <a:gd name="connsiteY13" fmla="*/ 102076 h 470061"/>
              <a:gd name="connsiteX14" fmla="*/ 31048 w 489042"/>
              <a:gd name="connsiteY14" fmla="*/ 193516 h 470061"/>
              <a:gd name="connsiteX15" fmla="*/ 31048 w 489042"/>
              <a:gd name="connsiteY15" fmla="*/ 254476 h 470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89042" h="470061">
                <a:moveTo>
                  <a:pt x="31048" y="254476"/>
                </a:moveTo>
                <a:cubicBezTo>
                  <a:pt x="30201" y="274796"/>
                  <a:pt x="19195" y="290883"/>
                  <a:pt x="25968" y="315436"/>
                </a:cubicBezTo>
                <a:cubicBezTo>
                  <a:pt x="32741" y="339989"/>
                  <a:pt x="43748" y="377243"/>
                  <a:pt x="71688" y="401796"/>
                </a:cubicBezTo>
                <a:cubicBezTo>
                  <a:pt x="99628" y="426349"/>
                  <a:pt x="147888" y="452596"/>
                  <a:pt x="193608" y="462756"/>
                </a:cubicBezTo>
                <a:cubicBezTo>
                  <a:pt x="239328" y="472916"/>
                  <a:pt x="307908" y="472069"/>
                  <a:pt x="346008" y="462756"/>
                </a:cubicBezTo>
                <a:cubicBezTo>
                  <a:pt x="384108" y="453443"/>
                  <a:pt x="401888" y="432276"/>
                  <a:pt x="422208" y="406876"/>
                </a:cubicBezTo>
                <a:cubicBezTo>
                  <a:pt x="442528" y="381476"/>
                  <a:pt x="456921" y="341683"/>
                  <a:pt x="467928" y="310356"/>
                </a:cubicBezTo>
                <a:cubicBezTo>
                  <a:pt x="478935" y="279029"/>
                  <a:pt x="492481" y="252783"/>
                  <a:pt x="488248" y="218916"/>
                </a:cubicBezTo>
                <a:cubicBezTo>
                  <a:pt x="484015" y="185049"/>
                  <a:pt x="467928" y="141023"/>
                  <a:pt x="442528" y="107156"/>
                </a:cubicBezTo>
                <a:cubicBezTo>
                  <a:pt x="417128" y="73289"/>
                  <a:pt x="367175" y="33496"/>
                  <a:pt x="335848" y="15716"/>
                </a:cubicBezTo>
                <a:cubicBezTo>
                  <a:pt x="304521" y="-2064"/>
                  <a:pt x="285048" y="-371"/>
                  <a:pt x="254568" y="476"/>
                </a:cubicBezTo>
                <a:cubicBezTo>
                  <a:pt x="224088" y="1323"/>
                  <a:pt x="185141" y="13176"/>
                  <a:pt x="152968" y="20796"/>
                </a:cubicBezTo>
                <a:cubicBezTo>
                  <a:pt x="120795" y="28416"/>
                  <a:pt x="86928" y="32649"/>
                  <a:pt x="61528" y="46196"/>
                </a:cubicBezTo>
                <a:cubicBezTo>
                  <a:pt x="36128" y="59743"/>
                  <a:pt x="5648" y="77523"/>
                  <a:pt x="568" y="102076"/>
                </a:cubicBezTo>
                <a:cubicBezTo>
                  <a:pt x="-4512" y="126629"/>
                  <a:pt x="25968" y="172349"/>
                  <a:pt x="31048" y="193516"/>
                </a:cubicBezTo>
                <a:cubicBezTo>
                  <a:pt x="36128" y="214683"/>
                  <a:pt x="31895" y="234156"/>
                  <a:pt x="31048" y="254476"/>
                </a:cubicBezTo>
                <a:close/>
              </a:path>
            </a:pathLst>
          </a:custGeom>
          <a:ln w="57150">
            <a:solidFill>
              <a:srgbClr val="92D050"/>
            </a:solidFill>
          </a:ln>
        </p:spPr>
        <p:style>
          <a:lnRef idx="3">
            <a:schemeClr val="accent6"/>
          </a:lnRef>
          <a:fillRef idx="0">
            <a:schemeClr val="accent6"/>
          </a:fillRef>
          <a:effectRef idx="2">
            <a:schemeClr val="accent6"/>
          </a:effectRef>
          <a:fontRef idx="minor">
            <a:schemeClr val="tx1"/>
          </a:fontRef>
        </p:style>
        <p:txBody>
          <a:bodyPr rtlCol="0" anchor="ctr"/>
          <a:lstStyle/>
          <a:p>
            <a:pPr algn="ctr"/>
            <a:endParaRPr lang="it-IT">
              <a:solidFill>
                <a:schemeClr val="tx1"/>
              </a:solidFill>
            </a:endParaRPr>
          </a:p>
        </p:txBody>
      </p:sp>
      <p:sp>
        <p:nvSpPr>
          <p:cNvPr id="30" name="Figura a mano libera 29"/>
          <p:cNvSpPr/>
          <p:nvPr/>
        </p:nvSpPr>
        <p:spPr>
          <a:xfrm>
            <a:off x="2047240" y="3601720"/>
            <a:ext cx="375920" cy="157544"/>
          </a:xfrm>
          <a:custGeom>
            <a:avLst/>
            <a:gdLst>
              <a:gd name="connsiteX0" fmla="*/ 375920 w 375920"/>
              <a:gd name="connsiteY0" fmla="*/ 0 h 157544"/>
              <a:gd name="connsiteX1" fmla="*/ 304800 w 375920"/>
              <a:gd name="connsiteY1" fmla="*/ 15240 h 157544"/>
              <a:gd name="connsiteX2" fmla="*/ 187960 w 375920"/>
              <a:gd name="connsiteY2" fmla="*/ 45720 h 157544"/>
              <a:gd name="connsiteX3" fmla="*/ 96520 w 375920"/>
              <a:gd name="connsiteY3" fmla="*/ 76200 h 157544"/>
              <a:gd name="connsiteX4" fmla="*/ 25400 w 375920"/>
              <a:gd name="connsiteY4" fmla="*/ 121920 h 157544"/>
              <a:gd name="connsiteX5" fmla="*/ 0 w 375920"/>
              <a:gd name="connsiteY5" fmla="*/ 142240 h 157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5920" h="157544">
                <a:moveTo>
                  <a:pt x="375920" y="0"/>
                </a:moveTo>
                <a:cubicBezTo>
                  <a:pt x="356023" y="3810"/>
                  <a:pt x="336127" y="7620"/>
                  <a:pt x="304800" y="15240"/>
                </a:cubicBezTo>
                <a:cubicBezTo>
                  <a:pt x="273473" y="22860"/>
                  <a:pt x="222673" y="35560"/>
                  <a:pt x="187960" y="45720"/>
                </a:cubicBezTo>
                <a:cubicBezTo>
                  <a:pt x="153247" y="55880"/>
                  <a:pt x="123613" y="63500"/>
                  <a:pt x="96520" y="76200"/>
                </a:cubicBezTo>
                <a:cubicBezTo>
                  <a:pt x="69427" y="88900"/>
                  <a:pt x="41487" y="110913"/>
                  <a:pt x="25400" y="121920"/>
                </a:cubicBezTo>
                <a:cubicBezTo>
                  <a:pt x="9313" y="132927"/>
                  <a:pt x="23707" y="182033"/>
                  <a:pt x="0" y="142240"/>
                </a:cubicBezTo>
              </a:path>
            </a:pathLst>
          </a:custGeom>
          <a:ln w="57150">
            <a:solidFill>
              <a:srgbClr val="92D050"/>
            </a:solidFill>
          </a:ln>
        </p:spPr>
        <p:style>
          <a:lnRef idx="3">
            <a:schemeClr val="accent6"/>
          </a:lnRef>
          <a:fillRef idx="0">
            <a:schemeClr val="accent6"/>
          </a:fillRef>
          <a:effectRef idx="2">
            <a:schemeClr val="accent6"/>
          </a:effectRef>
          <a:fontRef idx="minor">
            <a:schemeClr val="tx1"/>
          </a:fontRef>
        </p:style>
        <p:txBody>
          <a:bodyPr rtlCol="0" anchor="ctr"/>
          <a:lstStyle/>
          <a:p>
            <a:pPr algn="ctr"/>
            <a:endParaRPr lang="it-IT">
              <a:solidFill>
                <a:schemeClr val="tx1"/>
              </a:solidFill>
            </a:endParaRPr>
          </a:p>
        </p:txBody>
      </p:sp>
      <p:sp>
        <p:nvSpPr>
          <p:cNvPr id="31" name="Figura a mano libera 30"/>
          <p:cNvSpPr/>
          <p:nvPr/>
        </p:nvSpPr>
        <p:spPr>
          <a:xfrm>
            <a:off x="2931160" y="3495040"/>
            <a:ext cx="2392680" cy="899160"/>
          </a:xfrm>
          <a:custGeom>
            <a:avLst/>
            <a:gdLst>
              <a:gd name="connsiteX0" fmla="*/ 0 w 2392680"/>
              <a:gd name="connsiteY0" fmla="*/ 0 h 894080"/>
              <a:gd name="connsiteX1" fmla="*/ 198120 w 2392680"/>
              <a:gd name="connsiteY1" fmla="*/ 137160 h 894080"/>
              <a:gd name="connsiteX2" fmla="*/ 416560 w 2392680"/>
              <a:gd name="connsiteY2" fmla="*/ 208280 h 894080"/>
              <a:gd name="connsiteX3" fmla="*/ 543560 w 2392680"/>
              <a:gd name="connsiteY3" fmla="*/ 248920 h 894080"/>
              <a:gd name="connsiteX4" fmla="*/ 690880 w 2392680"/>
              <a:gd name="connsiteY4" fmla="*/ 289560 h 894080"/>
              <a:gd name="connsiteX5" fmla="*/ 904240 w 2392680"/>
              <a:gd name="connsiteY5" fmla="*/ 325120 h 894080"/>
              <a:gd name="connsiteX6" fmla="*/ 1071880 w 2392680"/>
              <a:gd name="connsiteY6" fmla="*/ 386080 h 894080"/>
              <a:gd name="connsiteX7" fmla="*/ 1229360 w 2392680"/>
              <a:gd name="connsiteY7" fmla="*/ 467360 h 894080"/>
              <a:gd name="connsiteX8" fmla="*/ 1300480 w 2392680"/>
              <a:gd name="connsiteY8" fmla="*/ 513080 h 894080"/>
              <a:gd name="connsiteX9" fmla="*/ 1371600 w 2392680"/>
              <a:gd name="connsiteY9" fmla="*/ 563880 h 894080"/>
              <a:gd name="connsiteX10" fmla="*/ 1391920 w 2392680"/>
              <a:gd name="connsiteY10" fmla="*/ 609600 h 894080"/>
              <a:gd name="connsiteX11" fmla="*/ 1544320 w 2392680"/>
              <a:gd name="connsiteY11" fmla="*/ 695960 h 894080"/>
              <a:gd name="connsiteX12" fmla="*/ 1635760 w 2392680"/>
              <a:gd name="connsiteY12" fmla="*/ 650240 h 894080"/>
              <a:gd name="connsiteX13" fmla="*/ 1722120 w 2392680"/>
              <a:gd name="connsiteY13" fmla="*/ 614680 h 894080"/>
              <a:gd name="connsiteX14" fmla="*/ 1828800 w 2392680"/>
              <a:gd name="connsiteY14" fmla="*/ 701040 h 894080"/>
              <a:gd name="connsiteX15" fmla="*/ 2006600 w 2392680"/>
              <a:gd name="connsiteY15" fmla="*/ 767080 h 894080"/>
              <a:gd name="connsiteX16" fmla="*/ 2169160 w 2392680"/>
              <a:gd name="connsiteY16" fmla="*/ 833120 h 894080"/>
              <a:gd name="connsiteX17" fmla="*/ 2270760 w 2392680"/>
              <a:gd name="connsiteY17" fmla="*/ 828040 h 894080"/>
              <a:gd name="connsiteX18" fmla="*/ 2392680 w 2392680"/>
              <a:gd name="connsiteY18" fmla="*/ 894080 h 894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392680" h="894080">
                <a:moveTo>
                  <a:pt x="0" y="0"/>
                </a:moveTo>
                <a:cubicBezTo>
                  <a:pt x="64346" y="51223"/>
                  <a:pt x="128693" y="102447"/>
                  <a:pt x="198120" y="137160"/>
                </a:cubicBezTo>
                <a:cubicBezTo>
                  <a:pt x="267547" y="171873"/>
                  <a:pt x="416560" y="208280"/>
                  <a:pt x="416560" y="208280"/>
                </a:cubicBezTo>
                <a:cubicBezTo>
                  <a:pt x="474133" y="226907"/>
                  <a:pt x="497840" y="235373"/>
                  <a:pt x="543560" y="248920"/>
                </a:cubicBezTo>
                <a:cubicBezTo>
                  <a:pt x="589280" y="262467"/>
                  <a:pt x="630767" y="276860"/>
                  <a:pt x="690880" y="289560"/>
                </a:cubicBezTo>
                <a:cubicBezTo>
                  <a:pt x="750993" y="302260"/>
                  <a:pt x="840740" y="309033"/>
                  <a:pt x="904240" y="325120"/>
                </a:cubicBezTo>
                <a:cubicBezTo>
                  <a:pt x="967740" y="341207"/>
                  <a:pt x="1017693" y="362373"/>
                  <a:pt x="1071880" y="386080"/>
                </a:cubicBezTo>
                <a:cubicBezTo>
                  <a:pt x="1126067" y="409787"/>
                  <a:pt x="1191260" y="446193"/>
                  <a:pt x="1229360" y="467360"/>
                </a:cubicBezTo>
                <a:cubicBezTo>
                  <a:pt x="1267460" y="488527"/>
                  <a:pt x="1276773" y="496993"/>
                  <a:pt x="1300480" y="513080"/>
                </a:cubicBezTo>
                <a:cubicBezTo>
                  <a:pt x="1324187" y="529167"/>
                  <a:pt x="1356360" y="547793"/>
                  <a:pt x="1371600" y="563880"/>
                </a:cubicBezTo>
                <a:cubicBezTo>
                  <a:pt x="1386840" y="579967"/>
                  <a:pt x="1363133" y="587587"/>
                  <a:pt x="1391920" y="609600"/>
                </a:cubicBezTo>
                <a:cubicBezTo>
                  <a:pt x="1420707" y="631613"/>
                  <a:pt x="1503680" y="689187"/>
                  <a:pt x="1544320" y="695960"/>
                </a:cubicBezTo>
                <a:cubicBezTo>
                  <a:pt x="1584960" y="702733"/>
                  <a:pt x="1606127" y="663787"/>
                  <a:pt x="1635760" y="650240"/>
                </a:cubicBezTo>
                <a:cubicBezTo>
                  <a:pt x="1665393" y="636693"/>
                  <a:pt x="1689947" y="606213"/>
                  <a:pt x="1722120" y="614680"/>
                </a:cubicBezTo>
                <a:cubicBezTo>
                  <a:pt x="1754293" y="623147"/>
                  <a:pt x="1781387" y="675640"/>
                  <a:pt x="1828800" y="701040"/>
                </a:cubicBezTo>
                <a:cubicBezTo>
                  <a:pt x="1876213" y="726440"/>
                  <a:pt x="1949873" y="745067"/>
                  <a:pt x="2006600" y="767080"/>
                </a:cubicBezTo>
                <a:cubicBezTo>
                  <a:pt x="2063327" y="789093"/>
                  <a:pt x="2125133" y="822960"/>
                  <a:pt x="2169160" y="833120"/>
                </a:cubicBezTo>
                <a:cubicBezTo>
                  <a:pt x="2213187" y="843280"/>
                  <a:pt x="2233507" y="817880"/>
                  <a:pt x="2270760" y="828040"/>
                </a:cubicBezTo>
                <a:cubicBezTo>
                  <a:pt x="2308013" y="838200"/>
                  <a:pt x="2369820" y="881380"/>
                  <a:pt x="2392680" y="894080"/>
                </a:cubicBezTo>
              </a:path>
            </a:pathLst>
          </a:custGeom>
          <a:ln w="57150">
            <a:solidFill>
              <a:srgbClr val="FF0000"/>
            </a:solidFill>
          </a:ln>
        </p:spPr>
        <p:style>
          <a:lnRef idx="3">
            <a:schemeClr val="accent6"/>
          </a:lnRef>
          <a:fillRef idx="0">
            <a:schemeClr val="accent6"/>
          </a:fillRef>
          <a:effectRef idx="2">
            <a:schemeClr val="accent6"/>
          </a:effectRef>
          <a:fontRef idx="minor">
            <a:schemeClr val="tx1"/>
          </a:fontRef>
        </p:style>
        <p:txBody>
          <a:bodyPr rtlCol="0" anchor="ctr"/>
          <a:lstStyle/>
          <a:p>
            <a:pPr algn="ctr"/>
            <a:endParaRPr lang="it-IT"/>
          </a:p>
        </p:txBody>
      </p:sp>
      <p:sp>
        <p:nvSpPr>
          <p:cNvPr id="32" name="Figura a mano libera 31"/>
          <p:cNvSpPr/>
          <p:nvPr/>
        </p:nvSpPr>
        <p:spPr>
          <a:xfrm>
            <a:off x="3978214" y="3657600"/>
            <a:ext cx="713677" cy="314960"/>
          </a:xfrm>
          <a:custGeom>
            <a:avLst/>
            <a:gdLst>
              <a:gd name="connsiteX0" fmla="*/ 664906 w 713677"/>
              <a:gd name="connsiteY0" fmla="*/ 0 h 314960"/>
              <a:gd name="connsiteX1" fmla="*/ 710626 w 713677"/>
              <a:gd name="connsiteY1" fmla="*/ 81280 h 314960"/>
              <a:gd name="connsiteX2" fmla="*/ 588706 w 713677"/>
              <a:gd name="connsiteY2" fmla="*/ 187960 h 314960"/>
              <a:gd name="connsiteX3" fmla="*/ 451546 w 713677"/>
              <a:gd name="connsiteY3" fmla="*/ 248920 h 314960"/>
              <a:gd name="connsiteX4" fmla="*/ 258506 w 713677"/>
              <a:gd name="connsiteY4" fmla="*/ 259080 h 314960"/>
              <a:gd name="connsiteX5" fmla="*/ 14666 w 713677"/>
              <a:gd name="connsiteY5" fmla="*/ 314960 h 314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3677" h="314960">
                <a:moveTo>
                  <a:pt x="664906" y="0"/>
                </a:moveTo>
                <a:cubicBezTo>
                  <a:pt x="694116" y="24976"/>
                  <a:pt x="723326" y="49953"/>
                  <a:pt x="710626" y="81280"/>
                </a:cubicBezTo>
                <a:cubicBezTo>
                  <a:pt x="697926" y="112607"/>
                  <a:pt x="631886" y="160020"/>
                  <a:pt x="588706" y="187960"/>
                </a:cubicBezTo>
                <a:cubicBezTo>
                  <a:pt x="545526" y="215900"/>
                  <a:pt x="506579" y="237067"/>
                  <a:pt x="451546" y="248920"/>
                </a:cubicBezTo>
                <a:cubicBezTo>
                  <a:pt x="396513" y="260773"/>
                  <a:pt x="331319" y="248073"/>
                  <a:pt x="258506" y="259080"/>
                </a:cubicBezTo>
                <a:cubicBezTo>
                  <a:pt x="185693" y="270087"/>
                  <a:pt x="-62381" y="284480"/>
                  <a:pt x="14666" y="314960"/>
                </a:cubicBezTo>
              </a:path>
            </a:pathLst>
          </a:custGeom>
          <a:ln w="57150">
            <a:solidFill>
              <a:srgbClr val="FF0000"/>
            </a:solidFill>
          </a:ln>
        </p:spPr>
        <p:style>
          <a:lnRef idx="3">
            <a:schemeClr val="accent6"/>
          </a:lnRef>
          <a:fillRef idx="0">
            <a:schemeClr val="accent6"/>
          </a:fillRef>
          <a:effectRef idx="2">
            <a:schemeClr val="accent6"/>
          </a:effectRef>
          <a:fontRef idx="minor">
            <a:schemeClr val="tx1"/>
          </a:fontRef>
        </p:style>
        <p:txBody>
          <a:bodyPr rtlCol="0" anchor="ctr"/>
          <a:lstStyle/>
          <a:p>
            <a:pPr algn="ctr"/>
            <a:endParaRPr lang="it-IT">
              <a:solidFill>
                <a:schemeClr val="tx1"/>
              </a:solidFill>
            </a:endParaRPr>
          </a:p>
        </p:txBody>
      </p:sp>
      <p:sp>
        <p:nvSpPr>
          <p:cNvPr id="33" name="Figura a mano libera 32"/>
          <p:cNvSpPr/>
          <p:nvPr/>
        </p:nvSpPr>
        <p:spPr>
          <a:xfrm>
            <a:off x="4961748" y="3953475"/>
            <a:ext cx="190623" cy="452120"/>
          </a:xfrm>
          <a:custGeom>
            <a:avLst/>
            <a:gdLst>
              <a:gd name="connsiteX0" fmla="*/ 20320 w 190623"/>
              <a:gd name="connsiteY0" fmla="*/ 0 h 452120"/>
              <a:gd name="connsiteX1" fmla="*/ 81280 w 190623"/>
              <a:gd name="connsiteY1" fmla="*/ 111760 h 452120"/>
              <a:gd name="connsiteX2" fmla="*/ 182880 w 190623"/>
              <a:gd name="connsiteY2" fmla="*/ 172720 h 452120"/>
              <a:gd name="connsiteX3" fmla="*/ 172720 w 190623"/>
              <a:gd name="connsiteY3" fmla="*/ 223520 h 452120"/>
              <a:gd name="connsiteX4" fmla="*/ 86360 w 190623"/>
              <a:gd name="connsiteY4" fmla="*/ 381000 h 452120"/>
              <a:gd name="connsiteX5" fmla="*/ 0 w 190623"/>
              <a:gd name="connsiteY5" fmla="*/ 452120 h 45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623" h="452120">
                <a:moveTo>
                  <a:pt x="20320" y="0"/>
                </a:moveTo>
                <a:cubicBezTo>
                  <a:pt x="37253" y="41486"/>
                  <a:pt x="54187" y="82973"/>
                  <a:pt x="81280" y="111760"/>
                </a:cubicBezTo>
                <a:cubicBezTo>
                  <a:pt x="108373" y="140547"/>
                  <a:pt x="167640" y="154093"/>
                  <a:pt x="182880" y="172720"/>
                </a:cubicBezTo>
                <a:cubicBezTo>
                  <a:pt x="198120" y="191347"/>
                  <a:pt x="188807" y="188807"/>
                  <a:pt x="172720" y="223520"/>
                </a:cubicBezTo>
                <a:cubicBezTo>
                  <a:pt x="156633" y="258233"/>
                  <a:pt x="115147" y="342900"/>
                  <a:pt x="86360" y="381000"/>
                </a:cubicBezTo>
                <a:cubicBezTo>
                  <a:pt x="57573" y="419100"/>
                  <a:pt x="28786" y="435610"/>
                  <a:pt x="0" y="452120"/>
                </a:cubicBezTo>
              </a:path>
            </a:pathLst>
          </a:custGeom>
          <a:ln w="57150">
            <a:solidFill>
              <a:srgbClr val="FF0000"/>
            </a:solidFill>
          </a:ln>
        </p:spPr>
        <p:style>
          <a:lnRef idx="3">
            <a:schemeClr val="accent6"/>
          </a:lnRef>
          <a:fillRef idx="0">
            <a:schemeClr val="accent6"/>
          </a:fillRef>
          <a:effectRef idx="2">
            <a:schemeClr val="accent6"/>
          </a:effectRef>
          <a:fontRef idx="minor">
            <a:schemeClr val="tx1"/>
          </a:fontRef>
        </p:style>
        <p:txBody>
          <a:bodyPr rtlCol="0" anchor="ctr"/>
          <a:lstStyle/>
          <a:p>
            <a:pPr algn="ctr"/>
            <a:endParaRPr lang="it-IT">
              <a:solidFill>
                <a:schemeClr val="tx1"/>
              </a:solidFill>
            </a:endParaRPr>
          </a:p>
        </p:txBody>
      </p:sp>
      <p:sp>
        <p:nvSpPr>
          <p:cNvPr id="34" name="Figura a mano libera 33"/>
          <p:cNvSpPr/>
          <p:nvPr/>
        </p:nvSpPr>
        <p:spPr>
          <a:xfrm>
            <a:off x="2758440" y="3004305"/>
            <a:ext cx="751840" cy="323095"/>
          </a:xfrm>
          <a:custGeom>
            <a:avLst/>
            <a:gdLst>
              <a:gd name="connsiteX0" fmla="*/ 0 w 751840"/>
              <a:gd name="connsiteY0" fmla="*/ 323095 h 323095"/>
              <a:gd name="connsiteX1" fmla="*/ 127000 w 751840"/>
              <a:gd name="connsiteY1" fmla="*/ 297695 h 323095"/>
              <a:gd name="connsiteX2" fmla="*/ 243840 w 751840"/>
              <a:gd name="connsiteY2" fmla="*/ 277375 h 323095"/>
              <a:gd name="connsiteX3" fmla="*/ 314960 w 751840"/>
              <a:gd name="connsiteY3" fmla="*/ 282455 h 323095"/>
              <a:gd name="connsiteX4" fmla="*/ 381000 w 751840"/>
              <a:gd name="connsiteY4" fmla="*/ 257055 h 323095"/>
              <a:gd name="connsiteX5" fmla="*/ 421640 w 751840"/>
              <a:gd name="connsiteY5" fmla="*/ 185935 h 323095"/>
              <a:gd name="connsiteX6" fmla="*/ 477520 w 751840"/>
              <a:gd name="connsiteY6" fmla="*/ 145295 h 323095"/>
              <a:gd name="connsiteX7" fmla="*/ 523240 w 751840"/>
              <a:gd name="connsiteY7" fmla="*/ 130055 h 323095"/>
              <a:gd name="connsiteX8" fmla="*/ 568960 w 751840"/>
              <a:gd name="connsiteY8" fmla="*/ 89415 h 323095"/>
              <a:gd name="connsiteX9" fmla="*/ 624840 w 751840"/>
              <a:gd name="connsiteY9" fmla="*/ 74175 h 323095"/>
              <a:gd name="connsiteX10" fmla="*/ 660400 w 751840"/>
              <a:gd name="connsiteY10" fmla="*/ 84335 h 323095"/>
              <a:gd name="connsiteX11" fmla="*/ 706120 w 751840"/>
              <a:gd name="connsiteY11" fmla="*/ 109735 h 323095"/>
              <a:gd name="connsiteX12" fmla="*/ 746760 w 751840"/>
              <a:gd name="connsiteY12" fmla="*/ 94495 h 323095"/>
              <a:gd name="connsiteX13" fmla="*/ 731520 w 751840"/>
              <a:gd name="connsiteY13" fmla="*/ 8135 h 323095"/>
              <a:gd name="connsiteX14" fmla="*/ 751840 w 751840"/>
              <a:gd name="connsiteY14" fmla="*/ 3055 h 32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1840" h="323095">
                <a:moveTo>
                  <a:pt x="0" y="323095"/>
                </a:moveTo>
                <a:lnTo>
                  <a:pt x="127000" y="297695"/>
                </a:lnTo>
                <a:cubicBezTo>
                  <a:pt x="167640" y="290075"/>
                  <a:pt x="212513" y="279915"/>
                  <a:pt x="243840" y="277375"/>
                </a:cubicBezTo>
                <a:cubicBezTo>
                  <a:pt x="275167" y="274835"/>
                  <a:pt x="292100" y="285842"/>
                  <a:pt x="314960" y="282455"/>
                </a:cubicBezTo>
                <a:cubicBezTo>
                  <a:pt x="337820" y="279068"/>
                  <a:pt x="363220" y="273142"/>
                  <a:pt x="381000" y="257055"/>
                </a:cubicBezTo>
                <a:cubicBezTo>
                  <a:pt x="398780" y="240968"/>
                  <a:pt x="405553" y="204562"/>
                  <a:pt x="421640" y="185935"/>
                </a:cubicBezTo>
                <a:cubicBezTo>
                  <a:pt x="437727" y="167308"/>
                  <a:pt x="460587" y="154608"/>
                  <a:pt x="477520" y="145295"/>
                </a:cubicBezTo>
                <a:cubicBezTo>
                  <a:pt x="494453" y="135982"/>
                  <a:pt x="508000" y="139368"/>
                  <a:pt x="523240" y="130055"/>
                </a:cubicBezTo>
                <a:cubicBezTo>
                  <a:pt x="538480" y="120742"/>
                  <a:pt x="552027" y="98728"/>
                  <a:pt x="568960" y="89415"/>
                </a:cubicBezTo>
                <a:cubicBezTo>
                  <a:pt x="585893" y="80102"/>
                  <a:pt x="609600" y="75022"/>
                  <a:pt x="624840" y="74175"/>
                </a:cubicBezTo>
                <a:cubicBezTo>
                  <a:pt x="640080" y="73328"/>
                  <a:pt x="646853" y="78408"/>
                  <a:pt x="660400" y="84335"/>
                </a:cubicBezTo>
                <a:cubicBezTo>
                  <a:pt x="673947" y="90262"/>
                  <a:pt x="691727" y="108042"/>
                  <a:pt x="706120" y="109735"/>
                </a:cubicBezTo>
                <a:cubicBezTo>
                  <a:pt x="720513" y="111428"/>
                  <a:pt x="742527" y="111428"/>
                  <a:pt x="746760" y="94495"/>
                </a:cubicBezTo>
                <a:cubicBezTo>
                  <a:pt x="750993" y="77562"/>
                  <a:pt x="730673" y="23375"/>
                  <a:pt x="731520" y="8135"/>
                </a:cubicBezTo>
                <a:cubicBezTo>
                  <a:pt x="732367" y="-7105"/>
                  <a:pt x="735753" y="3902"/>
                  <a:pt x="751840" y="3055"/>
                </a:cubicBezTo>
              </a:path>
            </a:pathLst>
          </a:custGeom>
          <a:ln w="57150">
            <a:solidFill>
              <a:srgbClr val="FF0000"/>
            </a:solidFill>
          </a:ln>
        </p:spPr>
        <p:style>
          <a:lnRef idx="3">
            <a:schemeClr val="accent6"/>
          </a:lnRef>
          <a:fillRef idx="0">
            <a:schemeClr val="accent6"/>
          </a:fillRef>
          <a:effectRef idx="2">
            <a:schemeClr val="accent6"/>
          </a:effectRef>
          <a:fontRef idx="minor">
            <a:schemeClr val="tx1"/>
          </a:fontRef>
        </p:style>
        <p:txBody>
          <a:bodyPr rtlCol="0" anchor="ctr"/>
          <a:lstStyle/>
          <a:p>
            <a:pPr algn="ctr"/>
            <a:endParaRPr lang="it-IT">
              <a:solidFill>
                <a:schemeClr val="tx1"/>
              </a:solidFill>
            </a:endParaRPr>
          </a:p>
        </p:txBody>
      </p:sp>
      <p:sp>
        <p:nvSpPr>
          <p:cNvPr id="35" name="Figura a mano libera 34"/>
          <p:cNvSpPr/>
          <p:nvPr/>
        </p:nvSpPr>
        <p:spPr>
          <a:xfrm>
            <a:off x="2077841" y="3813134"/>
            <a:ext cx="116840" cy="106680"/>
          </a:xfrm>
          <a:custGeom>
            <a:avLst/>
            <a:gdLst>
              <a:gd name="connsiteX0" fmla="*/ 0 w 116840"/>
              <a:gd name="connsiteY0" fmla="*/ 0 h 106680"/>
              <a:gd name="connsiteX1" fmla="*/ 116840 w 116840"/>
              <a:gd name="connsiteY1" fmla="*/ 106680 h 106680"/>
            </a:gdLst>
            <a:ahLst/>
            <a:cxnLst>
              <a:cxn ang="0">
                <a:pos x="connsiteX0" y="connsiteY0"/>
              </a:cxn>
              <a:cxn ang="0">
                <a:pos x="connsiteX1" y="connsiteY1"/>
              </a:cxn>
            </a:cxnLst>
            <a:rect l="l" t="t" r="r" b="b"/>
            <a:pathLst>
              <a:path w="116840" h="106680">
                <a:moveTo>
                  <a:pt x="0" y="0"/>
                </a:moveTo>
                <a:cubicBezTo>
                  <a:pt x="47413" y="41486"/>
                  <a:pt x="94827" y="82973"/>
                  <a:pt x="116840" y="106680"/>
                </a:cubicBezTo>
              </a:path>
            </a:pathLst>
          </a:custGeom>
          <a:ln w="57150">
            <a:solidFill>
              <a:srgbClr val="FF0000"/>
            </a:solidFill>
          </a:ln>
        </p:spPr>
        <p:style>
          <a:lnRef idx="3">
            <a:schemeClr val="accent6"/>
          </a:lnRef>
          <a:fillRef idx="0">
            <a:schemeClr val="accent6"/>
          </a:fillRef>
          <a:effectRef idx="2">
            <a:schemeClr val="accent6"/>
          </a:effectRef>
          <a:fontRef idx="minor">
            <a:schemeClr val="tx1"/>
          </a:fontRef>
        </p:style>
        <p:txBody>
          <a:bodyPr rtlCol="0" anchor="ctr"/>
          <a:lstStyle/>
          <a:p>
            <a:pPr algn="ctr"/>
            <a:endParaRPr lang="it-IT">
              <a:solidFill>
                <a:schemeClr val="tx1"/>
              </a:solidFill>
            </a:endParaRPr>
          </a:p>
        </p:txBody>
      </p:sp>
      <p:sp>
        <p:nvSpPr>
          <p:cNvPr id="36" name="Figura a mano libera 35"/>
          <p:cNvSpPr/>
          <p:nvPr/>
        </p:nvSpPr>
        <p:spPr>
          <a:xfrm>
            <a:off x="3185160" y="2214880"/>
            <a:ext cx="802640" cy="609600"/>
          </a:xfrm>
          <a:custGeom>
            <a:avLst/>
            <a:gdLst>
              <a:gd name="connsiteX0" fmla="*/ 0 w 802640"/>
              <a:gd name="connsiteY0" fmla="*/ 0 h 609600"/>
              <a:gd name="connsiteX1" fmla="*/ 96520 w 802640"/>
              <a:gd name="connsiteY1" fmla="*/ 96520 h 609600"/>
              <a:gd name="connsiteX2" fmla="*/ 162560 w 802640"/>
              <a:gd name="connsiteY2" fmla="*/ 116840 h 609600"/>
              <a:gd name="connsiteX3" fmla="*/ 218440 w 802640"/>
              <a:gd name="connsiteY3" fmla="*/ 167640 h 609600"/>
              <a:gd name="connsiteX4" fmla="*/ 259080 w 802640"/>
              <a:gd name="connsiteY4" fmla="*/ 142240 h 609600"/>
              <a:gd name="connsiteX5" fmla="*/ 330200 w 802640"/>
              <a:gd name="connsiteY5" fmla="*/ 233680 h 609600"/>
              <a:gd name="connsiteX6" fmla="*/ 396240 w 802640"/>
              <a:gd name="connsiteY6" fmla="*/ 294640 h 609600"/>
              <a:gd name="connsiteX7" fmla="*/ 467360 w 802640"/>
              <a:gd name="connsiteY7" fmla="*/ 325120 h 609600"/>
              <a:gd name="connsiteX8" fmla="*/ 543560 w 802640"/>
              <a:gd name="connsiteY8" fmla="*/ 325120 h 609600"/>
              <a:gd name="connsiteX9" fmla="*/ 584200 w 802640"/>
              <a:gd name="connsiteY9" fmla="*/ 365760 h 609600"/>
              <a:gd name="connsiteX10" fmla="*/ 619760 w 802640"/>
              <a:gd name="connsiteY10" fmla="*/ 391160 h 609600"/>
              <a:gd name="connsiteX11" fmla="*/ 650240 w 802640"/>
              <a:gd name="connsiteY11" fmla="*/ 431800 h 609600"/>
              <a:gd name="connsiteX12" fmla="*/ 685800 w 802640"/>
              <a:gd name="connsiteY12" fmla="*/ 462280 h 609600"/>
              <a:gd name="connsiteX13" fmla="*/ 731520 w 802640"/>
              <a:gd name="connsiteY13" fmla="*/ 477520 h 609600"/>
              <a:gd name="connsiteX14" fmla="*/ 782320 w 802640"/>
              <a:gd name="connsiteY14" fmla="*/ 518160 h 609600"/>
              <a:gd name="connsiteX15" fmla="*/ 802640 w 802640"/>
              <a:gd name="connsiteY15" fmla="*/ 60960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02640" h="609600">
                <a:moveTo>
                  <a:pt x="0" y="0"/>
                </a:moveTo>
                <a:cubicBezTo>
                  <a:pt x="34713" y="38523"/>
                  <a:pt x="69427" y="77047"/>
                  <a:pt x="96520" y="96520"/>
                </a:cubicBezTo>
                <a:cubicBezTo>
                  <a:pt x="123613" y="115993"/>
                  <a:pt x="142240" y="104987"/>
                  <a:pt x="162560" y="116840"/>
                </a:cubicBezTo>
                <a:cubicBezTo>
                  <a:pt x="182880" y="128693"/>
                  <a:pt x="202353" y="163407"/>
                  <a:pt x="218440" y="167640"/>
                </a:cubicBezTo>
                <a:cubicBezTo>
                  <a:pt x="234527" y="171873"/>
                  <a:pt x="240453" y="131233"/>
                  <a:pt x="259080" y="142240"/>
                </a:cubicBezTo>
                <a:cubicBezTo>
                  <a:pt x="277707" y="153247"/>
                  <a:pt x="307340" y="208280"/>
                  <a:pt x="330200" y="233680"/>
                </a:cubicBezTo>
                <a:cubicBezTo>
                  <a:pt x="353060" y="259080"/>
                  <a:pt x="373380" y="279400"/>
                  <a:pt x="396240" y="294640"/>
                </a:cubicBezTo>
                <a:cubicBezTo>
                  <a:pt x="419100" y="309880"/>
                  <a:pt x="442807" y="320040"/>
                  <a:pt x="467360" y="325120"/>
                </a:cubicBezTo>
                <a:cubicBezTo>
                  <a:pt x="491913" y="330200"/>
                  <a:pt x="524087" y="318347"/>
                  <a:pt x="543560" y="325120"/>
                </a:cubicBezTo>
                <a:cubicBezTo>
                  <a:pt x="563033" y="331893"/>
                  <a:pt x="571500" y="354753"/>
                  <a:pt x="584200" y="365760"/>
                </a:cubicBezTo>
                <a:cubicBezTo>
                  <a:pt x="596900" y="376767"/>
                  <a:pt x="608753" y="380153"/>
                  <a:pt x="619760" y="391160"/>
                </a:cubicBezTo>
                <a:cubicBezTo>
                  <a:pt x="630767" y="402167"/>
                  <a:pt x="639233" y="419947"/>
                  <a:pt x="650240" y="431800"/>
                </a:cubicBezTo>
                <a:cubicBezTo>
                  <a:pt x="661247" y="443653"/>
                  <a:pt x="672253" y="454660"/>
                  <a:pt x="685800" y="462280"/>
                </a:cubicBezTo>
                <a:cubicBezTo>
                  <a:pt x="699347" y="469900"/>
                  <a:pt x="715433" y="468207"/>
                  <a:pt x="731520" y="477520"/>
                </a:cubicBezTo>
                <a:cubicBezTo>
                  <a:pt x="747607" y="486833"/>
                  <a:pt x="770467" y="496147"/>
                  <a:pt x="782320" y="518160"/>
                </a:cubicBezTo>
                <a:cubicBezTo>
                  <a:pt x="794173" y="540173"/>
                  <a:pt x="772160" y="546100"/>
                  <a:pt x="802640" y="609600"/>
                </a:cubicBezTo>
              </a:path>
            </a:pathLst>
          </a:custGeom>
          <a:ln w="57150">
            <a:solidFill>
              <a:srgbClr val="FF0000"/>
            </a:solidFill>
          </a:ln>
        </p:spPr>
        <p:style>
          <a:lnRef idx="3">
            <a:schemeClr val="accent6"/>
          </a:lnRef>
          <a:fillRef idx="0">
            <a:schemeClr val="accent6"/>
          </a:fillRef>
          <a:effectRef idx="2">
            <a:schemeClr val="accent6"/>
          </a:effectRef>
          <a:fontRef idx="minor">
            <a:schemeClr val="tx1"/>
          </a:fontRef>
        </p:style>
        <p:txBody>
          <a:bodyPr rtlCol="0" anchor="ctr"/>
          <a:lstStyle/>
          <a:p>
            <a:pPr algn="ctr"/>
            <a:endParaRPr lang="it-IT">
              <a:solidFill>
                <a:schemeClr val="tx1"/>
              </a:solidFill>
            </a:endParaRPr>
          </a:p>
        </p:txBody>
      </p:sp>
      <p:sp>
        <p:nvSpPr>
          <p:cNvPr id="38" name="Figura a mano libera 37"/>
          <p:cNvSpPr/>
          <p:nvPr/>
        </p:nvSpPr>
        <p:spPr>
          <a:xfrm>
            <a:off x="2468880" y="1346200"/>
            <a:ext cx="1427512" cy="1976120"/>
          </a:xfrm>
          <a:custGeom>
            <a:avLst/>
            <a:gdLst>
              <a:gd name="connsiteX0" fmla="*/ 0 w 1427512"/>
              <a:gd name="connsiteY0" fmla="*/ 1976120 h 1976120"/>
              <a:gd name="connsiteX1" fmla="*/ 35560 w 1427512"/>
              <a:gd name="connsiteY1" fmla="*/ 1894840 h 1976120"/>
              <a:gd name="connsiteX2" fmla="*/ 71120 w 1427512"/>
              <a:gd name="connsiteY2" fmla="*/ 1828800 h 1976120"/>
              <a:gd name="connsiteX3" fmla="*/ 142240 w 1427512"/>
              <a:gd name="connsiteY3" fmla="*/ 1737360 h 1976120"/>
              <a:gd name="connsiteX4" fmla="*/ 177800 w 1427512"/>
              <a:gd name="connsiteY4" fmla="*/ 1701800 h 1976120"/>
              <a:gd name="connsiteX5" fmla="*/ 233680 w 1427512"/>
              <a:gd name="connsiteY5" fmla="*/ 1635760 h 1976120"/>
              <a:gd name="connsiteX6" fmla="*/ 284480 w 1427512"/>
              <a:gd name="connsiteY6" fmla="*/ 1569720 h 1976120"/>
              <a:gd name="connsiteX7" fmla="*/ 289560 w 1427512"/>
              <a:gd name="connsiteY7" fmla="*/ 1473200 h 1976120"/>
              <a:gd name="connsiteX8" fmla="*/ 355600 w 1427512"/>
              <a:gd name="connsiteY8" fmla="*/ 1457960 h 1976120"/>
              <a:gd name="connsiteX9" fmla="*/ 477520 w 1427512"/>
              <a:gd name="connsiteY9" fmla="*/ 1422400 h 1976120"/>
              <a:gd name="connsiteX10" fmla="*/ 543560 w 1427512"/>
              <a:gd name="connsiteY10" fmla="*/ 1391920 h 1976120"/>
              <a:gd name="connsiteX11" fmla="*/ 614680 w 1427512"/>
              <a:gd name="connsiteY11" fmla="*/ 1356360 h 1976120"/>
              <a:gd name="connsiteX12" fmla="*/ 640080 w 1427512"/>
              <a:gd name="connsiteY12" fmla="*/ 1315720 h 1976120"/>
              <a:gd name="connsiteX13" fmla="*/ 645160 w 1427512"/>
              <a:gd name="connsiteY13" fmla="*/ 1214120 h 1976120"/>
              <a:gd name="connsiteX14" fmla="*/ 675640 w 1427512"/>
              <a:gd name="connsiteY14" fmla="*/ 1143000 h 1976120"/>
              <a:gd name="connsiteX15" fmla="*/ 685800 w 1427512"/>
              <a:gd name="connsiteY15" fmla="*/ 1071880 h 1976120"/>
              <a:gd name="connsiteX16" fmla="*/ 685800 w 1427512"/>
              <a:gd name="connsiteY16" fmla="*/ 955040 h 1976120"/>
              <a:gd name="connsiteX17" fmla="*/ 685800 w 1427512"/>
              <a:gd name="connsiteY17" fmla="*/ 878840 h 1976120"/>
              <a:gd name="connsiteX18" fmla="*/ 756920 w 1427512"/>
              <a:gd name="connsiteY18" fmla="*/ 843280 h 1976120"/>
              <a:gd name="connsiteX19" fmla="*/ 843280 w 1427512"/>
              <a:gd name="connsiteY19" fmla="*/ 883920 h 1976120"/>
              <a:gd name="connsiteX20" fmla="*/ 949960 w 1427512"/>
              <a:gd name="connsiteY20" fmla="*/ 909320 h 1976120"/>
              <a:gd name="connsiteX21" fmla="*/ 1036320 w 1427512"/>
              <a:gd name="connsiteY21" fmla="*/ 848360 h 1976120"/>
              <a:gd name="connsiteX22" fmla="*/ 1092200 w 1427512"/>
              <a:gd name="connsiteY22" fmla="*/ 812800 h 1976120"/>
              <a:gd name="connsiteX23" fmla="*/ 1097280 w 1427512"/>
              <a:gd name="connsiteY23" fmla="*/ 741680 h 1976120"/>
              <a:gd name="connsiteX24" fmla="*/ 1097280 w 1427512"/>
              <a:gd name="connsiteY24" fmla="*/ 645160 h 1976120"/>
              <a:gd name="connsiteX25" fmla="*/ 1097280 w 1427512"/>
              <a:gd name="connsiteY25" fmla="*/ 574040 h 1976120"/>
              <a:gd name="connsiteX26" fmla="*/ 1132840 w 1427512"/>
              <a:gd name="connsiteY26" fmla="*/ 523240 h 1976120"/>
              <a:gd name="connsiteX27" fmla="*/ 1224280 w 1427512"/>
              <a:gd name="connsiteY27" fmla="*/ 441960 h 1976120"/>
              <a:gd name="connsiteX28" fmla="*/ 1275080 w 1427512"/>
              <a:gd name="connsiteY28" fmla="*/ 365760 h 1976120"/>
              <a:gd name="connsiteX29" fmla="*/ 1356360 w 1427512"/>
              <a:gd name="connsiteY29" fmla="*/ 314960 h 1976120"/>
              <a:gd name="connsiteX30" fmla="*/ 1402080 w 1427512"/>
              <a:gd name="connsiteY30" fmla="*/ 259080 h 1976120"/>
              <a:gd name="connsiteX31" fmla="*/ 1427480 w 1427512"/>
              <a:gd name="connsiteY31" fmla="*/ 187960 h 1976120"/>
              <a:gd name="connsiteX32" fmla="*/ 1407160 w 1427512"/>
              <a:gd name="connsiteY32" fmla="*/ 121920 h 1976120"/>
              <a:gd name="connsiteX33" fmla="*/ 1397000 w 1427512"/>
              <a:gd name="connsiteY33" fmla="*/ 0 h 197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27512" h="1976120">
                <a:moveTo>
                  <a:pt x="0" y="1976120"/>
                </a:moveTo>
                <a:cubicBezTo>
                  <a:pt x="11853" y="1947756"/>
                  <a:pt x="23707" y="1919393"/>
                  <a:pt x="35560" y="1894840"/>
                </a:cubicBezTo>
                <a:cubicBezTo>
                  <a:pt x="47413" y="1870287"/>
                  <a:pt x="53340" y="1855047"/>
                  <a:pt x="71120" y="1828800"/>
                </a:cubicBezTo>
                <a:cubicBezTo>
                  <a:pt x="88900" y="1802553"/>
                  <a:pt x="124460" y="1758527"/>
                  <a:pt x="142240" y="1737360"/>
                </a:cubicBezTo>
                <a:cubicBezTo>
                  <a:pt x="160020" y="1716193"/>
                  <a:pt x="162560" y="1718733"/>
                  <a:pt x="177800" y="1701800"/>
                </a:cubicBezTo>
                <a:cubicBezTo>
                  <a:pt x="193040" y="1684867"/>
                  <a:pt x="215900" y="1657773"/>
                  <a:pt x="233680" y="1635760"/>
                </a:cubicBezTo>
                <a:cubicBezTo>
                  <a:pt x="251460" y="1613747"/>
                  <a:pt x="275167" y="1596813"/>
                  <a:pt x="284480" y="1569720"/>
                </a:cubicBezTo>
                <a:cubicBezTo>
                  <a:pt x="293793" y="1542627"/>
                  <a:pt x="277707" y="1491826"/>
                  <a:pt x="289560" y="1473200"/>
                </a:cubicBezTo>
                <a:cubicBezTo>
                  <a:pt x="301413" y="1454574"/>
                  <a:pt x="324273" y="1466427"/>
                  <a:pt x="355600" y="1457960"/>
                </a:cubicBezTo>
                <a:cubicBezTo>
                  <a:pt x="386927" y="1449493"/>
                  <a:pt x="446193" y="1433407"/>
                  <a:pt x="477520" y="1422400"/>
                </a:cubicBezTo>
                <a:cubicBezTo>
                  <a:pt x="508847" y="1411393"/>
                  <a:pt x="520700" y="1402927"/>
                  <a:pt x="543560" y="1391920"/>
                </a:cubicBezTo>
                <a:cubicBezTo>
                  <a:pt x="566420" y="1380913"/>
                  <a:pt x="598593" y="1369060"/>
                  <a:pt x="614680" y="1356360"/>
                </a:cubicBezTo>
                <a:cubicBezTo>
                  <a:pt x="630767" y="1343660"/>
                  <a:pt x="635000" y="1339427"/>
                  <a:pt x="640080" y="1315720"/>
                </a:cubicBezTo>
                <a:cubicBezTo>
                  <a:pt x="645160" y="1292013"/>
                  <a:pt x="639233" y="1242907"/>
                  <a:pt x="645160" y="1214120"/>
                </a:cubicBezTo>
                <a:cubicBezTo>
                  <a:pt x="651087" y="1185333"/>
                  <a:pt x="668867" y="1166707"/>
                  <a:pt x="675640" y="1143000"/>
                </a:cubicBezTo>
                <a:cubicBezTo>
                  <a:pt x="682413" y="1119293"/>
                  <a:pt x="684107" y="1103207"/>
                  <a:pt x="685800" y="1071880"/>
                </a:cubicBezTo>
                <a:cubicBezTo>
                  <a:pt x="687493" y="1040553"/>
                  <a:pt x="685800" y="955040"/>
                  <a:pt x="685800" y="955040"/>
                </a:cubicBezTo>
                <a:cubicBezTo>
                  <a:pt x="685800" y="922867"/>
                  <a:pt x="673947" y="897466"/>
                  <a:pt x="685800" y="878840"/>
                </a:cubicBezTo>
                <a:cubicBezTo>
                  <a:pt x="697653" y="860214"/>
                  <a:pt x="730673" y="842433"/>
                  <a:pt x="756920" y="843280"/>
                </a:cubicBezTo>
                <a:cubicBezTo>
                  <a:pt x="783167" y="844127"/>
                  <a:pt x="811107" y="872913"/>
                  <a:pt x="843280" y="883920"/>
                </a:cubicBezTo>
                <a:cubicBezTo>
                  <a:pt x="875453" y="894927"/>
                  <a:pt x="917787" y="915247"/>
                  <a:pt x="949960" y="909320"/>
                </a:cubicBezTo>
                <a:cubicBezTo>
                  <a:pt x="982133" y="903393"/>
                  <a:pt x="1012613" y="864447"/>
                  <a:pt x="1036320" y="848360"/>
                </a:cubicBezTo>
                <a:cubicBezTo>
                  <a:pt x="1060027" y="832273"/>
                  <a:pt x="1082040" y="830580"/>
                  <a:pt x="1092200" y="812800"/>
                </a:cubicBezTo>
                <a:cubicBezTo>
                  <a:pt x="1102360" y="795020"/>
                  <a:pt x="1096433" y="769620"/>
                  <a:pt x="1097280" y="741680"/>
                </a:cubicBezTo>
                <a:cubicBezTo>
                  <a:pt x="1098127" y="713740"/>
                  <a:pt x="1097280" y="645160"/>
                  <a:pt x="1097280" y="645160"/>
                </a:cubicBezTo>
                <a:cubicBezTo>
                  <a:pt x="1097280" y="617220"/>
                  <a:pt x="1091353" y="594360"/>
                  <a:pt x="1097280" y="574040"/>
                </a:cubicBezTo>
                <a:cubicBezTo>
                  <a:pt x="1103207" y="553720"/>
                  <a:pt x="1111673" y="545253"/>
                  <a:pt x="1132840" y="523240"/>
                </a:cubicBezTo>
                <a:cubicBezTo>
                  <a:pt x="1154007" y="501227"/>
                  <a:pt x="1200573" y="468207"/>
                  <a:pt x="1224280" y="441960"/>
                </a:cubicBezTo>
                <a:cubicBezTo>
                  <a:pt x="1247987" y="415713"/>
                  <a:pt x="1253067" y="386927"/>
                  <a:pt x="1275080" y="365760"/>
                </a:cubicBezTo>
                <a:cubicBezTo>
                  <a:pt x="1297093" y="344593"/>
                  <a:pt x="1335193" y="332740"/>
                  <a:pt x="1356360" y="314960"/>
                </a:cubicBezTo>
                <a:cubicBezTo>
                  <a:pt x="1377527" y="297180"/>
                  <a:pt x="1390227" y="280247"/>
                  <a:pt x="1402080" y="259080"/>
                </a:cubicBezTo>
                <a:cubicBezTo>
                  <a:pt x="1413933" y="237913"/>
                  <a:pt x="1426633" y="210820"/>
                  <a:pt x="1427480" y="187960"/>
                </a:cubicBezTo>
                <a:cubicBezTo>
                  <a:pt x="1428327" y="165100"/>
                  <a:pt x="1412240" y="153247"/>
                  <a:pt x="1407160" y="121920"/>
                </a:cubicBezTo>
                <a:cubicBezTo>
                  <a:pt x="1402080" y="90593"/>
                  <a:pt x="1390227" y="19473"/>
                  <a:pt x="1397000" y="0"/>
                </a:cubicBezTo>
              </a:path>
            </a:pathLst>
          </a:custGeom>
          <a:ln w="57150">
            <a:solidFill>
              <a:srgbClr val="92D050"/>
            </a:solidFill>
          </a:ln>
        </p:spPr>
        <p:style>
          <a:lnRef idx="3">
            <a:schemeClr val="accent6"/>
          </a:lnRef>
          <a:fillRef idx="0">
            <a:schemeClr val="accent6"/>
          </a:fillRef>
          <a:effectRef idx="2">
            <a:schemeClr val="accent6"/>
          </a:effectRef>
          <a:fontRef idx="minor">
            <a:schemeClr val="tx1"/>
          </a:fontRef>
        </p:style>
        <p:txBody>
          <a:bodyPr rtlCol="0" anchor="ctr"/>
          <a:lstStyle/>
          <a:p>
            <a:pPr algn="ctr"/>
            <a:endParaRPr lang="it-IT"/>
          </a:p>
        </p:txBody>
      </p:sp>
      <p:sp>
        <p:nvSpPr>
          <p:cNvPr id="39" name="Figura a mano libera 38"/>
          <p:cNvSpPr/>
          <p:nvPr/>
        </p:nvSpPr>
        <p:spPr>
          <a:xfrm>
            <a:off x="2611120" y="2956560"/>
            <a:ext cx="66040" cy="52026"/>
          </a:xfrm>
          <a:custGeom>
            <a:avLst/>
            <a:gdLst>
              <a:gd name="connsiteX0" fmla="*/ 0 w 66040"/>
              <a:gd name="connsiteY0" fmla="*/ 0 h 52026"/>
              <a:gd name="connsiteX1" fmla="*/ 66040 w 66040"/>
              <a:gd name="connsiteY1" fmla="*/ 50800 h 52026"/>
            </a:gdLst>
            <a:ahLst/>
            <a:cxnLst>
              <a:cxn ang="0">
                <a:pos x="connsiteX0" y="connsiteY0"/>
              </a:cxn>
              <a:cxn ang="0">
                <a:pos x="connsiteX1" y="connsiteY1"/>
              </a:cxn>
            </a:cxnLst>
            <a:rect l="l" t="t" r="r" b="b"/>
            <a:pathLst>
              <a:path w="66040" h="52026">
                <a:moveTo>
                  <a:pt x="0" y="0"/>
                </a:moveTo>
                <a:cubicBezTo>
                  <a:pt x="16086" y="29210"/>
                  <a:pt x="32173" y="58420"/>
                  <a:pt x="66040" y="50800"/>
                </a:cubicBezTo>
              </a:path>
            </a:pathLst>
          </a:custGeom>
          <a:ln w="57150">
            <a:solidFill>
              <a:srgbClr val="92D050"/>
            </a:solidFill>
          </a:ln>
        </p:spPr>
        <p:style>
          <a:lnRef idx="3">
            <a:schemeClr val="accent6"/>
          </a:lnRef>
          <a:fillRef idx="0">
            <a:schemeClr val="accent6"/>
          </a:fillRef>
          <a:effectRef idx="2">
            <a:schemeClr val="accent6"/>
          </a:effectRef>
          <a:fontRef idx="minor">
            <a:schemeClr val="tx1"/>
          </a:fontRef>
        </p:style>
        <p:txBody>
          <a:bodyPr rtlCol="0" anchor="ctr"/>
          <a:lstStyle/>
          <a:p>
            <a:pPr algn="ctr"/>
            <a:endParaRPr lang="it-IT">
              <a:solidFill>
                <a:schemeClr val="tx1"/>
              </a:solidFill>
            </a:endParaRPr>
          </a:p>
        </p:txBody>
      </p:sp>
      <p:sp>
        <p:nvSpPr>
          <p:cNvPr id="40" name="Figura a mano libera 39"/>
          <p:cNvSpPr/>
          <p:nvPr/>
        </p:nvSpPr>
        <p:spPr>
          <a:xfrm>
            <a:off x="2687320" y="2809240"/>
            <a:ext cx="45720" cy="86360"/>
          </a:xfrm>
          <a:custGeom>
            <a:avLst/>
            <a:gdLst>
              <a:gd name="connsiteX0" fmla="*/ 0 w 45720"/>
              <a:gd name="connsiteY0" fmla="*/ 86360 h 86360"/>
              <a:gd name="connsiteX1" fmla="*/ 45720 w 45720"/>
              <a:gd name="connsiteY1" fmla="*/ 0 h 86360"/>
            </a:gdLst>
            <a:ahLst/>
            <a:cxnLst>
              <a:cxn ang="0">
                <a:pos x="connsiteX0" y="connsiteY0"/>
              </a:cxn>
              <a:cxn ang="0">
                <a:pos x="connsiteX1" y="connsiteY1"/>
              </a:cxn>
            </a:cxnLst>
            <a:rect l="l" t="t" r="r" b="b"/>
            <a:pathLst>
              <a:path w="45720" h="86360">
                <a:moveTo>
                  <a:pt x="0" y="86360"/>
                </a:moveTo>
                <a:cubicBezTo>
                  <a:pt x="9736" y="47413"/>
                  <a:pt x="19473" y="8467"/>
                  <a:pt x="45720" y="0"/>
                </a:cubicBezTo>
              </a:path>
            </a:pathLst>
          </a:custGeom>
          <a:ln w="57150">
            <a:solidFill>
              <a:srgbClr val="92D050"/>
            </a:solidFill>
          </a:ln>
        </p:spPr>
        <p:style>
          <a:lnRef idx="3">
            <a:schemeClr val="accent6"/>
          </a:lnRef>
          <a:fillRef idx="0">
            <a:schemeClr val="accent6"/>
          </a:fillRef>
          <a:effectRef idx="2">
            <a:schemeClr val="accent6"/>
          </a:effectRef>
          <a:fontRef idx="minor">
            <a:schemeClr val="tx1"/>
          </a:fontRef>
        </p:style>
        <p:txBody>
          <a:bodyPr rtlCol="0" anchor="ctr"/>
          <a:lstStyle/>
          <a:p>
            <a:pPr algn="ctr"/>
            <a:endParaRPr lang="it-IT">
              <a:solidFill>
                <a:schemeClr val="tx1"/>
              </a:solidFill>
            </a:endParaRPr>
          </a:p>
        </p:txBody>
      </p:sp>
      <p:sp>
        <p:nvSpPr>
          <p:cNvPr id="41" name="Figura a mano libera 40"/>
          <p:cNvSpPr/>
          <p:nvPr/>
        </p:nvSpPr>
        <p:spPr>
          <a:xfrm>
            <a:off x="3576320" y="2153920"/>
            <a:ext cx="172720" cy="111760"/>
          </a:xfrm>
          <a:custGeom>
            <a:avLst/>
            <a:gdLst>
              <a:gd name="connsiteX0" fmla="*/ 0 w 172720"/>
              <a:gd name="connsiteY0" fmla="*/ 0 h 111760"/>
              <a:gd name="connsiteX1" fmla="*/ 172720 w 172720"/>
              <a:gd name="connsiteY1" fmla="*/ 111760 h 111760"/>
            </a:gdLst>
            <a:ahLst/>
            <a:cxnLst>
              <a:cxn ang="0">
                <a:pos x="connsiteX0" y="connsiteY0"/>
              </a:cxn>
              <a:cxn ang="0">
                <a:pos x="connsiteX1" y="connsiteY1"/>
              </a:cxn>
            </a:cxnLst>
            <a:rect l="l" t="t" r="r" b="b"/>
            <a:pathLst>
              <a:path w="172720" h="111760">
                <a:moveTo>
                  <a:pt x="0" y="0"/>
                </a:moveTo>
                <a:cubicBezTo>
                  <a:pt x="57573" y="37253"/>
                  <a:pt x="145627" y="92287"/>
                  <a:pt x="172720" y="111760"/>
                </a:cubicBezTo>
              </a:path>
            </a:pathLst>
          </a:custGeom>
          <a:ln w="57150">
            <a:solidFill>
              <a:srgbClr val="92D050"/>
            </a:solidFill>
          </a:ln>
        </p:spPr>
        <p:style>
          <a:lnRef idx="3">
            <a:schemeClr val="accent6"/>
          </a:lnRef>
          <a:fillRef idx="0">
            <a:schemeClr val="accent6"/>
          </a:fillRef>
          <a:effectRef idx="2">
            <a:schemeClr val="accent6"/>
          </a:effectRef>
          <a:fontRef idx="minor">
            <a:schemeClr val="tx1"/>
          </a:fontRef>
        </p:style>
        <p:txBody>
          <a:bodyPr rtlCol="0" anchor="ctr"/>
          <a:lstStyle/>
          <a:p>
            <a:pPr algn="ctr"/>
            <a:endParaRPr lang="it-IT"/>
          </a:p>
        </p:txBody>
      </p:sp>
      <p:sp>
        <p:nvSpPr>
          <p:cNvPr id="42" name="Figura a mano libera 41"/>
          <p:cNvSpPr/>
          <p:nvPr/>
        </p:nvSpPr>
        <p:spPr>
          <a:xfrm>
            <a:off x="3281680" y="1691640"/>
            <a:ext cx="294640" cy="198120"/>
          </a:xfrm>
          <a:custGeom>
            <a:avLst/>
            <a:gdLst>
              <a:gd name="connsiteX0" fmla="*/ 0 w 294640"/>
              <a:gd name="connsiteY0" fmla="*/ 0 h 198120"/>
              <a:gd name="connsiteX1" fmla="*/ 50800 w 294640"/>
              <a:gd name="connsiteY1" fmla="*/ 132080 h 198120"/>
              <a:gd name="connsiteX2" fmla="*/ 127000 w 294640"/>
              <a:gd name="connsiteY2" fmla="*/ 132080 h 198120"/>
              <a:gd name="connsiteX3" fmla="*/ 182880 w 294640"/>
              <a:gd name="connsiteY3" fmla="*/ 177800 h 198120"/>
              <a:gd name="connsiteX4" fmla="*/ 294640 w 294640"/>
              <a:gd name="connsiteY4" fmla="*/ 198120 h 198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640" h="198120">
                <a:moveTo>
                  <a:pt x="0" y="0"/>
                </a:moveTo>
                <a:cubicBezTo>
                  <a:pt x="14816" y="55033"/>
                  <a:pt x="29633" y="110067"/>
                  <a:pt x="50800" y="132080"/>
                </a:cubicBezTo>
                <a:cubicBezTo>
                  <a:pt x="71967" y="154093"/>
                  <a:pt x="104987" y="124460"/>
                  <a:pt x="127000" y="132080"/>
                </a:cubicBezTo>
                <a:cubicBezTo>
                  <a:pt x="149013" y="139700"/>
                  <a:pt x="154940" y="166793"/>
                  <a:pt x="182880" y="177800"/>
                </a:cubicBezTo>
                <a:cubicBezTo>
                  <a:pt x="210820" y="188807"/>
                  <a:pt x="252730" y="193463"/>
                  <a:pt x="294640" y="198120"/>
                </a:cubicBezTo>
              </a:path>
            </a:pathLst>
          </a:custGeom>
          <a:ln w="57150">
            <a:solidFill>
              <a:srgbClr val="FF0000"/>
            </a:solidFill>
          </a:ln>
        </p:spPr>
        <p:style>
          <a:lnRef idx="3">
            <a:schemeClr val="accent6"/>
          </a:lnRef>
          <a:fillRef idx="0">
            <a:schemeClr val="accent6"/>
          </a:fillRef>
          <a:effectRef idx="2">
            <a:schemeClr val="accent6"/>
          </a:effectRef>
          <a:fontRef idx="minor">
            <a:schemeClr val="tx1"/>
          </a:fontRef>
        </p:style>
        <p:txBody>
          <a:bodyPr rtlCol="0" anchor="ctr"/>
          <a:lstStyle/>
          <a:p>
            <a:pPr algn="ctr"/>
            <a:endParaRPr lang="it-IT"/>
          </a:p>
        </p:txBody>
      </p:sp>
      <p:sp>
        <p:nvSpPr>
          <p:cNvPr id="43" name="Figura a mano libera 42"/>
          <p:cNvSpPr/>
          <p:nvPr/>
        </p:nvSpPr>
        <p:spPr>
          <a:xfrm>
            <a:off x="3865880" y="1574800"/>
            <a:ext cx="67629" cy="172720"/>
          </a:xfrm>
          <a:custGeom>
            <a:avLst/>
            <a:gdLst>
              <a:gd name="connsiteX0" fmla="*/ 40640 w 67629"/>
              <a:gd name="connsiteY0" fmla="*/ 0 h 172720"/>
              <a:gd name="connsiteX1" fmla="*/ 66040 w 67629"/>
              <a:gd name="connsiteY1" fmla="*/ 76200 h 172720"/>
              <a:gd name="connsiteX2" fmla="*/ 0 w 67629"/>
              <a:gd name="connsiteY2" fmla="*/ 172720 h 172720"/>
            </a:gdLst>
            <a:ahLst/>
            <a:cxnLst>
              <a:cxn ang="0">
                <a:pos x="connsiteX0" y="connsiteY0"/>
              </a:cxn>
              <a:cxn ang="0">
                <a:pos x="connsiteX1" y="connsiteY1"/>
              </a:cxn>
              <a:cxn ang="0">
                <a:pos x="connsiteX2" y="connsiteY2"/>
              </a:cxn>
            </a:cxnLst>
            <a:rect l="l" t="t" r="r" b="b"/>
            <a:pathLst>
              <a:path w="67629" h="172720">
                <a:moveTo>
                  <a:pt x="40640" y="0"/>
                </a:moveTo>
                <a:cubicBezTo>
                  <a:pt x="56726" y="23706"/>
                  <a:pt x="72813" y="47413"/>
                  <a:pt x="66040" y="76200"/>
                </a:cubicBezTo>
                <a:cubicBezTo>
                  <a:pt x="59267" y="104987"/>
                  <a:pt x="11007" y="148167"/>
                  <a:pt x="0" y="172720"/>
                </a:cubicBezTo>
              </a:path>
            </a:pathLst>
          </a:custGeom>
          <a:ln w="57150">
            <a:solidFill>
              <a:srgbClr val="FF0000"/>
            </a:solidFill>
          </a:ln>
        </p:spPr>
        <p:style>
          <a:lnRef idx="3">
            <a:schemeClr val="accent6"/>
          </a:lnRef>
          <a:fillRef idx="0">
            <a:schemeClr val="accent6"/>
          </a:fillRef>
          <a:effectRef idx="2">
            <a:schemeClr val="accent6"/>
          </a:effectRef>
          <a:fontRef idx="minor">
            <a:schemeClr val="tx1"/>
          </a:fontRef>
        </p:style>
        <p:txBody>
          <a:bodyPr rtlCol="0" anchor="ctr"/>
          <a:lstStyle/>
          <a:p>
            <a:pPr algn="ctr"/>
            <a:endParaRPr lang="it-IT"/>
          </a:p>
        </p:txBody>
      </p:sp>
      <p:sp>
        <p:nvSpPr>
          <p:cNvPr id="44" name="Figura a mano libera 43"/>
          <p:cNvSpPr/>
          <p:nvPr/>
        </p:nvSpPr>
        <p:spPr>
          <a:xfrm>
            <a:off x="2895600" y="1960880"/>
            <a:ext cx="228600" cy="284485"/>
          </a:xfrm>
          <a:custGeom>
            <a:avLst/>
            <a:gdLst>
              <a:gd name="connsiteX0" fmla="*/ 0 w 228600"/>
              <a:gd name="connsiteY0" fmla="*/ 0 h 284485"/>
              <a:gd name="connsiteX1" fmla="*/ 50800 w 228600"/>
              <a:gd name="connsiteY1" fmla="*/ 55880 h 284485"/>
              <a:gd name="connsiteX2" fmla="*/ 76200 w 228600"/>
              <a:gd name="connsiteY2" fmla="*/ 127000 h 284485"/>
              <a:gd name="connsiteX3" fmla="*/ 91440 w 228600"/>
              <a:gd name="connsiteY3" fmla="*/ 213360 h 284485"/>
              <a:gd name="connsiteX4" fmla="*/ 127000 w 228600"/>
              <a:gd name="connsiteY4" fmla="*/ 279400 h 284485"/>
              <a:gd name="connsiteX5" fmla="*/ 228600 w 228600"/>
              <a:gd name="connsiteY5" fmla="*/ 279400 h 284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8600" h="284485">
                <a:moveTo>
                  <a:pt x="0" y="0"/>
                </a:moveTo>
                <a:cubicBezTo>
                  <a:pt x="19050" y="17356"/>
                  <a:pt x="38100" y="34713"/>
                  <a:pt x="50800" y="55880"/>
                </a:cubicBezTo>
                <a:cubicBezTo>
                  <a:pt x="63500" y="77047"/>
                  <a:pt x="69427" y="100753"/>
                  <a:pt x="76200" y="127000"/>
                </a:cubicBezTo>
                <a:cubicBezTo>
                  <a:pt x="82973" y="153247"/>
                  <a:pt x="82973" y="187960"/>
                  <a:pt x="91440" y="213360"/>
                </a:cubicBezTo>
                <a:cubicBezTo>
                  <a:pt x="99907" y="238760"/>
                  <a:pt x="104140" y="268393"/>
                  <a:pt x="127000" y="279400"/>
                </a:cubicBezTo>
                <a:cubicBezTo>
                  <a:pt x="149860" y="290407"/>
                  <a:pt x="208280" y="280247"/>
                  <a:pt x="228600" y="279400"/>
                </a:cubicBezTo>
              </a:path>
            </a:pathLst>
          </a:custGeom>
          <a:ln w="57150">
            <a:solidFill>
              <a:srgbClr val="92D050"/>
            </a:solidFill>
          </a:ln>
        </p:spPr>
        <p:style>
          <a:lnRef idx="3">
            <a:schemeClr val="accent6"/>
          </a:lnRef>
          <a:fillRef idx="0">
            <a:schemeClr val="accent6"/>
          </a:fillRef>
          <a:effectRef idx="2">
            <a:schemeClr val="accent6"/>
          </a:effectRef>
          <a:fontRef idx="minor">
            <a:schemeClr val="tx1"/>
          </a:fontRef>
        </p:style>
        <p:txBody>
          <a:bodyPr rtlCol="0" anchor="ctr"/>
          <a:lstStyle/>
          <a:p>
            <a:pPr algn="ctr"/>
            <a:endParaRPr lang="it-IT">
              <a:solidFill>
                <a:schemeClr val="tx1"/>
              </a:solidFill>
            </a:endParaRPr>
          </a:p>
        </p:txBody>
      </p:sp>
      <p:sp>
        <p:nvSpPr>
          <p:cNvPr id="45" name="Figura a mano libera 44"/>
          <p:cNvSpPr/>
          <p:nvPr/>
        </p:nvSpPr>
        <p:spPr>
          <a:xfrm>
            <a:off x="2348227" y="2222500"/>
            <a:ext cx="135458" cy="971550"/>
          </a:xfrm>
          <a:custGeom>
            <a:avLst/>
            <a:gdLst>
              <a:gd name="connsiteX0" fmla="*/ 39373 w 135458"/>
              <a:gd name="connsiteY0" fmla="*/ 0 h 971550"/>
              <a:gd name="connsiteX1" fmla="*/ 64773 w 135458"/>
              <a:gd name="connsiteY1" fmla="*/ 63500 h 971550"/>
              <a:gd name="connsiteX2" fmla="*/ 20323 w 135458"/>
              <a:gd name="connsiteY2" fmla="*/ 152400 h 971550"/>
              <a:gd name="connsiteX3" fmla="*/ 7623 w 135458"/>
              <a:gd name="connsiteY3" fmla="*/ 228600 h 971550"/>
              <a:gd name="connsiteX4" fmla="*/ 1273 w 135458"/>
              <a:gd name="connsiteY4" fmla="*/ 304800 h 971550"/>
              <a:gd name="connsiteX5" fmla="*/ 33023 w 135458"/>
              <a:gd name="connsiteY5" fmla="*/ 342900 h 971550"/>
              <a:gd name="connsiteX6" fmla="*/ 77473 w 135458"/>
              <a:gd name="connsiteY6" fmla="*/ 406400 h 971550"/>
              <a:gd name="connsiteX7" fmla="*/ 102873 w 135458"/>
              <a:gd name="connsiteY7" fmla="*/ 444500 h 971550"/>
              <a:gd name="connsiteX8" fmla="*/ 83823 w 135458"/>
              <a:gd name="connsiteY8" fmla="*/ 514350 h 971550"/>
              <a:gd name="connsiteX9" fmla="*/ 71123 w 135458"/>
              <a:gd name="connsiteY9" fmla="*/ 596900 h 971550"/>
              <a:gd name="connsiteX10" fmla="*/ 115573 w 135458"/>
              <a:gd name="connsiteY10" fmla="*/ 666750 h 971550"/>
              <a:gd name="connsiteX11" fmla="*/ 134623 w 135458"/>
              <a:gd name="connsiteY11" fmla="*/ 717550 h 971550"/>
              <a:gd name="connsiteX12" fmla="*/ 90173 w 135458"/>
              <a:gd name="connsiteY12" fmla="*/ 819150 h 971550"/>
              <a:gd name="connsiteX13" fmla="*/ 134623 w 135458"/>
              <a:gd name="connsiteY13" fmla="*/ 971550 h 971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5458" h="971550">
                <a:moveTo>
                  <a:pt x="39373" y="0"/>
                </a:moveTo>
                <a:cubicBezTo>
                  <a:pt x="53660" y="19050"/>
                  <a:pt x="67948" y="38100"/>
                  <a:pt x="64773" y="63500"/>
                </a:cubicBezTo>
                <a:cubicBezTo>
                  <a:pt x="61598" y="88900"/>
                  <a:pt x="29848" y="124883"/>
                  <a:pt x="20323" y="152400"/>
                </a:cubicBezTo>
                <a:cubicBezTo>
                  <a:pt x="10798" y="179917"/>
                  <a:pt x="10798" y="203200"/>
                  <a:pt x="7623" y="228600"/>
                </a:cubicBezTo>
                <a:cubicBezTo>
                  <a:pt x="4448" y="254000"/>
                  <a:pt x="-2960" y="285750"/>
                  <a:pt x="1273" y="304800"/>
                </a:cubicBezTo>
                <a:cubicBezTo>
                  <a:pt x="5506" y="323850"/>
                  <a:pt x="20323" y="325967"/>
                  <a:pt x="33023" y="342900"/>
                </a:cubicBezTo>
                <a:cubicBezTo>
                  <a:pt x="45723" y="359833"/>
                  <a:pt x="65831" y="389467"/>
                  <a:pt x="77473" y="406400"/>
                </a:cubicBezTo>
                <a:cubicBezTo>
                  <a:pt x="89115" y="423333"/>
                  <a:pt x="101815" y="426509"/>
                  <a:pt x="102873" y="444500"/>
                </a:cubicBezTo>
                <a:cubicBezTo>
                  <a:pt x="103931" y="462491"/>
                  <a:pt x="89115" y="488950"/>
                  <a:pt x="83823" y="514350"/>
                </a:cubicBezTo>
                <a:cubicBezTo>
                  <a:pt x="78531" y="539750"/>
                  <a:pt x="65831" y="571500"/>
                  <a:pt x="71123" y="596900"/>
                </a:cubicBezTo>
                <a:cubicBezTo>
                  <a:pt x="76415" y="622300"/>
                  <a:pt x="104990" y="646642"/>
                  <a:pt x="115573" y="666750"/>
                </a:cubicBezTo>
                <a:cubicBezTo>
                  <a:pt x="126156" y="686858"/>
                  <a:pt x="138856" y="692150"/>
                  <a:pt x="134623" y="717550"/>
                </a:cubicBezTo>
                <a:cubicBezTo>
                  <a:pt x="130390" y="742950"/>
                  <a:pt x="90173" y="776817"/>
                  <a:pt x="90173" y="819150"/>
                </a:cubicBezTo>
                <a:cubicBezTo>
                  <a:pt x="90173" y="861483"/>
                  <a:pt x="112398" y="916516"/>
                  <a:pt x="134623" y="971550"/>
                </a:cubicBezTo>
              </a:path>
            </a:pathLst>
          </a:custGeom>
          <a:ln w="57150">
            <a:solidFill>
              <a:srgbClr val="FF0000"/>
            </a:solidFill>
          </a:ln>
        </p:spPr>
        <p:style>
          <a:lnRef idx="3">
            <a:schemeClr val="accent6"/>
          </a:lnRef>
          <a:fillRef idx="0">
            <a:schemeClr val="accent6"/>
          </a:fillRef>
          <a:effectRef idx="2">
            <a:schemeClr val="accent6"/>
          </a:effectRef>
          <a:fontRef idx="minor">
            <a:schemeClr val="tx1"/>
          </a:fontRef>
        </p:style>
        <p:txBody>
          <a:bodyPr rtlCol="0" anchor="ctr"/>
          <a:lstStyle/>
          <a:p>
            <a:pPr algn="ctr"/>
            <a:endParaRPr lang="it-IT">
              <a:solidFill>
                <a:schemeClr val="tx1"/>
              </a:solidFill>
            </a:endParaRPr>
          </a:p>
        </p:txBody>
      </p:sp>
      <p:sp>
        <p:nvSpPr>
          <p:cNvPr id="46" name="Figura a mano libera 45"/>
          <p:cNvSpPr/>
          <p:nvPr/>
        </p:nvSpPr>
        <p:spPr>
          <a:xfrm>
            <a:off x="1113113" y="2101849"/>
            <a:ext cx="1191937" cy="902455"/>
          </a:xfrm>
          <a:custGeom>
            <a:avLst/>
            <a:gdLst>
              <a:gd name="connsiteX0" fmla="*/ 1195273 w 1195273"/>
              <a:gd name="connsiteY0" fmla="*/ 0 h 882650"/>
              <a:gd name="connsiteX1" fmla="*/ 1030173 w 1195273"/>
              <a:gd name="connsiteY1" fmla="*/ 38100 h 882650"/>
              <a:gd name="connsiteX2" fmla="*/ 915873 w 1195273"/>
              <a:gd name="connsiteY2" fmla="*/ 6350 h 882650"/>
              <a:gd name="connsiteX3" fmla="*/ 795223 w 1195273"/>
              <a:gd name="connsiteY3" fmla="*/ 6350 h 882650"/>
              <a:gd name="connsiteX4" fmla="*/ 636473 w 1195273"/>
              <a:gd name="connsiteY4" fmla="*/ 50800 h 882650"/>
              <a:gd name="connsiteX5" fmla="*/ 592023 w 1195273"/>
              <a:gd name="connsiteY5" fmla="*/ 88900 h 882650"/>
              <a:gd name="connsiteX6" fmla="*/ 541223 w 1195273"/>
              <a:gd name="connsiteY6" fmla="*/ 114300 h 882650"/>
              <a:gd name="connsiteX7" fmla="*/ 522173 w 1195273"/>
              <a:gd name="connsiteY7" fmla="*/ 209550 h 882650"/>
              <a:gd name="connsiteX8" fmla="*/ 471373 w 1195273"/>
              <a:gd name="connsiteY8" fmla="*/ 254000 h 882650"/>
              <a:gd name="connsiteX9" fmla="*/ 401523 w 1195273"/>
              <a:gd name="connsiteY9" fmla="*/ 273050 h 882650"/>
              <a:gd name="connsiteX10" fmla="*/ 382473 w 1195273"/>
              <a:gd name="connsiteY10" fmla="*/ 298450 h 882650"/>
              <a:gd name="connsiteX11" fmla="*/ 388823 w 1195273"/>
              <a:gd name="connsiteY11" fmla="*/ 381000 h 882650"/>
              <a:gd name="connsiteX12" fmla="*/ 312623 w 1195273"/>
              <a:gd name="connsiteY12" fmla="*/ 463550 h 882650"/>
              <a:gd name="connsiteX13" fmla="*/ 236423 w 1195273"/>
              <a:gd name="connsiteY13" fmla="*/ 476250 h 882650"/>
              <a:gd name="connsiteX14" fmla="*/ 134823 w 1195273"/>
              <a:gd name="connsiteY14" fmla="*/ 527050 h 882650"/>
              <a:gd name="connsiteX15" fmla="*/ 52273 w 1195273"/>
              <a:gd name="connsiteY15" fmla="*/ 527050 h 882650"/>
              <a:gd name="connsiteX16" fmla="*/ 39573 w 1195273"/>
              <a:gd name="connsiteY16" fmla="*/ 565150 h 882650"/>
              <a:gd name="connsiteX17" fmla="*/ 1473 w 1195273"/>
              <a:gd name="connsiteY17" fmla="*/ 615950 h 882650"/>
              <a:gd name="connsiteX18" fmla="*/ 7823 w 1195273"/>
              <a:gd name="connsiteY18" fmla="*/ 673100 h 882650"/>
              <a:gd name="connsiteX19" fmla="*/ 7823 w 1195273"/>
              <a:gd name="connsiteY19" fmla="*/ 736600 h 882650"/>
              <a:gd name="connsiteX20" fmla="*/ 26873 w 1195273"/>
              <a:gd name="connsiteY20" fmla="*/ 793750 h 882650"/>
              <a:gd name="connsiteX21" fmla="*/ 7823 w 1195273"/>
              <a:gd name="connsiteY21" fmla="*/ 882650 h 882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95273" h="882650">
                <a:moveTo>
                  <a:pt x="1195273" y="0"/>
                </a:moveTo>
                <a:cubicBezTo>
                  <a:pt x="1136006" y="18521"/>
                  <a:pt x="1076740" y="37042"/>
                  <a:pt x="1030173" y="38100"/>
                </a:cubicBezTo>
                <a:cubicBezTo>
                  <a:pt x="983606" y="39158"/>
                  <a:pt x="955031" y="11642"/>
                  <a:pt x="915873" y="6350"/>
                </a:cubicBezTo>
                <a:cubicBezTo>
                  <a:pt x="876715" y="1058"/>
                  <a:pt x="841790" y="-1058"/>
                  <a:pt x="795223" y="6350"/>
                </a:cubicBezTo>
                <a:cubicBezTo>
                  <a:pt x="748656" y="13758"/>
                  <a:pt x="670340" y="37042"/>
                  <a:pt x="636473" y="50800"/>
                </a:cubicBezTo>
                <a:cubicBezTo>
                  <a:pt x="602606" y="64558"/>
                  <a:pt x="607898" y="78317"/>
                  <a:pt x="592023" y="88900"/>
                </a:cubicBezTo>
                <a:cubicBezTo>
                  <a:pt x="576148" y="99483"/>
                  <a:pt x="552865" y="94192"/>
                  <a:pt x="541223" y="114300"/>
                </a:cubicBezTo>
                <a:cubicBezTo>
                  <a:pt x="529581" y="134408"/>
                  <a:pt x="533815" y="186267"/>
                  <a:pt x="522173" y="209550"/>
                </a:cubicBezTo>
                <a:cubicBezTo>
                  <a:pt x="510531" y="232833"/>
                  <a:pt x="491481" y="243417"/>
                  <a:pt x="471373" y="254000"/>
                </a:cubicBezTo>
                <a:cubicBezTo>
                  <a:pt x="451265" y="264583"/>
                  <a:pt x="416340" y="265642"/>
                  <a:pt x="401523" y="273050"/>
                </a:cubicBezTo>
                <a:cubicBezTo>
                  <a:pt x="386706" y="280458"/>
                  <a:pt x="384590" y="280458"/>
                  <a:pt x="382473" y="298450"/>
                </a:cubicBezTo>
                <a:cubicBezTo>
                  <a:pt x="380356" y="316442"/>
                  <a:pt x="400465" y="353483"/>
                  <a:pt x="388823" y="381000"/>
                </a:cubicBezTo>
                <a:cubicBezTo>
                  <a:pt x="377181" y="408517"/>
                  <a:pt x="338023" y="447675"/>
                  <a:pt x="312623" y="463550"/>
                </a:cubicBezTo>
                <a:cubicBezTo>
                  <a:pt x="287223" y="479425"/>
                  <a:pt x="266056" y="465667"/>
                  <a:pt x="236423" y="476250"/>
                </a:cubicBezTo>
                <a:cubicBezTo>
                  <a:pt x="206790" y="486833"/>
                  <a:pt x="165515" y="518583"/>
                  <a:pt x="134823" y="527050"/>
                </a:cubicBezTo>
                <a:cubicBezTo>
                  <a:pt x="104131" y="535517"/>
                  <a:pt x="68148" y="520700"/>
                  <a:pt x="52273" y="527050"/>
                </a:cubicBezTo>
                <a:cubicBezTo>
                  <a:pt x="36398" y="533400"/>
                  <a:pt x="48040" y="550333"/>
                  <a:pt x="39573" y="565150"/>
                </a:cubicBezTo>
                <a:cubicBezTo>
                  <a:pt x="31106" y="579967"/>
                  <a:pt x="6765" y="597958"/>
                  <a:pt x="1473" y="615950"/>
                </a:cubicBezTo>
                <a:cubicBezTo>
                  <a:pt x="-3819" y="633942"/>
                  <a:pt x="6765" y="652992"/>
                  <a:pt x="7823" y="673100"/>
                </a:cubicBezTo>
                <a:cubicBezTo>
                  <a:pt x="8881" y="693208"/>
                  <a:pt x="4648" y="716492"/>
                  <a:pt x="7823" y="736600"/>
                </a:cubicBezTo>
                <a:cubicBezTo>
                  <a:pt x="10998" y="756708"/>
                  <a:pt x="26873" y="769408"/>
                  <a:pt x="26873" y="793750"/>
                </a:cubicBezTo>
                <a:cubicBezTo>
                  <a:pt x="26873" y="818092"/>
                  <a:pt x="17348" y="850371"/>
                  <a:pt x="7823" y="882650"/>
                </a:cubicBezTo>
              </a:path>
            </a:pathLst>
          </a:custGeom>
          <a:ln w="57150">
            <a:solidFill>
              <a:srgbClr val="92D050"/>
            </a:solidFill>
          </a:ln>
        </p:spPr>
        <p:style>
          <a:lnRef idx="3">
            <a:schemeClr val="accent6"/>
          </a:lnRef>
          <a:fillRef idx="0">
            <a:schemeClr val="accent6"/>
          </a:fillRef>
          <a:effectRef idx="2">
            <a:schemeClr val="accent6"/>
          </a:effectRef>
          <a:fontRef idx="minor">
            <a:schemeClr val="tx1"/>
          </a:fontRef>
        </p:style>
        <p:txBody>
          <a:bodyPr rtlCol="0" anchor="ctr"/>
          <a:lstStyle/>
          <a:p>
            <a:pPr algn="ctr"/>
            <a:endParaRPr lang="it-IT">
              <a:solidFill>
                <a:schemeClr val="tx1"/>
              </a:solidFill>
            </a:endParaRPr>
          </a:p>
        </p:txBody>
      </p:sp>
      <p:sp>
        <p:nvSpPr>
          <p:cNvPr id="47" name="Figura a mano libera 46"/>
          <p:cNvSpPr/>
          <p:nvPr/>
        </p:nvSpPr>
        <p:spPr>
          <a:xfrm>
            <a:off x="1627585" y="2235200"/>
            <a:ext cx="801290" cy="990600"/>
          </a:xfrm>
          <a:custGeom>
            <a:avLst/>
            <a:gdLst>
              <a:gd name="connsiteX0" fmla="*/ 102790 w 801290"/>
              <a:gd name="connsiteY0" fmla="*/ 0 h 990600"/>
              <a:gd name="connsiteX1" fmla="*/ 48815 w 801290"/>
              <a:gd name="connsiteY1" fmla="*/ 92075 h 990600"/>
              <a:gd name="connsiteX2" fmla="*/ 10715 w 801290"/>
              <a:gd name="connsiteY2" fmla="*/ 120650 h 990600"/>
              <a:gd name="connsiteX3" fmla="*/ 1190 w 801290"/>
              <a:gd name="connsiteY3" fmla="*/ 165100 h 990600"/>
              <a:gd name="connsiteX4" fmla="*/ 1190 w 801290"/>
              <a:gd name="connsiteY4" fmla="*/ 212725 h 990600"/>
              <a:gd name="connsiteX5" fmla="*/ 10715 w 801290"/>
              <a:gd name="connsiteY5" fmla="*/ 238125 h 990600"/>
              <a:gd name="connsiteX6" fmla="*/ 64690 w 801290"/>
              <a:gd name="connsiteY6" fmla="*/ 273050 h 990600"/>
              <a:gd name="connsiteX7" fmla="*/ 159940 w 801290"/>
              <a:gd name="connsiteY7" fmla="*/ 330200 h 990600"/>
              <a:gd name="connsiteX8" fmla="*/ 236140 w 801290"/>
              <a:gd name="connsiteY8" fmla="*/ 381000 h 990600"/>
              <a:gd name="connsiteX9" fmla="*/ 340915 w 801290"/>
              <a:gd name="connsiteY9" fmla="*/ 415925 h 990600"/>
              <a:gd name="connsiteX10" fmla="*/ 417115 w 801290"/>
              <a:gd name="connsiteY10" fmla="*/ 444500 h 990600"/>
              <a:gd name="connsiteX11" fmla="*/ 474265 w 801290"/>
              <a:gd name="connsiteY11" fmla="*/ 473075 h 990600"/>
              <a:gd name="connsiteX12" fmla="*/ 509190 w 801290"/>
              <a:gd name="connsiteY12" fmla="*/ 488950 h 990600"/>
              <a:gd name="connsiteX13" fmla="*/ 550465 w 801290"/>
              <a:gd name="connsiteY13" fmla="*/ 555625 h 990600"/>
              <a:gd name="connsiteX14" fmla="*/ 594915 w 801290"/>
              <a:gd name="connsiteY14" fmla="*/ 609600 h 990600"/>
              <a:gd name="connsiteX15" fmla="*/ 604440 w 801290"/>
              <a:gd name="connsiteY15" fmla="*/ 644525 h 990600"/>
              <a:gd name="connsiteX16" fmla="*/ 629840 w 801290"/>
              <a:gd name="connsiteY16" fmla="*/ 720725 h 990600"/>
              <a:gd name="connsiteX17" fmla="*/ 629840 w 801290"/>
              <a:gd name="connsiteY17" fmla="*/ 777875 h 990600"/>
              <a:gd name="connsiteX18" fmla="*/ 633015 w 801290"/>
              <a:gd name="connsiteY18" fmla="*/ 847725 h 990600"/>
              <a:gd name="connsiteX19" fmla="*/ 642540 w 801290"/>
              <a:gd name="connsiteY19" fmla="*/ 908050 h 990600"/>
              <a:gd name="connsiteX20" fmla="*/ 636190 w 801290"/>
              <a:gd name="connsiteY20" fmla="*/ 857250 h 990600"/>
              <a:gd name="connsiteX21" fmla="*/ 702865 w 801290"/>
              <a:gd name="connsiteY21" fmla="*/ 866775 h 990600"/>
              <a:gd name="connsiteX22" fmla="*/ 750490 w 801290"/>
              <a:gd name="connsiteY22" fmla="*/ 923925 h 990600"/>
              <a:gd name="connsiteX23" fmla="*/ 801290 w 801290"/>
              <a:gd name="connsiteY23" fmla="*/ 990600 h 99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01290" h="990600">
                <a:moveTo>
                  <a:pt x="102790" y="0"/>
                </a:moveTo>
                <a:cubicBezTo>
                  <a:pt x="83475" y="35983"/>
                  <a:pt x="64161" y="71967"/>
                  <a:pt x="48815" y="92075"/>
                </a:cubicBezTo>
                <a:cubicBezTo>
                  <a:pt x="33469" y="112183"/>
                  <a:pt x="18652" y="108479"/>
                  <a:pt x="10715" y="120650"/>
                </a:cubicBezTo>
                <a:cubicBezTo>
                  <a:pt x="2778" y="132821"/>
                  <a:pt x="2777" y="149754"/>
                  <a:pt x="1190" y="165100"/>
                </a:cubicBezTo>
                <a:cubicBezTo>
                  <a:pt x="-398" y="180446"/>
                  <a:pt x="-397" y="200554"/>
                  <a:pt x="1190" y="212725"/>
                </a:cubicBezTo>
                <a:cubicBezTo>
                  <a:pt x="2777" y="224896"/>
                  <a:pt x="132" y="228071"/>
                  <a:pt x="10715" y="238125"/>
                </a:cubicBezTo>
                <a:cubicBezTo>
                  <a:pt x="21298" y="248179"/>
                  <a:pt x="39819" y="257704"/>
                  <a:pt x="64690" y="273050"/>
                </a:cubicBezTo>
                <a:cubicBezTo>
                  <a:pt x="89561" y="288396"/>
                  <a:pt x="131365" y="312208"/>
                  <a:pt x="159940" y="330200"/>
                </a:cubicBezTo>
                <a:cubicBezTo>
                  <a:pt x="188515" y="348192"/>
                  <a:pt x="205978" y="366713"/>
                  <a:pt x="236140" y="381000"/>
                </a:cubicBezTo>
                <a:cubicBezTo>
                  <a:pt x="266302" y="395287"/>
                  <a:pt x="310753" y="405342"/>
                  <a:pt x="340915" y="415925"/>
                </a:cubicBezTo>
                <a:cubicBezTo>
                  <a:pt x="371078" y="426508"/>
                  <a:pt x="394890" y="434975"/>
                  <a:pt x="417115" y="444500"/>
                </a:cubicBezTo>
                <a:cubicBezTo>
                  <a:pt x="439340" y="454025"/>
                  <a:pt x="458919" y="465667"/>
                  <a:pt x="474265" y="473075"/>
                </a:cubicBezTo>
                <a:cubicBezTo>
                  <a:pt x="489611" y="480483"/>
                  <a:pt x="496490" y="475192"/>
                  <a:pt x="509190" y="488950"/>
                </a:cubicBezTo>
                <a:cubicBezTo>
                  <a:pt x="521890" y="502708"/>
                  <a:pt x="536178" y="535517"/>
                  <a:pt x="550465" y="555625"/>
                </a:cubicBezTo>
                <a:cubicBezTo>
                  <a:pt x="564752" y="575733"/>
                  <a:pt x="585919" y="594783"/>
                  <a:pt x="594915" y="609600"/>
                </a:cubicBezTo>
                <a:cubicBezTo>
                  <a:pt x="603911" y="624417"/>
                  <a:pt x="598619" y="626004"/>
                  <a:pt x="604440" y="644525"/>
                </a:cubicBezTo>
                <a:cubicBezTo>
                  <a:pt x="610261" y="663046"/>
                  <a:pt x="625607" y="698500"/>
                  <a:pt x="629840" y="720725"/>
                </a:cubicBezTo>
                <a:cubicBezTo>
                  <a:pt x="634073" y="742950"/>
                  <a:pt x="629311" y="756708"/>
                  <a:pt x="629840" y="777875"/>
                </a:cubicBezTo>
                <a:cubicBezTo>
                  <a:pt x="630369" y="799042"/>
                  <a:pt x="630898" y="826029"/>
                  <a:pt x="633015" y="847725"/>
                </a:cubicBezTo>
                <a:cubicBezTo>
                  <a:pt x="635132" y="869421"/>
                  <a:pt x="642011" y="906463"/>
                  <a:pt x="642540" y="908050"/>
                </a:cubicBezTo>
                <a:cubicBezTo>
                  <a:pt x="643069" y="909637"/>
                  <a:pt x="626136" y="864129"/>
                  <a:pt x="636190" y="857250"/>
                </a:cubicBezTo>
                <a:cubicBezTo>
                  <a:pt x="646244" y="850371"/>
                  <a:pt x="683815" y="855663"/>
                  <a:pt x="702865" y="866775"/>
                </a:cubicBezTo>
                <a:cubicBezTo>
                  <a:pt x="721915" y="877887"/>
                  <a:pt x="734086" y="903288"/>
                  <a:pt x="750490" y="923925"/>
                </a:cubicBezTo>
                <a:cubicBezTo>
                  <a:pt x="766894" y="944562"/>
                  <a:pt x="784886" y="974725"/>
                  <a:pt x="801290" y="990600"/>
                </a:cubicBezTo>
              </a:path>
            </a:pathLst>
          </a:custGeom>
          <a:ln w="57150">
            <a:solidFill>
              <a:srgbClr val="FF0000"/>
            </a:solidFill>
          </a:ln>
        </p:spPr>
        <p:style>
          <a:lnRef idx="3">
            <a:schemeClr val="accent6"/>
          </a:lnRef>
          <a:fillRef idx="0">
            <a:schemeClr val="accent6"/>
          </a:fillRef>
          <a:effectRef idx="2">
            <a:schemeClr val="accent6"/>
          </a:effectRef>
          <a:fontRef idx="minor">
            <a:schemeClr val="tx1"/>
          </a:fontRef>
        </p:style>
        <p:txBody>
          <a:bodyPr rtlCol="0" anchor="ctr"/>
          <a:lstStyle/>
          <a:p>
            <a:pPr algn="ctr"/>
            <a:endParaRPr lang="it-IT">
              <a:solidFill>
                <a:schemeClr val="tx1"/>
              </a:solidFill>
            </a:endParaRPr>
          </a:p>
        </p:txBody>
      </p:sp>
      <p:sp>
        <p:nvSpPr>
          <p:cNvPr id="48" name="Figura a mano libera 47"/>
          <p:cNvSpPr/>
          <p:nvPr/>
        </p:nvSpPr>
        <p:spPr>
          <a:xfrm>
            <a:off x="1203325" y="3108325"/>
            <a:ext cx="1162050" cy="403843"/>
          </a:xfrm>
          <a:custGeom>
            <a:avLst/>
            <a:gdLst>
              <a:gd name="connsiteX0" fmla="*/ 0 w 1162050"/>
              <a:gd name="connsiteY0" fmla="*/ 0 h 403843"/>
              <a:gd name="connsiteX1" fmla="*/ 41275 w 1162050"/>
              <a:gd name="connsiteY1" fmla="*/ 76200 h 403843"/>
              <a:gd name="connsiteX2" fmla="*/ 136525 w 1162050"/>
              <a:gd name="connsiteY2" fmla="*/ 38100 h 403843"/>
              <a:gd name="connsiteX3" fmla="*/ 228600 w 1162050"/>
              <a:gd name="connsiteY3" fmla="*/ 53975 h 403843"/>
              <a:gd name="connsiteX4" fmla="*/ 333375 w 1162050"/>
              <a:gd name="connsiteY4" fmla="*/ 111125 h 403843"/>
              <a:gd name="connsiteX5" fmla="*/ 434975 w 1162050"/>
              <a:gd name="connsiteY5" fmla="*/ 149225 h 403843"/>
              <a:gd name="connsiteX6" fmla="*/ 504825 w 1162050"/>
              <a:gd name="connsiteY6" fmla="*/ 196850 h 403843"/>
              <a:gd name="connsiteX7" fmla="*/ 533400 w 1162050"/>
              <a:gd name="connsiteY7" fmla="*/ 225425 h 403843"/>
              <a:gd name="connsiteX8" fmla="*/ 539750 w 1162050"/>
              <a:gd name="connsiteY8" fmla="*/ 273050 h 403843"/>
              <a:gd name="connsiteX9" fmla="*/ 615950 w 1162050"/>
              <a:gd name="connsiteY9" fmla="*/ 282575 h 403843"/>
              <a:gd name="connsiteX10" fmla="*/ 701675 w 1162050"/>
              <a:gd name="connsiteY10" fmla="*/ 298450 h 403843"/>
              <a:gd name="connsiteX11" fmla="*/ 765175 w 1162050"/>
              <a:gd name="connsiteY11" fmla="*/ 336550 h 403843"/>
              <a:gd name="connsiteX12" fmla="*/ 828675 w 1162050"/>
              <a:gd name="connsiteY12" fmla="*/ 323850 h 403843"/>
              <a:gd name="connsiteX13" fmla="*/ 895350 w 1162050"/>
              <a:gd name="connsiteY13" fmla="*/ 365125 h 403843"/>
              <a:gd name="connsiteX14" fmla="*/ 996950 w 1162050"/>
              <a:gd name="connsiteY14" fmla="*/ 400050 h 403843"/>
              <a:gd name="connsiteX15" fmla="*/ 1041400 w 1162050"/>
              <a:gd name="connsiteY15" fmla="*/ 400050 h 403843"/>
              <a:gd name="connsiteX16" fmla="*/ 1162050 w 1162050"/>
              <a:gd name="connsiteY16" fmla="*/ 374650 h 403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62050" h="403843">
                <a:moveTo>
                  <a:pt x="0" y="0"/>
                </a:moveTo>
                <a:cubicBezTo>
                  <a:pt x="9260" y="34925"/>
                  <a:pt x="18521" y="69850"/>
                  <a:pt x="41275" y="76200"/>
                </a:cubicBezTo>
                <a:cubicBezTo>
                  <a:pt x="64029" y="82550"/>
                  <a:pt x="105304" y="41804"/>
                  <a:pt x="136525" y="38100"/>
                </a:cubicBezTo>
                <a:cubicBezTo>
                  <a:pt x="167746" y="34396"/>
                  <a:pt x="195792" y="41804"/>
                  <a:pt x="228600" y="53975"/>
                </a:cubicBezTo>
                <a:cubicBezTo>
                  <a:pt x="261408" y="66146"/>
                  <a:pt x="298979" y="95250"/>
                  <a:pt x="333375" y="111125"/>
                </a:cubicBezTo>
                <a:cubicBezTo>
                  <a:pt x="367771" y="127000"/>
                  <a:pt x="406400" y="134938"/>
                  <a:pt x="434975" y="149225"/>
                </a:cubicBezTo>
                <a:cubicBezTo>
                  <a:pt x="463550" y="163512"/>
                  <a:pt x="488421" y="184150"/>
                  <a:pt x="504825" y="196850"/>
                </a:cubicBezTo>
                <a:cubicBezTo>
                  <a:pt x="521229" y="209550"/>
                  <a:pt x="527579" y="212725"/>
                  <a:pt x="533400" y="225425"/>
                </a:cubicBezTo>
                <a:cubicBezTo>
                  <a:pt x="539221" y="238125"/>
                  <a:pt x="525992" y="263525"/>
                  <a:pt x="539750" y="273050"/>
                </a:cubicBezTo>
                <a:cubicBezTo>
                  <a:pt x="553508" y="282575"/>
                  <a:pt x="588963" y="278342"/>
                  <a:pt x="615950" y="282575"/>
                </a:cubicBezTo>
                <a:cubicBezTo>
                  <a:pt x="642938" y="286808"/>
                  <a:pt x="676804" y="289454"/>
                  <a:pt x="701675" y="298450"/>
                </a:cubicBezTo>
                <a:cubicBezTo>
                  <a:pt x="726546" y="307446"/>
                  <a:pt x="744008" y="332317"/>
                  <a:pt x="765175" y="336550"/>
                </a:cubicBezTo>
                <a:cubicBezTo>
                  <a:pt x="786342" y="340783"/>
                  <a:pt x="806979" y="319088"/>
                  <a:pt x="828675" y="323850"/>
                </a:cubicBezTo>
                <a:cubicBezTo>
                  <a:pt x="850371" y="328612"/>
                  <a:pt x="867304" y="352425"/>
                  <a:pt x="895350" y="365125"/>
                </a:cubicBezTo>
                <a:cubicBezTo>
                  <a:pt x="923396" y="377825"/>
                  <a:pt x="972608" y="394229"/>
                  <a:pt x="996950" y="400050"/>
                </a:cubicBezTo>
                <a:cubicBezTo>
                  <a:pt x="1021292" y="405871"/>
                  <a:pt x="1013883" y="404283"/>
                  <a:pt x="1041400" y="400050"/>
                </a:cubicBezTo>
                <a:cubicBezTo>
                  <a:pt x="1068917" y="395817"/>
                  <a:pt x="1133475" y="375179"/>
                  <a:pt x="1162050" y="374650"/>
                </a:cubicBezTo>
              </a:path>
            </a:pathLst>
          </a:custGeom>
          <a:ln w="57150">
            <a:solidFill>
              <a:srgbClr val="92D050"/>
            </a:solidFill>
          </a:ln>
        </p:spPr>
        <p:style>
          <a:lnRef idx="3">
            <a:schemeClr val="accent6"/>
          </a:lnRef>
          <a:fillRef idx="0">
            <a:schemeClr val="accent6"/>
          </a:fillRef>
          <a:effectRef idx="2">
            <a:schemeClr val="accent6"/>
          </a:effectRef>
          <a:fontRef idx="minor">
            <a:schemeClr val="tx1"/>
          </a:fontRef>
        </p:style>
        <p:txBody>
          <a:bodyPr rtlCol="0" anchor="ctr"/>
          <a:lstStyle/>
          <a:p>
            <a:pPr algn="ctr"/>
            <a:endParaRPr lang="it-IT">
              <a:solidFill>
                <a:schemeClr val="tx1"/>
              </a:solidFill>
            </a:endParaRPr>
          </a:p>
        </p:txBody>
      </p:sp>
      <p:sp>
        <p:nvSpPr>
          <p:cNvPr id="49" name="Figura a mano libera 48"/>
          <p:cNvSpPr/>
          <p:nvPr/>
        </p:nvSpPr>
        <p:spPr>
          <a:xfrm>
            <a:off x="1123950" y="1333500"/>
            <a:ext cx="571500" cy="860425"/>
          </a:xfrm>
          <a:custGeom>
            <a:avLst/>
            <a:gdLst>
              <a:gd name="connsiteX0" fmla="*/ 0 w 571500"/>
              <a:gd name="connsiteY0" fmla="*/ 0 h 860425"/>
              <a:gd name="connsiteX1" fmla="*/ 44450 w 571500"/>
              <a:gd name="connsiteY1" fmla="*/ 53975 h 860425"/>
              <a:gd name="connsiteX2" fmla="*/ 92075 w 571500"/>
              <a:gd name="connsiteY2" fmla="*/ 73025 h 860425"/>
              <a:gd name="connsiteX3" fmla="*/ 104775 w 571500"/>
              <a:gd name="connsiteY3" fmla="*/ 111125 h 860425"/>
              <a:gd name="connsiteX4" fmla="*/ 117475 w 571500"/>
              <a:gd name="connsiteY4" fmla="*/ 142875 h 860425"/>
              <a:gd name="connsiteX5" fmla="*/ 139700 w 571500"/>
              <a:gd name="connsiteY5" fmla="*/ 152400 h 860425"/>
              <a:gd name="connsiteX6" fmla="*/ 168275 w 571500"/>
              <a:gd name="connsiteY6" fmla="*/ 222250 h 860425"/>
              <a:gd name="connsiteX7" fmla="*/ 203200 w 571500"/>
              <a:gd name="connsiteY7" fmla="*/ 269875 h 860425"/>
              <a:gd name="connsiteX8" fmla="*/ 212725 w 571500"/>
              <a:gd name="connsiteY8" fmla="*/ 304800 h 860425"/>
              <a:gd name="connsiteX9" fmla="*/ 203200 w 571500"/>
              <a:gd name="connsiteY9" fmla="*/ 339725 h 860425"/>
              <a:gd name="connsiteX10" fmla="*/ 263525 w 571500"/>
              <a:gd name="connsiteY10" fmla="*/ 358775 h 860425"/>
              <a:gd name="connsiteX11" fmla="*/ 346075 w 571500"/>
              <a:gd name="connsiteY11" fmla="*/ 384175 h 860425"/>
              <a:gd name="connsiteX12" fmla="*/ 368300 w 571500"/>
              <a:gd name="connsiteY12" fmla="*/ 412750 h 860425"/>
              <a:gd name="connsiteX13" fmla="*/ 377825 w 571500"/>
              <a:gd name="connsiteY13" fmla="*/ 447675 h 860425"/>
              <a:gd name="connsiteX14" fmla="*/ 377825 w 571500"/>
              <a:gd name="connsiteY14" fmla="*/ 485775 h 860425"/>
              <a:gd name="connsiteX15" fmla="*/ 390525 w 571500"/>
              <a:gd name="connsiteY15" fmla="*/ 514350 h 860425"/>
              <a:gd name="connsiteX16" fmla="*/ 384175 w 571500"/>
              <a:gd name="connsiteY16" fmla="*/ 561975 h 860425"/>
              <a:gd name="connsiteX17" fmla="*/ 400050 w 571500"/>
              <a:gd name="connsiteY17" fmla="*/ 590550 h 860425"/>
              <a:gd name="connsiteX18" fmla="*/ 444500 w 571500"/>
              <a:gd name="connsiteY18" fmla="*/ 600075 h 860425"/>
              <a:gd name="connsiteX19" fmla="*/ 463550 w 571500"/>
              <a:gd name="connsiteY19" fmla="*/ 625475 h 860425"/>
              <a:gd name="connsiteX20" fmla="*/ 485775 w 571500"/>
              <a:gd name="connsiteY20" fmla="*/ 635000 h 860425"/>
              <a:gd name="connsiteX21" fmla="*/ 476250 w 571500"/>
              <a:gd name="connsiteY21" fmla="*/ 669925 h 860425"/>
              <a:gd name="connsiteX22" fmla="*/ 498475 w 571500"/>
              <a:gd name="connsiteY22" fmla="*/ 727075 h 860425"/>
              <a:gd name="connsiteX23" fmla="*/ 571500 w 571500"/>
              <a:gd name="connsiteY23" fmla="*/ 860425 h 860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1500" h="860425">
                <a:moveTo>
                  <a:pt x="0" y="0"/>
                </a:moveTo>
                <a:cubicBezTo>
                  <a:pt x="14552" y="20902"/>
                  <a:pt x="29104" y="41804"/>
                  <a:pt x="44450" y="53975"/>
                </a:cubicBezTo>
                <a:cubicBezTo>
                  <a:pt x="59796" y="66146"/>
                  <a:pt x="82021" y="63500"/>
                  <a:pt x="92075" y="73025"/>
                </a:cubicBezTo>
                <a:cubicBezTo>
                  <a:pt x="102129" y="82550"/>
                  <a:pt x="100542" y="99483"/>
                  <a:pt x="104775" y="111125"/>
                </a:cubicBezTo>
                <a:cubicBezTo>
                  <a:pt x="109008" y="122767"/>
                  <a:pt x="111654" y="135996"/>
                  <a:pt x="117475" y="142875"/>
                </a:cubicBezTo>
                <a:cubicBezTo>
                  <a:pt x="123296" y="149754"/>
                  <a:pt x="131233" y="139171"/>
                  <a:pt x="139700" y="152400"/>
                </a:cubicBezTo>
                <a:cubicBezTo>
                  <a:pt x="148167" y="165629"/>
                  <a:pt x="157692" y="202671"/>
                  <a:pt x="168275" y="222250"/>
                </a:cubicBezTo>
                <a:cubicBezTo>
                  <a:pt x="178858" y="241829"/>
                  <a:pt x="195792" y="256117"/>
                  <a:pt x="203200" y="269875"/>
                </a:cubicBezTo>
                <a:cubicBezTo>
                  <a:pt x="210608" y="283633"/>
                  <a:pt x="212725" y="293158"/>
                  <a:pt x="212725" y="304800"/>
                </a:cubicBezTo>
                <a:cubicBezTo>
                  <a:pt x="212725" y="316442"/>
                  <a:pt x="194733" y="330729"/>
                  <a:pt x="203200" y="339725"/>
                </a:cubicBezTo>
                <a:cubicBezTo>
                  <a:pt x="211667" y="348721"/>
                  <a:pt x="263525" y="358775"/>
                  <a:pt x="263525" y="358775"/>
                </a:cubicBezTo>
                <a:cubicBezTo>
                  <a:pt x="287338" y="366183"/>
                  <a:pt x="328613" y="375179"/>
                  <a:pt x="346075" y="384175"/>
                </a:cubicBezTo>
                <a:cubicBezTo>
                  <a:pt x="363538" y="393171"/>
                  <a:pt x="363008" y="402167"/>
                  <a:pt x="368300" y="412750"/>
                </a:cubicBezTo>
                <a:cubicBezTo>
                  <a:pt x="373592" y="423333"/>
                  <a:pt x="376238" y="435504"/>
                  <a:pt x="377825" y="447675"/>
                </a:cubicBezTo>
                <a:cubicBezTo>
                  <a:pt x="379412" y="459846"/>
                  <a:pt x="375708" y="474663"/>
                  <a:pt x="377825" y="485775"/>
                </a:cubicBezTo>
                <a:cubicBezTo>
                  <a:pt x="379942" y="496887"/>
                  <a:pt x="389467" y="501650"/>
                  <a:pt x="390525" y="514350"/>
                </a:cubicBezTo>
                <a:cubicBezTo>
                  <a:pt x="391583" y="527050"/>
                  <a:pt x="382588" y="549275"/>
                  <a:pt x="384175" y="561975"/>
                </a:cubicBezTo>
                <a:cubicBezTo>
                  <a:pt x="385762" y="574675"/>
                  <a:pt x="389996" y="584200"/>
                  <a:pt x="400050" y="590550"/>
                </a:cubicBezTo>
                <a:cubicBezTo>
                  <a:pt x="410104" y="596900"/>
                  <a:pt x="433917" y="594254"/>
                  <a:pt x="444500" y="600075"/>
                </a:cubicBezTo>
                <a:cubicBezTo>
                  <a:pt x="455083" y="605896"/>
                  <a:pt x="456671" y="619654"/>
                  <a:pt x="463550" y="625475"/>
                </a:cubicBezTo>
                <a:cubicBezTo>
                  <a:pt x="470429" y="631296"/>
                  <a:pt x="483658" y="627592"/>
                  <a:pt x="485775" y="635000"/>
                </a:cubicBezTo>
                <a:cubicBezTo>
                  <a:pt x="487892" y="642408"/>
                  <a:pt x="474133" y="654579"/>
                  <a:pt x="476250" y="669925"/>
                </a:cubicBezTo>
                <a:cubicBezTo>
                  <a:pt x="478367" y="685271"/>
                  <a:pt x="482600" y="695325"/>
                  <a:pt x="498475" y="727075"/>
                </a:cubicBezTo>
                <a:cubicBezTo>
                  <a:pt x="514350" y="758825"/>
                  <a:pt x="551392" y="836613"/>
                  <a:pt x="571500" y="860425"/>
                </a:cubicBezTo>
              </a:path>
            </a:pathLst>
          </a:custGeom>
          <a:ln w="57150">
            <a:solidFill>
              <a:srgbClr val="FF0000"/>
            </a:solidFill>
          </a:ln>
        </p:spPr>
        <p:style>
          <a:lnRef idx="3">
            <a:schemeClr val="accent6"/>
          </a:lnRef>
          <a:fillRef idx="0">
            <a:schemeClr val="accent6"/>
          </a:fillRef>
          <a:effectRef idx="2">
            <a:schemeClr val="accent6"/>
          </a:effectRef>
          <a:fontRef idx="minor">
            <a:schemeClr val="tx1"/>
          </a:fontRef>
        </p:style>
        <p:txBody>
          <a:bodyPr rtlCol="0" anchor="ctr"/>
          <a:lstStyle/>
          <a:p>
            <a:pPr algn="ctr"/>
            <a:endParaRPr lang="it-IT">
              <a:solidFill>
                <a:schemeClr val="tx1"/>
              </a:solidFill>
            </a:endParaRPr>
          </a:p>
        </p:txBody>
      </p:sp>
      <p:sp>
        <p:nvSpPr>
          <p:cNvPr id="50" name="Figura a mano libera 49"/>
          <p:cNvSpPr/>
          <p:nvPr/>
        </p:nvSpPr>
        <p:spPr>
          <a:xfrm>
            <a:off x="520700" y="2282825"/>
            <a:ext cx="482600" cy="333375"/>
          </a:xfrm>
          <a:custGeom>
            <a:avLst/>
            <a:gdLst>
              <a:gd name="connsiteX0" fmla="*/ 0 w 482600"/>
              <a:gd name="connsiteY0" fmla="*/ 0 h 333375"/>
              <a:gd name="connsiteX1" fmla="*/ 120650 w 482600"/>
              <a:gd name="connsiteY1" fmla="*/ 44450 h 333375"/>
              <a:gd name="connsiteX2" fmla="*/ 174625 w 482600"/>
              <a:gd name="connsiteY2" fmla="*/ 85725 h 333375"/>
              <a:gd name="connsiteX3" fmla="*/ 298450 w 482600"/>
              <a:gd name="connsiteY3" fmla="*/ 168275 h 333375"/>
              <a:gd name="connsiteX4" fmla="*/ 355600 w 482600"/>
              <a:gd name="connsiteY4" fmla="*/ 247650 h 333375"/>
              <a:gd name="connsiteX5" fmla="*/ 482600 w 482600"/>
              <a:gd name="connsiteY5" fmla="*/ 333375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2600" h="333375">
                <a:moveTo>
                  <a:pt x="0" y="0"/>
                </a:moveTo>
                <a:cubicBezTo>
                  <a:pt x="45773" y="15081"/>
                  <a:pt x="91546" y="30163"/>
                  <a:pt x="120650" y="44450"/>
                </a:cubicBezTo>
                <a:cubicBezTo>
                  <a:pt x="149754" y="58737"/>
                  <a:pt x="144992" y="65088"/>
                  <a:pt x="174625" y="85725"/>
                </a:cubicBezTo>
                <a:cubicBezTo>
                  <a:pt x="204258" y="106362"/>
                  <a:pt x="268288" y="141288"/>
                  <a:pt x="298450" y="168275"/>
                </a:cubicBezTo>
                <a:cubicBezTo>
                  <a:pt x="328613" y="195263"/>
                  <a:pt x="324908" y="220133"/>
                  <a:pt x="355600" y="247650"/>
                </a:cubicBezTo>
                <a:cubicBezTo>
                  <a:pt x="386292" y="275167"/>
                  <a:pt x="455083" y="314325"/>
                  <a:pt x="482600" y="333375"/>
                </a:cubicBezTo>
              </a:path>
            </a:pathLst>
          </a:custGeom>
          <a:ln w="57150">
            <a:solidFill>
              <a:srgbClr val="FF0000"/>
            </a:solidFill>
          </a:ln>
        </p:spPr>
        <p:style>
          <a:lnRef idx="3">
            <a:schemeClr val="accent6"/>
          </a:lnRef>
          <a:fillRef idx="0">
            <a:schemeClr val="accent6"/>
          </a:fillRef>
          <a:effectRef idx="2">
            <a:schemeClr val="accent6"/>
          </a:effectRef>
          <a:fontRef idx="minor">
            <a:schemeClr val="tx1"/>
          </a:fontRef>
        </p:style>
        <p:txBody>
          <a:bodyPr rtlCol="0" anchor="ctr"/>
          <a:lstStyle/>
          <a:p>
            <a:pPr algn="ctr"/>
            <a:endParaRPr lang="it-IT">
              <a:solidFill>
                <a:schemeClr val="tx1"/>
              </a:solidFill>
            </a:endParaRPr>
          </a:p>
        </p:txBody>
      </p:sp>
      <p:sp>
        <p:nvSpPr>
          <p:cNvPr id="37" name="Shape 455"/>
          <p:cNvSpPr/>
          <p:nvPr/>
        </p:nvSpPr>
        <p:spPr>
          <a:xfrm>
            <a:off x="5981176" y="857377"/>
            <a:ext cx="1667466" cy="1668525"/>
          </a:xfrm>
          <a:prstGeom prst="ellipse">
            <a:avLst/>
          </a:prstGeom>
          <a:solidFill>
            <a:srgbClr val="DC002E"/>
          </a:solidFill>
          <a:ln w="85725" cap="flat">
            <a:solidFill>
              <a:schemeClr val="bg1"/>
            </a:solidFill>
            <a:prstDash val="solid"/>
            <a:miter lim="400000"/>
          </a:ln>
          <a:effectLst>
            <a:outerShdw blurRad="50800" dist="38100" dir="2700000" algn="tl" rotWithShape="0">
              <a:prstClr val="black">
                <a:alpha val="40000"/>
              </a:prstClr>
            </a:outerShdw>
          </a:effectLst>
        </p:spPr>
        <p:txBody>
          <a:bodyPr wrap="none" lIns="0" tIns="162000" rIns="0" bIns="0" numCol="1" anchor="ctr">
            <a:noAutofit/>
          </a:bodyPr>
          <a:lstStyle/>
          <a:p>
            <a:pPr algn="ctr">
              <a:lnSpc>
                <a:spcPts val="2400"/>
              </a:lnSpc>
              <a:defRPr sz="3000" b="1">
                <a:solidFill>
                  <a:srgbClr val="1C4598"/>
                </a:solidFill>
                <a:latin typeface="Arial"/>
                <a:ea typeface="Arial"/>
                <a:cs typeface="Arial"/>
                <a:sym typeface="Arial"/>
              </a:defRPr>
            </a:pPr>
            <a:r>
              <a:rPr lang="it-IT" sz="4000" spc="180" dirty="0">
                <a:solidFill>
                  <a:schemeClr val="bg1"/>
                </a:solidFill>
                <a:latin typeface="Calibri" panose="020F0502020204030204" pitchFamily="34" charset="0"/>
              </a:rPr>
              <a:t>1.228</a:t>
            </a:r>
            <a:endParaRPr lang="it-IT" sz="2400" spc="180" dirty="0">
              <a:solidFill>
                <a:schemeClr val="bg1"/>
              </a:solidFill>
              <a:latin typeface="Calibri" panose="020F0502020204030204" pitchFamily="34" charset="0"/>
            </a:endParaRPr>
          </a:p>
          <a:p>
            <a:pPr algn="ctr">
              <a:lnSpc>
                <a:spcPts val="2400"/>
              </a:lnSpc>
              <a:defRPr sz="3000" b="1">
                <a:solidFill>
                  <a:srgbClr val="1C4598"/>
                </a:solidFill>
                <a:latin typeface="Arial"/>
                <a:ea typeface="Arial"/>
                <a:cs typeface="Arial"/>
                <a:sym typeface="Arial"/>
              </a:defRPr>
            </a:pPr>
            <a:r>
              <a:rPr lang="it-IT" sz="2600" spc="180" dirty="0">
                <a:solidFill>
                  <a:schemeClr val="bg1"/>
                </a:solidFill>
                <a:latin typeface="Calibri" panose="020F0502020204030204" pitchFamily="34" charset="0"/>
              </a:rPr>
              <a:t>KM</a:t>
            </a:r>
            <a:endParaRPr sz="2600" spc="180" dirty="0">
              <a:solidFill>
                <a:schemeClr val="bg1"/>
              </a:solidFill>
              <a:latin typeface="Calibri" panose="020F0502020204030204" pitchFamily="34" charset="0"/>
            </a:endParaRPr>
          </a:p>
        </p:txBody>
      </p:sp>
      <p:grpSp>
        <p:nvGrpSpPr>
          <p:cNvPr id="52" name="Gruppo 51"/>
          <p:cNvGrpSpPr/>
          <p:nvPr/>
        </p:nvGrpSpPr>
        <p:grpSpPr>
          <a:xfrm rot="5400000">
            <a:off x="6614615" y="2721901"/>
            <a:ext cx="525263" cy="426892"/>
            <a:chOff x="4377288" y="1865863"/>
            <a:chExt cx="982039" cy="657777"/>
          </a:xfrm>
          <a:solidFill>
            <a:srgbClr val="FFE600"/>
          </a:solidFill>
        </p:grpSpPr>
        <p:sp>
          <p:nvSpPr>
            <p:cNvPr id="53" name="Shape 8905"/>
            <p:cNvSpPr/>
            <p:nvPr/>
          </p:nvSpPr>
          <p:spPr>
            <a:xfrm rot="16200000">
              <a:off x="4300385" y="1942766"/>
              <a:ext cx="657704" cy="50389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600" y="14040"/>
                  </a:lnTo>
                  <a:lnTo>
                    <a:pt x="10800" y="21600"/>
                  </a:lnTo>
                  <a:lnTo>
                    <a:pt x="0" y="14040"/>
                  </a:lnTo>
                  <a:lnTo>
                    <a:pt x="0" y="0"/>
                  </a:lnTo>
                  <a:lnTo>
                    <a:pt x="10800" y="7560"/>
                  </a:lnTo>
                  <a:lnTo>
                    <a:pt x="21600" y="0"/>
                  </a:lnTo>
                  <a:close/>
                </a:path>
              </a:pathLst>
            </a:custGeom>
            <a:solidFill>
              <a:srgbClr val="006666"/>
            </a:solidFill>
            <a:ln w="25400" cap="flat">
              <a:noFill/>
              <a:prstDash val="solid"/>
              <a:round/>
            </a:ln>
            <a:effectLst/>
          </p:spPr>
          <p:txBody>
            <a:bodyPr wrap="square" lIns="0" tIns="0" rIns="0" bIns="0" numCol="1" anchor="ctr">
              <a:noAutofit/>
            </a:bodyPr>
            <a:lstStyle/>
            <a:p>
              <a:pPr algn="ctr" defTabSz="948219">
                <a:lnSpc>
                  <a:spcPct val="90000"/>
                </a:lnSpc>
                <a:spcBef>
                  <a:spcPts val="1244"/>
                </a:spcBef>
                <a:defRPr sz="1200" b="1">
                  <a:solidFill>
                    <a:srgbClr val="FFFFFF"/>
                  </a:solidFill>
                  <a:uFill>
                    <a:solidFill>
                      <a:srgbClr val="FFFFFF"/>
                    </a:solidFill>
                  </a:uFill>
                  <a:latin typeface="Lato Black"/>
                  <a:ea typeface="Lato Black"/>
                  <a:cs typeface="Lato Black"/>
                  <a:sym typeface="Lato Black"/>
                </a:defRPr>
              </a:pPr>
              <a:endParaRPr sz="2133">
                <a:solidFill>
                  <a:srgbClr val="003DA5"/>
                </a:solidFill>
                <a:latin typeface="Calibri" panose="020F0502020204030204" pitchFamily="34" charset="0"/>
              </a:endParaRPr>
            </a:p>
          </p:txBody>
        </p:sp>
        <p:sp>
          <p:nvSpPr>
            <p:cNvPr id="54" name="Shape 8905"/>
            <p:cNvSpPr/>
            <p:nvPr/>
          </p:nvSpPr>
          <p:spPr>
            <a:xfrm rot="16200000">
              <a:off x="4778527" y="1942839"/>
              <a:ext cx="657704" cy="50389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600" y="14040"/>
                  </a:lnTo>
                  <a:lnTo>
                    <a:pt x="10800" y="21600"/>
                  </a:lnTo>
                  <a:lnTo>
                    <a:pt x="0" y="14040"/>
                  </a:lnTo>
                  <a:lnTo>
                    <a:pt x="0" y="0"/>
                  </a:lnTo>
                  <a:lnTo>
                    <a:pt x="10800" y="7560"/>
                  </a:lnTo>
                  <a:lnTo>
                    <a:pt x="21600" y="0"/>
                  </a:lnTo>
                  <a:close/>
                </a:path>
              </a:pathLst>
            </a:custGeom>
            <a:solidFill>
              <a:srgbClr val="DC002E"/>
            </a:solidFill>
            <a:ln w="25400" cap="flat">
              <a:noFill/>
              <a:prstDash val="solid"/>
              <a:round/>
            </a:ln>
            <a:effectLst/>
          </p:spPr>
          <p:txBody>
            <a:bodyPr wrap="square" lIns="0" tIns="0" rIns="0" bIns="0" numCol="1" anchor="ctr">
              <a:noAutofit/>
            </a:bodyPr>
            <a:lstStyle/>
            <a:p>
              <a:pPr algn="ctr" defTabSz="948219">
                <a:lnSpc>
                  <a:spcPct val="90000"/>
                </a:lnSpc>
                <a:spcBef>
                  <a:spcPts val="1244"/>
                </a:spcBef>
                <a:defRPr sz="1200" b="1">
                  <a:solidFill>
                    <a:srgbClr val="FFFFFF"/>
                  </a:solidFill>
                  <a:uFill>
                    <a:solidFill>
                      <a:srgbClr val="FFFFFF"/>
                    </a:solidFill>
                  </a:uFill>
                  <a:latin typeface="Lato Black"/>
                  <a:ea typeface="Lato Black"/>
                  <a:cs typeface="Lato Black"/>
                  <a:sym typeface="Lato Black"/>
                </a:defRPr>
              </a:pPr>
              <a:endParaRPr sz="2133">
                <a:solidFill>
                  <a:srgbClr val="003DA5"/>
                </a:solidFill>
                <a:latin typeface="Calibri" panose="020F0502020204030204" pitchFamily="34" charset="0"/>
              </a:endParaRPr>
            </a:p>
          </p:txBody>
        </p:sp>
      </p:grpSp>
      <p:graphicFrame>
        <p:nvGraphicFramePr>
          <p:cNvPr id="55" name="Diagramma 54"/>
          <p:cNvGraphicFramePr/>
          <p:nvPr>
            <p:extLst>
              <p:ext uri="{D42A27DB-BD31-4B8C-83A1-F6EECF244321}">
                <p14:modId xmlns:p14="http://schemas.microsoft.com/office/powerpoint/2010/main" val="644697345"/>
              </p:ext>
            </p:extLst>
          </p:nvPr>
        </p:nvGraphicFramePr>
        <p:xfrm>
          <a:off x="134978" y="16679"/>
          <a:ext cx="8286246" cy="81167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689694111"/>
      </p:ext>
    </p:extLst>
  </p:cSld>
  <p:clrMapOvr>
    <a:masterClrMapping/>
  </p:clrMapOvr>
  <p:transition spd="slow">
    <p:wip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305526" y="442447"/>
            <a:ext cx="8382465" cy="370487"/>
          </a:xfrm>
        </p:spPr>
        <p:txBody>
          <a:bodyPr/>
          <a:lstStyle/>
          <a:p>
            <a:r>
              <a:rPr lang="it-IT" dirty="0">
                <a:solidFill>
                  <a:srgbClr val="DC002E"/>
                </a:solidFill>
              </a:rPr>
              <a:t>Progettazioni </a:t>
            </a:r>
            <a:r>
              <a:rPr lang="it-IT" dirty="0"/>
              <a:t>Nuove Opere - </a:t>
            </a:r>
            <a:r>
              <a:rPr lang="it-IT" sz="1650" i="1" dirty="0"/>
              <a:t>Inserite nel </a:t>
            </a:r>
            <a:r>
              <a:rPr lang="it-IT" sz="1650" i="1" dirty="0" err="1"/>
              <a:t>CdP</a:t>
            </a:r>
            <a:r>
              <a:rPr lang="it-IT" sz="1650" i="1" dirty="0"/>
              <a:t> 2016-2020</a:t>
            </a:r>
            <a:br>
              <a:rPr lang="it-IT" sz="1500" i="1" dirty="0"/>
            </a:br>
            <a:r>
              <a:rPr lang="it-IT" sz="1350" i="1" dirty="0"/>
              <a:t>Rimodulazione Approvata dal CIPE nella seduta del 24 luglio 2019</a:t>
            </a:r>
          </a:p>
        </p:txBody>
      </p:sp>
      <p:graphicFrame>
        <p:nvGraphicFramePr>
          <p:cNvPr id="4" name="Tabella 3"/>
          <p:cNvGraphicFramePr>
            <a:graphicFrameLocks noGrp="1"/>
          </p:cNvGraphicFramePr>
          <p:nvPr>
            <p:extLst>
              <p:ext uri="{D42A27DB-BD31-4B8C-83A1-F6EECF244321}">
                <p14:modId xmlns:p14="http://schemas.microsoft.com/office/powerpoint/2010/main" val="46114359"/>
              </p:ext>
            </p:extLst>
          </p:nvPr>
        </p:nvGraphicFramePr>
        <p:xfrm>
          <a:off x="152399" y="868679"/>
          <a:ext cx="8228078" cy="4686300"/>
        </p:xfrm>
        <a:graphic>
          <a:graphicData uri="http://schemas.openxmlformats.org/drawingml/2006/table">
            <a:tbl>
              <a:tblPr firstRow="1" bandRow="1">
                <a:tableStyleId>{69012ECD-51FC-41F1-AA8D-1B2483CD663E}</a:tableStyleId>
              </a:tblPr>
              <a:tblGrid>
                <a:gridCol w="282664">
                  <a:extLst>
                    <a:ext uri="{9D8B030D-6E8A-4147-A177-3AD203B41FA5}">
                      <a16:colId xmlns:a16="http://schemas.microsoft.com/office/drawing/2014/main" val="1558833783"/>
                    </a:ext>
                  </a:extLst>
                </a:gridCol>
                <a:gridCol w="796638">
                  <a:extLst>
                    <a:ext uri="{9D8B030D-6E8A-4147-A177-3AD203B41FA5}">
                      <a16:colId xmlns:a16="http://schemas.microsoft.com/office/drawing/2014/main" val="1626167920"/>
                    </a:ext>
                  </a:extLst>
                </a:gridCol>
                <a:gridCol w="1111100">
                  <a:extLst>
                    <a:ext uri="{9D8B030D-6E8A-4147-A177-3AD203B41FA5}">
                      <a16:colId xmlns:a16="http://schemas.microsoft.com/office/drawing/2014/main" val="967363192"/>
                    </a:ext>
                  </a:extLst>
                </a:gridCol>
                <a:gridCol w="1077375">
                  <a:extLst>
                    <a:ext uri="{9D8B030D-6E8A-4147-A177-3AD203B41FA5}">
                      <a16:colId xmlns:a16="http://schemas.microsoft.com/office/drawing/2014/main" val="2536182727"/>
                    </a:ext>
                  </a:extLst>
                </a:gridCol>
                <a:gridCol w="930844">
                  <a:extLst>
                    <a:ext uri="{9D8B030D-6E8A-4147-A177-3AD203B41FA5}">
                      <a16:colId xmlns:a16="http://schemas.microsoft.com/office/drawing/2014/main" val="530699571"/>
                    </a:ext>
                  </a:extLst>
                </a:gridCol>
                <a:gridCol w="4029457">
                  <a:extLst>
                    <a:ext uri="{9D8B030D-6E8A-4147-A177-3AD203B41FA5}">
                      <a16:colId xmlns:a16="http://schemas.microsoft.com/office/drawing/2014/main" val="2040920020"/>
                    </a:ext>
                  </a:extLst>
                </a:gridCol>
              </a:tblGrid>
              <a:tr h="393185">
                <a:tc>
                  <a:txBody>
                    <a:bodyPr/>
                    <a:lstStyle/>
                    <a:p>
                      <a:r>
                        <a:rPr lang="it-IT" sz="1100" dirty="0"/>
                        <a:t>N°</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it-IT" sz="1100" dirty="0"/>
                        <a:t>Strada</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it-IT" sz="1100" dirty="0"/>
                        <a:t>Titolo intervento</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it-IT" sz="1100" dirty="0"/>
                        <a:t>Importo Mln€</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it-IT" sz="1100" dirty="0" err="1"/>
                        <a:t>Appaltabilità</a:t>
                      </a:r>
                      <a:endParaRPr lang="it-IT" sz="1100" dirty="0"/>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it-IT" sz="1100" dirty="0"/>
                        <a:t>Note</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80396517"/>
                  </a:ext>
                </a:extLst>
              </a:tr>
              <a:tr h="1609831">
                <a:tc>
                  <a:txBody>
                    <a:bodyPr/>
                    <a:lstStyle/>
                    <a:p>
                      <a:pPr algn="ctr"/>
                      <a:r>
                        <a:rPr lang="it-IT" sz="800" b="0" dirty="0"/>
                        <a:t>1</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it-IT" sz="800" b="1" kern="1200" dirty="0">
                          <a:solidFill>
                            <a:schemeClr val="tx1"/>
                          </a:solidFill>
                          <a:latin typeface="+mn-lt"/>
                          <a:ea typeface="+mn-ea"/>
                          <a:cs typeface="+mn-cs"/>
                        </a:rPr>
                        <a:t>S.S.7 </a:t>
                      </a:r>
                    </a:p>
                    <a:p>
                      <a:pPr marL="0" marR="0" indent="0" algn="l" defTabSz="914400" rtl="0" eaLnBrk="1" fontAlgn="auto" latinLnBrk="0" hangingPunct="1">
                        <a:lnSpc>
                          <a:spcPct val="100000"/>
                        </a:lnSpc>
                        <a:spcBef>
                          <a:spcPts val="0"/>
                        </a:spcBef>
                        <a:spcAft>
                          <a:spcPts val="0"/>
                        </a:spcAft>
                        <a:buClrTx/>
                        <a:buSzTx/>
                        <a:buFontTx/>
                        <a:buNone/>
                        <a:tabLst/>
                        <a:defRPr/>
                      </a:pPr>
                      <a:r>
                        <a:rPr lang="it-IT" sz="800" b="0" kern="1200" dirty="0">
                          <a:solidFill>
                            <a:schemeClr val="tx1"/>
                          </a:solidFill>
                          <a:latin typeface="+mn-lt"/>
                          <a:ea typeface="+mn-ea"/>
                          <a:cs typeface="+mn-cs"/>
                        </a:rPr>
                        <a:t>Via Appia</a:t>
                      </a:r>
                      <a:endParaRPr lang="it-IT" sz="800" b="0" dirty="0"/>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it-IT" sz="800" b="0" kern="1200" dirty="0">
                          <a:solidFill>
                            <a:schemeClr val="tx1"/>
                          </a:solidFill>
                          <a:latin typeface="+mn-lt"/>
                          <a:ea typeface="+mn-ea"/>
                          <a:cs typeface="+mn-cs"/>
                        </a:rPr>
                        <a:t>Lavori per l'eliminazione di una strettoia in curva e dossi su un cavalcavia ferroviario al km 109+900</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800" b="1" kern="1200" dirty="0">
                          <a:solidFill>
                            <a:schemeClr val="tx1"/>
                          </a:solidFill>
                          <a:effectLst/>
                          <a:latin typeface="+mn-lt"/>
                          <a:ea typeface="+mn-ea"/>
                          <a:cs typeface="+mn-cs"/>
                        </a:rPr>
                        <a:t>12,44 M€</a:t>
                      </a:r>
                      <a:r>
                        <a:rPr lang="it-IT" sz="800" kern="1200" dirty="0">
                          <a:solidFill>
                            <a:schemeClr val="tx1"/>
                          </a:solidFill>
                          <a:effectLst/>
                          <a:latin typeface="+mn-lt"/>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lang="it-IT" sz="800" kern="1200" dirty="0">
                          <a:solidFill>
                            <a:schemeClr val="tx1"/>
                          </a:solidFill>
                          <a:effectLst/>
                          <a:latin typeface="+mn-lt"/>
                          <a:ea typeface="+mn-ea"/>
                          <a:cs typeface="+mn-cs"/>
                        </a:rPr>
                        <a:t>finanziato </a:t>
                      </a:r>
                      <a:r>
                        <a:rPr kumimoji="0" lang="it-IT" sz="800" b="0" i="0" u="none" strike="noStrike" kern="1200" cap="none" spc="0" normalizeH="0" baseline="0" noProof="0" dirty="0">
                          <a:ln>
                            <a:noFill/>
                          </a:ln>
                          <a:solidFill>
                            <a:srgbClr val="000000"/>
                          </a:solidFill>
                          <a:effectLst/>
                          <a:uLnTx/>
                          <a:uFillTx/>
                          <a:latin typeface="+mn-lt"/>
                          <a:ea typeface="+mn-ea"/>
                          <a:cs typeface="+mn-cs"/>
                        </a:rPr>
                        <a:t>per 12,44M€</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800" b="0" i="0" u="none" strike="noStrike" kern="1200" cap="none" spc="0" normalizeH="0" baseline="0" noProof="0" dirty="0">
                        <a:ln>
                          <a:noFill/>
                        </a:ln>
                        <a:solidFill>
                          <a:srgbClr val="000000"/>
                        </a:solidFill>
                        <a:effectLst/>
                        <a:uLnTx/>
                        <a:uFillTx/>
                        <a:latin typeface="+mn-lt"/>
                        <a:ea typeface="+mn-ea"/>
                        <a:cs typeface="+mn-cs"/>
                      </a:endParaRPr>
                    </a:p>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800" b="0" i="0" u="none" strike="noStrike" kern="1200" cap="none" spc="0" normalizeH="0" baseline="0" noProof="0" dirty="0">
                          <a:ln>
                            <a:noFill/>
                          </a:ln>
                          <a:solidFill>
                            <a:schemeClr val="tx1"/>
                          </a:solidFill>
                          <a:effectLst/>
                          <a:uLnTx/>
                          <a:uFillTx/>
                          <a:latin typeface="+mn-lt"/>
                          <a:ea typeface="+mn-ea"/>
                          <a:cs typeface="+mn-cs"/>
                        </a:rPr>
                        <a:t>9,12 M€ </a:t>
                      </a:r>
                      <a:r>
                        <a:rPr kumimoji="0" lang="it-IT" sz="800" b="0" i="0" u="none" strike="noStrike" kern="1200" cap="none" spc="0" normalizeH="0" baseline="0" dirty="0">
                          <a:ln>
                            <a:noFill/>
                          </a:ln>
                          <a:solidFill>
                            <a:schemeClr val="tx1"/>
                          </a:solidFill>
                          <a:effectLst/>
                          <a:uLnTx/>
                          <a:uFillTx/>
                          <a:latin typeface="+mn-lt"/>
                          <a:ea typeface="+mn-ea"/>
                          <a:cs typeface="+mn-cs"/>
                        </a:rPr>
                        <a:t>da </a:t>
                      </a:r>
                      <a:r>
                        <a:rPr kumimoji="0" lang="it-IT" sz="800" b="0" i="0" u="none" strike="noStrike" kern="1200" cap="none" spc="0" normalizeH="0" baseline="0" dirty="0" err="1">
                          <a:ln>
                            <a:noFill/>
                          </a:ln>
                          <a:solidFill>
                            <a:schemeClr val="tx1"/>
                          </a:solidFill>
                          <a:effectLst/>
                          <a:uLnTx/>
                          <a:uFillTx/>
                          <a:latin typeface="+mn-lt"/>
                          <a:ea typeface="+mn-ea"/>
                          <a:cs typeface="+mn-cs"/>
                        </a:rPr>
                        <a:t>CdP</a:t>
                      </a:r>
                      <a:r>
                        <a:rPr kumimoji="0" lang="it-IT" sz="800" b="0" i="0" u="none" strike="noStrike" kern="1200" cap="none" spc="0" normalizeH="0" baseline="0" dirty="0">
                          <a:ln>
                            <a:noFill/>
                          </a:ln>
                          <a:solidFill>
                            <a:schemeClr val="tx1"/>
                          </a:solidFill>
                          <a:effectLst/>
                          <a:uLnTx/>
                          <a:uFillTx/>
                          <a:latin typeface="+mn-lt"/>
                          <a:ea typeface="+mn-ea"/>
                          <a:cs typeface="+mn-cs"/>
                        </a:rPr>
                        <a:t> 2008</a:t>
                      </a:r>
                    </a:p>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800" b="0" i="0" u="none" strike="noStrike" kern="1200" cap="none" spc="0" normalizeH="0" baseline="0" noProof="0" dirty="0">
                          <a:ln>
                            <a:noFill/>
                          </a:ln>
                          <a:solidFill>
                            <a:schemeClr val="tx1"/>
                          </a:solidFill>
                          <a:effectLst/>
                          <a:uLnTx/>
                          <a:uFillTx/>
                          <a:latin typeface="+mn-lt"/>
                          <a:ea typeface="+mn-ea"/>
                          <a:cs typeface="+mn-cs"/>
                        </a:rPr>
                        <a:t>3,32 M€ </a:t>
                      </a:r>
                      <a:r>
                        <a:rPr kumimoji="0" lang="it-IT" sz="800" b="0" i="0" u="none" strike="noStrike" kern="1200" cap="none" spc="0" normalizeH="0" baseline="0" dirty="0">
                          <a:ln>
                            <a:noFill/>
                          </a:ln>
                          <a:solidFill>
                            <a:schemeClr val="tx1"/>
                          </a:solidFill>
                          <a:effectLst/>
                          <a:uLnTx/>
                          <a:uFillTx/>
                          <a:latin typeface="+mn-lt"/>
                          <a:ea typeface="+mn-ea"/>
                          <a:cs typeface="+mn-cs"/>
                        </a:rPr>
                        <a:t>dal Fondo Unico Anas</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algn="ctr" defTabSz="914400" rtl="0" eaLnBrk="1" latinLnBrk="0" hangingPunct="1"/>
                      <a:r>
                        <a:rPr lang="it-IT" sz="800" b="1" kern="1200" dirty="0">
                          <a:solidFill>
                            <a:schemeClr val="tx1"/>
                          </a:solidFill>
                          <a:latin typeface="+mn-lt"/>
                          <a:ea typeface="+mn-ea"/>
                          <a:cs typeface="+mn-cs"/>
                        </a:rPr>
                        <a:t>2023</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algn="just" defTabSz="914400" rtl="0" eaLnBrk="1" latinLnBrk="0" hangingPunct="1"/>
                      <a:r>
                        <a:rPr lang="it-IT" sz="800" dirty="0"/>
                        <a:t>L</a:t>
                      </a:r>
                      <a:r>
                        <a:rPr lang="it-IT" sz="800" kern="1200" dirty="0">
                          <a:solidFill>
                            <a:schemeClr val="tx1"/>
                          </a:solidFill>
                          <a:effectLst/>
                          <a:latin typeface="+mn-lt"/>
                          <a:ea typeface="Times New Roman" panose="02020603050405020304" pitchFamily="18" charset="0"/>
                          <a:cs typeface="+mn-cs"/>
                        </a:rPr>
                        <a:t>’intervento prevede l’eliminazione di una criticità plano-altimetrica della Statale,</a:t>
                      </a:r>
                      <a:r>
                        <a:rPr lang="it-IT" sz="800" kern="1200" baseline="0" dirty="0">
                          <a:solidFill>
                            <a:schemeClr val="tx1"/>
                          </a:solidFill>
                          <a:effectLst/>
                          <a:latin typeface="+mn-lt"/>
                          <a:ea typeface="Times New Roman" panose="02020603050405020304" pitchFamily="18" charset="0"/>
                          <a:cs typeface="+mn-cs"/>
                        </a:rPr>
                        <a:t> ai fini della messa in sicurezza, tramite realizzazione di una variante di circa 800 m con nuova piattaforma del tipo C2 ed inserimento di una rotatoria</a:t>
                      </a:r>
                    </a:p>
                    <a:p>
                      <a:pPr marL="0" algn="just" defTabSz="914400" rtl="0" eaLnBrk="1" latinLnBrk="0" hangingPunct="1"/>
                      <a:r>
                        <a:rPr lang="it-IT" sz="800" kern="1200" baseline="0" dirty="0">
                          <a:solidFill>
                            <a:schemeClr val="tx1"/>
                          </a:solidFill>
                          <a:effectLst/>
                          <a:latin typeface="+mn-lt"/>
                          <a:ea typeface="Times New Roman" panose="02020603050405020304" pitchFamily="18" charset="0"/>
                          <a:cs typeface="+mn-cs"/>
                        </a:rPr>
                        <a:t>Progetto Definitivo redatto da Progettisti incaricati da Anas, sul quale sono state avviate </a:t>
                      </a:r>
                    </a:p>
                    <a:p>
                      <a:pPr marL="171450" indent="-171450" algn="just" defTabSz="914400" rtl="0" eaLnBrk="1" latinLnBrk="0" hangingPunct="1">
                        <a:buFont typeface="Wingdings" panose="05000000000000000000" pitchFamily="2" charset="2"/>
                        <a:buChar char="§"/>
                      </a:pPr>
                      <a:r>
                        <a:rPr lang="it-IT" sz="800" kern="1200" baseline="0" dirty="0">
                          <a:solidFill>
                            <a:schemeClr val="tx1"/>
                          </a:solidFill>
                          <a:effectLst/>
                          <a:latin typeface="+mn-lt"/>
                          <a:ea typeface="Times New Roman" panose="02020603050405020304" pitchFamily="18" charset="0"/>
                          <a:cs typeface="+mn-cs"/>
                        </a:rPr>
                        <a:t>nel 2013 la procedura di screening ambientale regionale presso la Regione, conclusa con richiesta di rinvio a VIA. Considerati gli aggiornamenti normativi intervenuti e la competenza Regionale si è definita la necessità di un complessivo aggiornamento (in corso) dei documenti progettuali già predisposti (S.I.A.), nonché l’attivazione della procedura prevista ai sensi dell’art. 27 bis del </a:t>
                      </a:r>
                      <a:r>
                        <a:rPr lang="it-IT" sz="800" kern="1200" baseline="0" dirty="0" err="1">
                          <a:solidFill>
                            <a:schemeClr val="tx1"/>
                          </a:solidFill>
                          <a:effectLst/>
                          <a:latin typeface="+mn-lt"/>
                          <a:ea typeface="Times New Roman" panose="02020603050405020304" pitchFamily="18" charset="0"/>
                          <a:cs typeface="+mn-cs"/>
                        </a:rPr>
                        <a:t>D.lgs</a:t>
                      </a:r>
                      <a:r>
                        <a:rPr lang="it-IT" sz="800" kern="1200" baseline="0" dirty="0">
                          <a:solidFill>
                            <a:schemeClr val="tx1"/>
                          </a:solidFill>
                          <a:effectLst/>
                          <a:latin typeface="+mn-lt"/>
                          <a:ea typeface="Times New Roman" panose="02020603050405020304" pitchFamily="18" charset="0"/>
                          <a:cs typeface="+mn-cs"/>
                        </a:rPr>
                        <a:t> 152/2006, “Provvedimento </a:t>
                      </a:r>
                      <a:r>
                        <a:rPr lang="it-IT" sz="800" kern="1200" baseline="0" dirty="0" err="1">
                          <a:solidFill>
                            <a:schemeClr val="tx1"/>
                          </a:solidFill>
                          <a:effectLst/>
                          <a:latin typeface="+mn-lt"/>
                          <a:ea typeface="Times New Roman" panose="02020603050405020304" pitchFamily="18" charset="0"/>
                          <a:cs typeface="+mn-cs"/>
                        </a:rPr>
                        <a:t>Autorizzatorio</a:t>
                      </a:r>
                      <a:r>
                        <a:rPr lang="it-IT" sz="800" kern="1200" baseline="0" dirty="0">
                          <a:solidFill>
                            <a:schemeClr val="tx1"/>
                          </a:solidFill>
                          <a:effectLst/>
                          <a:latin typeface="+mn-lt"/>
                          <a:ea typeface="Times New Roman" panose="02020603050405020304" pitchFamily="18" charset="0"/>
                          <a:cs typeface="+mn-cs"/>
                        </a:rPr>
                        <a:t> unico Regionale” (PAUR);</a:t>
                      </a:r>
                    </a:p>
                    <a:p>
                      <a:pPr marL="171450" indent="-171450" algn="just" defTabSz="914400" rtl="0" eaLnBrk="1" latinLnBrk="0" hangingPunct="1">
                        <a:buFont typeface="Wingdings" panose="05000000000000000000" pitchFamily="2" charset="2"/>
                        <a:buChar char="§"/>
                      </a:pPr>
                      <a:r>
                        <a:rPr lang="it-IT" sz="800" kern="1200" baseline="0" dirty="0">
                          <a:solidFill>
                            <a:schemeClr val="tx1"/>
                          </a:solidFill>
                          <a:effectLst/>
                          <a:latin typeface="+mn-lt"/>
                          <a:ea typeface="Times New Roman" panose="02020603050405020304" pitchFamily="18" charset="0"/>
                          <a:cs typeface="+mn-cs"/>
                        </a:rPr>
                        <a:t>nel 2014, la Conferenza di servizi, attualmente sospesa in attesa della chiusura della procedura ambientale.</a:t>
                      </a:r>
                    </a:p>
                    <a:p>
                      <a:pPr marL="0" algn="just" defTabSz="914400" rtl="0" eaLnBrk="1" latinLnBrk="0" hangingPunct="1"/>
                      <a:r>
                        <a:rPr lang="it-IT" sz="800" kern="1200" baseline="0" dirty="0">
                          <a:solidFill>
                            <a:schemeClr val="tx1"/>
                          </a:solidFill>
                          <a:effectLst/>
                          <a:latin typeface="+mn-lt"/>
                          <a:ea typeface="Times New Roman" panose="02020603050405020304" pitchFamily="18" charset="0"/>
                          <a:cs typeface="+mn-cs"/>
                        </a:rPr>
                        <a:t>A seguire dalla chiusura dell’iter autorizzativo si procederà alla redazione del PE per l’appalto.</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2559409">
                <a:tc>
                  <a:txBody>
                    <a:bodyPr/>
                    <a:lstStyle/>
                    <a:p>
                      <a:pPr algn="ctr"/>
                      <a:r>
                        <a:rPr lang="it-IT" sz="800" dirty="0"/>
                        <a:t>2</a:t>
                      </a:r>
                    </a:p>
                    <a:p>
                      <a:pPr algn="ctr"/>
                      <a:r>
                        <a:rPr lang="it-IT" sz="800" dirty="0"/>
                        <a:t>(*)</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it-IT" sz="800" b="1" kern="1200" dirty="0">
                          <a:solidFill>
                            <a:schemeClr val="tx1"/>
                          </a:solidFill>
                          <a:latin typeface="+mn-lt"/>
                          <a:ea typeface="+mn-ea"/>
                          <a:cs typeface="+mn-cs"/>
                        </a:rPr>
                        <a:t>S.S.4 </a:t>
                      </a:r>
                    </a:p>
                    <a:p>
                      <a:pPr marL="0" marR="0" indent="0" algn="l" defTabSz="914400" rtl="0" eaLnBrk="1" fontAlgn="auto" latinLnBrk="0" hangingPunct="1">
                        <a:lnSpc>
                          <a:spcPct val="100000"/>
                        </a:lnSpc>
                        <a:spcBef>
                          <a:spcPts val="0"/>
                        </a:spcBef>
                        <a:spcAft>
                          <a:spcPts val="0"/>
                        </a:spcAft>
                        <a:buClrTx/>
                        <a:buSzTx/>
                        <a:buFontTx/>
                        <a:buNone/>
                        <a:tabLst/>
                        <a:defRPr/>
                      </a:pPr>
                      <a:r>
                        <a:rPr lang="it-IT" sz="800" b="0" kern="1200" dirty="0">
                          <a:solidFill>
                            <a:schemeClr val="tx1"/>
                          </a:solidFill>
                          <a:latin typeface="+mn-lt"/>
                          <a:ea typeface="+mn-ea"/>
                          <a:cs typeface="+mn-cs"/>
                        </a:rPr>
                        <a:t>Via Salaria</a:t>
                      </a:r>
                      <a:endParaRPr lang="it-IT" sz="800" b="0" dirty="0"/>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r>
                        <a:rPr lang="it-IT" sz="800" b="0" kern="1200" dirty="0">
                          <a:solidFill>
                            <a:schemeClr val="tx1"/>
                          </a:solidFill>
                          <a:latin typeface="+mn-lt"/>
                          <a:ea typeface="+mn-ea"/>
                          <a:cs typeface="+mn-cs"/>
                        </a:rPr>
                        <a:t>Variante all'abitato di Monterotondo Scalo 2° stralcio</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algn="ctr" defTabSz="914400" rtl="0" eaLnBrk="1" latinLnBrk="0" hangingPunct="1"/>
                      <a:r>
                        <a:rPr lang="it-IT" sz="800" b="1" kern="1200" dirty="0">
                          <a:solidFill>
                            <a:schemeClr val="tx1"/>
                          </a:solidFill>
                          <a:effectLst/>
                          <a:latin typeface="+mn-lt"/>
                          <a:ea typeface="Times New Roman" panose="02020603050405020304" pitchFamily="18" charset="0"/>
                          <a:cs typeface="+mn-cs"/>
                        </a:rPr>
                        <a:t>76,83 M€ </a:t>
                      </a:r>
                    </a:p>
                    <a:p>
                      <a:pPr marL="0" algn="l" defTabSz="914400" rtl="0" eaLnBrk="1" latinLnBrk="0" hangingPunct="1"/>
                      <a:r>
                        <a:rPr lang="it-IT" sz="800" b="0" kern="1200" dirty="0">
                          <a:solidFill>
                            <a:schemeClr val="tx1"/>
                          </a:solidFill>
                          <a:effectLst/>
                          <a:latin typeface="+mn-lt"/>
                          <a:ea typeface="Times New Roman" panose="02020603050405020304" pitchFamily="18" charset="0"/>
                          <a:cs typeface="+mn-cs"/>
                        </a:rPr>
                        <a:t>finanziato per 35,90M€</a:t>
                      </a:r>
                    </a:p>
                    <a:p>
                      <a:pPr marL="0" algn="l" defTabSz="914400" rtl="0" eaLnBrk="1" latinLnBrk="0" hangingPunct="1"/>
                      <a:endParaRPr lang="it-IT" sz="800" b="0" kern="1200" dirty="0">
                        <a:solidFill>
                          <a:schemeClr val="tx1"/>
                        </a:solidFill>
                        <a:effectLst/>
                        <a:latin typeface="+mn-lt"/>
                        <a:ea typeface="Times New Roman" panose="02020603050405020304" pitchFamily="18" charset="0"/>
                        <a:cs typeface="+mn-cs"/>
                      </a:endParaRPr>
                    </a:p>
                    <a:p>
                      <a:pPr marL="171450" indent="-171450" algn="l" defTabSz="914400" rtl="0" eaLnBrk="1" latinLnBrk="0" hangingPunct="1">
                        <a:buFont typeface="Wingdings" panose="05000000000000000000" pitchFamily="2" charset="2"/>
                        <a:buChar char="§"/>
                      </a:pPr>
                      <a:r>
                        <a:rPr lang="it-IT" sz="800" b="0" kern="1200" dirty="0">
                          <a:solidFill>
                            <a:schemeClr val="tx1"/>
                          </a:solidFill>
                          <a:effectLst/>
                          <a:latin typeface="+mn-lt"/>
                          <a:ea typeface="Times New Roman" panose="02020603050405020304" pitchFamily="18" charset="0"/>
                          <a:cs typeface="+mn-cs"/>
                        </a:rPr>
                        <a:t>12 M€ da Regione Lazio </a:t>
                      </a:r>
                      <a:endParaRPr lang="it-IT" sz="800" b="0" kern="1200" baseline="0" dirty="0">
                        <a:solidFill>
                          <a:schemeClr val="tx1"/>
                        </a:solidFill>
                        <a:effectLst/>
                        <a:latin typeface="+mn-lt"/>
                        <a:ea typeface="Times New Roman" panose="02020603050405020304" pitchFamily="18" charset="0"/>
                        <a:cs typeface="+mn-cs"/>
                      </a:endParaRPr>
                    </a:p>
                    <a:p>
                      <a:pPr marL="171450" indent="-171450" algn="l" defTabSz="914400" rtl="0" eaLnBrk="1" latinLnBrk="0" hangingPunct="1">
                        <a:buFont typeface="Wingdings" panose="05000000000000000000" pitchFamily="2" charset="2"/>
                        <a:buChar char="§"/>
                      </a:pPr>
                      <a:r>
                        <a:rPr lang="it-IT" sz="800" b="0" kern="1200" dirty="0">
                          <a:solidFill>
                            <a:schemeClr val="tx1"/>
                          </a:solidFill>
                          <a:effectLst/>
                          <a:latin typeface="+mn-lt"/>
                          <a:ea typeface="Times New Roman" panose="02020603050405020304" pitchFamily="18" charset="0"/>
                          <a:cs typeface="+mn-cs"/>
                        </a:rPr>
                        <a:t>15 M€ da Convenzione Regione Lazio  a valere su FSC</a:t>
                      </a:r>
                    </a:p>
                    <a:p>
                      <a:pPr marL="171450" indent="-171450" algn="l" defTabSz="914400" rtl="0" eaLnBrk="1" latinLnBrk="0" hangingPunct="1">
                        <a:buFont typeface="Wingdings" panose="05000000000000000000" pitchFamily="2" charset="2"/>
                        <a:buChar char="§"/>
                      </a:pPr>
                      <a:r>
                        <a:rPr lang="it-IT" sz="800" b="0" kern="1200" dirty="0">
                          <a:solidFill>
                            <a:schemeClr val="tx1"/>
                          </a:solidFill>
                          <a:effectLst/>
                          <a:latin typeface="+mn-lt"/>
                          <a:ea typeface="Times New Roman" panose="02020603050405020304" pitchFamily="18" charset="0"/>
                          <a:cs typeface="+mn-cs"/>
                        </a:rPr>
                        <a:t>8,90 M€ Fondo Unico Anas</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000000"/>
                          </a:solidFill>
                          <a:effectLst/>
                          <a:uLnTx/>
                          <a:uFillTx/>
                          <a:latin typeface="+mn-lt"/>
                          <a:ea typeface="+mn-ea"/>
                          <a:cs typeface="+mn-cs"/>
                        </a:rPr>
                        <a:t>2022</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it-IT" sz="800" b="0" kern="1200" dirty="0">
                          <a:solidFill>
                            <a:schemeClr val="tx1"/>
                          </a:solidFill>
                          <a:effectLst/>
                          <a:latin typeface="+mn-lt"/>
                          <a:ea typeface="Times New Roman" panose="02020603050405020304" pitchFamily="18" charset="0"/>
                          <a:cs typeface="+mn-cs"/>
                        </a:rPr>
                        <a:t>L’intervento riguarda la prosecuzione e completamento della variante di Monterotondo Scalo, a due corsie, della quale sono in corso i lavori relativi al 1° stralcio, e rientra tra gli interventi integrati di messa in sicurezza idraulica della Media Valle del Tevere</a:t>
                      </a:r>
                      <a:r>
                        <a:rPr lang="it-IT" sz="800" b="0" kern="1200" baseline="0" dirty="0">
                          <a:solidFill>
                            <a:schemeClr val="tx1"/>
                          </a:solidFill>
                          <a:effectLst/>
                          <a:latin typeface="+mn-lt"/>
                          <a:ea typeface="Times New Roman" panose="02020603050405020304" pitchFamily="18" charset="0"/>
                          <a:cs typeface="+mn-cs"/>
                        </a:rPr>
                        <a:t> (viabilità, arginature e casse di espansione) g</a:t>
                      </a:r>
                      <a:r>
                        <a:rPr lang="it-IT" sz="800" b="0" kern="1200" dirty="0">
                          <a:solidFill>
                            <a:schemeClr val="tx1"/>
                          </a:solidFill>
                          <a:effectLst/>
                          <a:latin typeface="+mn-lt"/>
                          <a:ea typeface="Times New Roman" panose="02020603050405020304" pitchFamily="18" charset="0"/>
                          <a:cs typeface="+mn-cs"/>
                        </a:rPr>
                        <a:t>estiti dalla Regione Lazio con Commissario Delegato. </a:t>
                      </a:r>
                    </a:p>
                    <a:p>
                      <a:pPr marL="0" marR="0" indent="0" algn="just" defTabSz="914400" rtl="0" eaLnBrk="1" fontAlgn="auto" latinLnBrk="0" hangingPunct="1">
                        <a:lnSpc>
                          <a:spcPct val="100000"/>
                        </a:lnSpc>
                        <a:spcBef>
                          <a:spcPts val="0"/>
                        </a:spcBef>
                        <a:spcAft>
                          <a:spcPts val="0"/>
                        </a:spcAft>
                        <a:buClrTx/>
                        <a:buSzTx/>
                        <a:buFontTx/>
                        <a:buNone/>
                        <a:tabLst/>
                        <a:defRPr/>
                      </a:pPr>
                      <a:r>
                        <a:rPr lang="it-IT" sz="800" b="0" kern="1200" dirty="0">
                          <a:solidFill>
                            <a:schemeClr val="tx1"/>
                          </a:solidFill>
                          <a:effectLst/>
                          <a:latin typeface="+mn-lt"/>
                          <a:ea typeface="Times New Roman" panose="02020603050405020304" pitchFamily="18" charset="0"/>
                          <a:cs typeface="+mn-cs"/>
                        </a:rPr>
                        <a:t>L’intervento rientra nell’elenco delle opere infrastrutturali Anas per la cui realizzazione, ai sensi dell’art. 4 del D.L. 32/2019 convertito dalla Legge n.55 del 14.06.2019, è stata disposta con DPCM del 16.04.2021 la nomina di un Commissario Straordinario</a:t>
                      </a:r>
                    </a:p>
                    <a:p>
                      <a:pPr marL="0" marR="0" indent="0" algn="just" defTabSz="914400" rtl="0" eaLnBrk="1" fontAlgn="auto" latinLnBrk="0" hangingPunct="1">
                        <a:lnSpc>
                          <a:spcPct val="100000"/>
                        </a:lnSpc>
                        <a:spcBef>
                          <a:spcPts val="0"/>
                        </a:spcBef>
                        <a:spcAft>
                          <a:spcPts val="0"/>
                        </a:spcAft>
                        <a:buClrTx/>
                        <a:buSzTx/>
                        <a:buFontTx/>
                        <a:buNone/>
                        <a:tabLst/>
                        <a:defRPr/>
                      </a:pPr>
                      <a:r>
                        <a:rPr lang="it-IT" sz="800" b="0" kern="1200" dirty="0">
                          <a:solidFill>
                            <a:schemeClr val="tx1"/>
                          </a:solidFill>
                          <a:effectLst/>
                          <a:latin typeface="+mn-lt"/>
                          <a:ea typeface="Times New Roman" panose="02020603050405020304" pitchFamily="18" charset="0"/>
                          <a:cs typeface="+mn-cs"/>
                        </a:rPr>
                        <a:t>La Variante si sviluppa in nuova sede,</a:t>
                      </a:r>
                      <a:r>
                        <a:rPr lang="it-IT" sz="800" b="0" kern="1200" baseline="0" dirty="0">
                          <a:solidFill>
                            <a:schemeClr val="tx1"/>
                          </a:solidFill>
                          <a:effectLst/>
                          <a:latin typeface="+mn-lt"/>
                          <a:ea typeface="Times New Roman" panose="02020603050405020304" pitchFamily="18" charset="0"/>
                          <a:cs typeface="+mn-cs"/>
                        </a:rPr>
                        <a:t> </a:t>
                      </a:r>
                      <a:r>
                        <a:rPr lang="it-IT" sz="800" b="0" kern="1200" dirty="0">
                          <a:solidFill>
                            <a:schemeClr val="tx1"/>
                          </a:solidFill>
                          <a:effectLst/>
                          <a:latin typeface="+mn-lt"/>
                          <a:ea typeface="Times New Roman" panose="02020603050405020304" pitchFamily="18" charset="0"/>
                          <a:cs typeface="+mn-cs"/>
                        </a:rPr>
                        <a:t>esternamente all’abitato, in </a:t>
                      </a:r>
                      <a:r>
                        <a:rPr lang="it-IT" sz="800" b="0" kern="1200" dirty="0" err="1">
                          <a:solidFill>
                            <a:schemeClr val="tx1"/>
                          </a:solidFill>
                          <a:effectLst/>
                          <a:latin typeface="+mn-lt"/>
                          <a:ea typeface="Times New Roman" panose="02020603050405020304" pitchFamily="18" charset="0"/>
                          <a:cs typeface="+mn-cs"/>
                        </a:rPr>
                        <a:t>sx</a:t>
                      </a:r>
                      <a:r>
                        <a:rPr lang="it-IT" sz="800" b="0" kern="1200" dirty="0">
                          <a:solidFill>
                            <a:schemeClr val="tx1"/>
                          </a:solidFill>
                          <a:effectLst/>
                          <a:latin typeface="+mn-lt"/>
                          <a:ea typeface="Times New Roman" panose="02020603050405020304" pitchFamily="18" charset="0"/>
                          <a:cs typeface="+mn-cs"/>
                        </a:rPr>
                        <a:t> idraulica del fiume Tevere, </a:t>
                      </a:r>
                      <a:r>
                        <a:rPr lang="it-IT" sz="800" b="0" kern="1200" baseline="0" dirty="0">
                          <a:solidFill>
                            <a:schemeClr val="tx1"/>
                          </a:solidFill>
                          <a:effectLst/>
                          <a:latin typeface="+mn-lt"/>
                          <a:ea typeface="Times New Roman" panose="02020603050405020304" pitchFamily="18" charset="0"/>
                          <a:cs typeface="+mn-cs"/>
                        </a:rPr>
                        <a:t>adotta la </a:t>
                      </a:r>
                      <a:r>
                        <a:rPr lang="it-IT" sz="800" b="0" kern="1200" dirty="0">
                          <a:solidFill>
                            <a:schemeClr val="tx1"/>
                          </a:solidFill>
                          <a:effectLst/>
                          <a:latin typeface="+mn-lt"/>
                          <a:ea typeface="Times New Roman" panose="02020603050405020304" pitchFamily="18" charset="0"/>
                          <a:cs typeface="+mn-cs"/>
                        </a:rPr>
                        <a:t>categoria C “extraurbana secondaria” (DM 05.11.2001), ha lunghezza 2,7 km circa di cui 2 km su rilevato con funzione arginale, come già previsto per la viabilità del 1° stralcio, e 700 m su viadotto.</a:t>
                      </a:r>
                    </a:p>
                    <a:p>
                      <a:pPr marL="0" marR="0" indent="0" algn="just" defTabSz="914400" rtl="0" eaLnBrk="1" fontAlgn="auto" latinLnBrk="0" hangingPunct="1">
                        <a:lnSpc>
                          <a:spcPct val="100000"/>
                        </a:lnSpc>
                        <a:spcBef>
                          <a:spcPts val="0"/>
                        </a:spcBef>
                        <a:spcAft>
                          <a:spcPts val="0"/>
                        </a:spcAft>
                        <a:buClrTx/>
                        <a:buSzTx/>
                        <a:buFontTx/>
                        <a:buNone/>
                        <a:tabLst/>
                        <a:defRPr/>
                      </a:pPr>
                      <a:r>
                        <a:rPr lang="it-IT" sz="800" b="0" kern="1200" dirty="0">
                          <a:solidFill>
                            <a:schemeClr val="tx1"/>
                          </a:solidFill>
                          <a:effectLst/>
                          <a:latin typeface="+mn-lt"/>
                          <a:ea typeface="Times New Roman" panose="02020603050405020304" pitchFamily="18" charset="0"/>
                          <a:cs typeface="+mn-cs"/>
                        </a:rPr>
                        <a:t>A partire da studi preliminari redatti dalla regione sul tracciato della strada-</a:t>
                      </a:r>
                      <a:r>
                        <a:rPr lang="it-IT" sz="800" b="0" kern="1200" baseline="0" dirty="0">
                          <a:solidFill>
                            <a:schemeClr val="tx1"/>
                          </a:solidFill>
                          <a:effectLst/>
                          <a:latin typeface="+mn-lt"/>
                          <a:ea typeface="Times New Roman" panose="02020603050405020304" pitchFamily="18" charset="0"/>
                          <a:cs typeface="+mn-cs"/>
                        </a:rPr>
                        <a:t> </a:t>
                      </a:r>
                      <a:r>
                        <a:rPr lang="it-IT" sz="800" b="0" kern="1200" dirty="0">
                          <a:solidFill>
                            <a:schemeClr val="tx1"/>
                          </a:solidFill>
                          <a:effectLst/>
                          <a:latin typeface="+mn-lt"/>
                          <a:ea typeface="Times New Roman" panose="02020603050405020304" pitchFamily="18" charset="0"/>
                          <a:cs typeface="+mn-cs"/>
                        </a:rPr>
                        <a:t>argine</a:t>
                      </a:r>
                      <a:r>
                        <a:rPr lang="it-IT" sz="800" b="0" kern="1200" baseline="0" dirty="0">
                          <a:solidFill>
                            <a:schemeClr val="tx1"/>
                          </a:solidFill>
                          <a:effectLst/>
                          <a:latin typeface="+mn-lt"/>
                          <a:ea typeface="Times New Roman" panose="02020603050405020304" pitchFamily="18" charset="0"/>
                          <a:cs typeface="+mn-cs"/>
                        </a:rPr>
                        <a:t> è stato </a:t>
                      </a:r>
                      <a:r>
                        <a:rPr lang="it-IT" sz="800" b="0" kern="1200" dirty="0">
                          <a:solidFill>
                            <a:schemeClr val="tx1"/>
                          </a:solidFill>
                          <a:effectLst/>
                          <a:latin typeface="+mn-lt"/>
                          <a:ea typeface="Times New Roman" panose="02020603050405020304" pitchFamily="18" charset="0"/>
                          <a:cs typeface="+mn-cs"/>
                        </a:rPr>
                        <a:t>redatto un Progetto </a:t>
                      </a:r>
                      <a:r>
                        <a:rPr lang="it-IT" sz="800" b="0" kern="1200" dirty="0" err="1">
                          <a:solidFill>
                            <a:schemeClr val="tx1"/>
                          </a:solidFill>
                          <a:effectLst/>
                          <a:latin typeface="+mn-lt"/>
                          <a:ea typeface="Times New Roman" panose="02020603050405020304" pitchFamily="18" charset="0"/>
                          <a:cs typeface="+mn-cs"/>
                        </a:rPr>
                        <a:t>Definitivo+SIA</a:t>
                      </a:r>
                      <a:r>
                        <a:rPr lang="it-IT" sz="800" b="0" kern="1200" dirty="0">
                          <a:solidFill>
                            <a:schemeClr val="tx1"/>
                          </a:solidFill>
                          <a:effectLst/>
                          <a:latin typeface="+mn-lt"/>
                          <a:ea typeface="Times New Roman" panose="02020603050405020304" pitchFamily="18" charset="0"/>
                          <a:cs typeface="+mn-cs"/>
                        </a:rPr>
                        <a:t> da</a:t>
                      </a:r>
                      <a:r>
                        <a:rPr lang="it-IT" sz="800" b="0" kern="1200" baseline="0" dirty="0">
                          <a:solidFill>
                            <a:schemeClr val="tx1"/>
                          </a:solidFill>
                          <a:effectLst/>
                          <a:latin typeface="+mn-lt"/>
                          <a:ea typeface="Times New Roman" panose="02020603050405020304" pitchFamily="18" charset="0"/>
                          <a:cs typeface="+mn-cs"/>
                        </a:rPr>
                        <a:t> progettista aggiudicatario di Accordo Quadro ed uno Studio Archeologico a cura di Anas. </a:t>
                      </a:r>
                    </a:p>
                    <a:p>
                      <a:pPr marL="0" marR="0" indent="0" algn="just" defTabSz="914400" rtl="0" eaLnBrk="1" fontAlgn="auto" latinLnBrk="0" hangingPunct="1">
                        <a:lnSpc>
                          <a:spcPct val="100000"/>
                        </a:lnSpc>
                        <a:spcBef>
                          <a:spcPts val="0"/>
                        </a:spcBef>
                        <a:spcAft>
                          <a:spcPts val="0"/>
                        </a:spcAft>
                        <a:buClrTx/>
                        <a:buSzTx/>
                        <a:buFontTx/>
                        <a:buNone/>
                        <a:tabLst/>
                        <a:defRPr/>
                      </a:pPr>
                      <a:r>
                        <a:rPr lang="it-IT" sz="800" b="0" kern="1200" baseline="0" dirty="0">
                          <a:solidFill>
                            <a:schemeClr val="tx1"/>
                          </a:solidFill>
                          <a:effectLst/>
                          <a:latin typeface="+mn-lt"/>
                          <a:ea typeface="Times New Roman" panose="02020603050405020304" pitchFamily="18" charset="0"/>
                          <a:cs typeface="+mn-cs"/>
                        </a:rPr>
                        <a:t>In data 18.03.2021 è stata avviata la verifica archeologica presso le Soprintendenze competenti, conclusa con richieste di esecuzione saggi archeologici.</a:t>
                      </a:r>
                    </a:p>
                    <a:p>
                      <a:pPr marL="0" marR="0" indent="0" algn="just" defTabSz="914400" rtl="0" eaLnBrk="1" fontAlgn="auto" latinLnBrk="0" hangingPunct="1">
                        <a:lnSpc>
                          <a:spcPct val="100000"/>
                        </a:lnSpc>
                        <a:spcBef>
                          <a:spcPts val="0"/>
                        </a:spcBef>
                        <a:spcAft>
                          <a:spcPts val="0"/>
                        </a:spcAft>
                        <a:buClrTx/>
                        <a:buSzTx/>
                        <a:buFontTx/>
                        <a:buNone/>
                        <a:tabLst/>
                        <a:defRPr/>
                      </a:pPr>
                      <a:r>
                        <a:rPr lang="it-IT" sz="800" b="0" kern="1200" baseline="0" dirty="0">
                          <a:solidFill>
                            <a:schemeClr val="tx1"/>
                          </a:solidFill>
                          <a:effectLst/>
                          <a:latin typeface="+mn-lt"/>
                          <a:ea typeface="Times New Roman" panose="02020603050405020304" pitchFamily="18" charset="0"/>
                          <a:cs typeface="+mn-cs"/>
                        </a:rPr>
                        <a:t>In data 05.05.2021 è stata presentata al </a:t>
                      </a:r>
                      <a:r>
                        <a:rPr lang="it-IT" sz="800" b="0" kern="1200" baseline="0" dirty="0" err="1">
                          <a:solidFill>
                            <a:schemeClr val="tx1"/>
                          </a:solidFill>
                          <a:effectLst/>
                          <a:latin typeface="+mn-lt"/>
                          <a:ea typeface="Times New Roman" panose="02020603050405020304" pitchFamily="18" charset="0"/>
                          <a:cs typeface="+mn-cs"/>
                        </a:rPr>
                        <a:t>MiTE</a:t>
                      </a:r>
                      <a:r>
                        <a:rPr lang="it-IT" sz="800" b="0" kern="1200" baseline="0" dirty="0">
                          <a:solidFill>
                            <a:schemeClr val="tx1"/>
                          </a:solidFill>
                          <a:effectLst/>
                          <a:latin typeface="+mn-lt"/>
                          <a:ea typeface="Times New Roman" panose="02020603050405020304" pitchFamily="18" charset="0"/>
                          <a:cs typeface="+mn-cs"/>
                        </a:rPr>
                        <a:t> istanza VIA, la cui procedura è in corso.</a:t>
                      </a:r>
                    </a:p>
                    <a:p>
                      <a:pPr marL="0" marR="0" indent="0" algn="just" defTabSz="914400" rtl="0" eaLnBrk="1" fontAlgn="auto" latinLnBrk="0" hangingPunct="1">
                        <a:lnSpc>
                          <a:spcPct val="100000"/>
                        </a:lnSpc>
                        <a:spcBef>
                          <a:spcPts val="0"/>
                        </a:spcBef>
                        <a:spcAft>
                          <a:spcPts val="0"/>
                        </a:spcAft>
                        <a:buClrTx/>
                        <a:buSzTx/>
                        <a:buFontTx/>
                        <a:buNone/>
                        <a:tabLst/>
                        <a:defRPr/>
                      </a:pPr>
                      <a:r>
                        <a:rPr lang="it-IT" sz="800" b="0" kern="1200" baseline="0" dirty="0">
                          <a:solidFill>
                            <a:schemeClr val="tx1"/>
                          </a:solidFill>
                          <a:effectLst/>
                          <a:latin typeface="+mn-lt"/>
                          <a:ea typeface="Times New Roman" panose="02020603050405020304" pitchFamily="18" charset="0"/>
                          <a:cs typeface="+mn-cs"/>
                        </a:rPr>
                        <a:t>A seguire sarà avviata la Conferenza dei Servizi per le autorizzazioni tecniche ed urbanistiche e la localizzazione.</a:t>
                      </a:r>
                    </a:p>
                    <a:p>
                      <a:pPr marL="0" marR="0" indent="0" algn="just" defTabSz="914400" rtl="0" eaLnBrk="1" fontAlgn="auto" latinLnBrk="0" hangingPunct="1">
                        <a:lnSpc>
                          <a:spcPct val="100000"/>
                        </a:lnSpc>
                        <a:spcBef>
                          <a:spcPts val="0"/>
                        </a:spcBef>
                        <a:spcAft>
                          <a:spcPts val="0"/>
                        </a:spcAft>
                        <a:buClrTx/>
                        <a:buSzTx/>
                        <a:buFontTx/>
                        <a:buNone/>
                        <a:tabLst/>
                        <a:defRPr/>
                      </a:pPr>
                      <a:r>
                        <a:rPr lang="it-IT" sz="800" b="0" kern="1200" baseline="0" dirty="0">
                          <a:solidFill>
                            <a:schemeClr val="tx1"/>
                          </a:solidFill>
                          <a:effectLst/>
                          <a:latin typeface="+mn-lt"/>
                          <a:ea typeface="Times New Roman" panose="02020603050405020304" pitchFamily="18" charset="0"/>
                          <a:cs typeface="+mn-cs"/>
                        </a:rPr>
                        <a:t>Lo sviluppo del PD ha evidenziato un incremento di importo e, pertanto, un fabbisogno rispetto al finanziamento di Piano.</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8" name="Segnaposto data 4"/>
          <p:cNvSpPr txBox="1">
            <a:spLocks/>
          </p:cNvSpPr>
          <p:nvPr/>
        </p:nvSpPr>
        <p:spPr>
          <a:xfrm>
            <a:off x="8737056" y="5099586"/>
            <a:ext cx="65" cy="92333"/>
          </a:xfrm>
          <a:prstGeom prst="rect">
            <a:avLst/>
          </a:prstGeom>
          <a:solidFill>
            <a:schemeClr val="bg1"/>
          </a:solidFill>
          <a:effectLst/>
        </p:spPr>
        <p:txBody>
          <a:bodyPr wrap="none" lIns="0" tIns="0" rIns="0" bIns="0" rtlCol="0" anchor="ctr">
            <a:spAutoFit/>
          </a:bodyPr>
          <a:lstStyle>
            <a:defPPr>
              <a:defRPr lang="en-US"/>
            </a:defPPr>
            <a:lvl1pPr algn="r" defTabSz="1219170">
              <a:defRPr lang="it-IT" sz="800" smtClean="0">
                <a:solidFill>
                  <a:srgbClr val="DC002E"/>
                </a:solidFill>
                <a:effectLst/>
              </a:defRPr>
            </a:lvl1pPr>
          </a:lstStyle>
          <a:p>
            <a:endParaRPr sz="600" dirty="0"/>
          </a:p>
        </p:txBody>
      </p:sp>
      <p:sp>
        <p:nvSpPr>
          <p:cNvPr id="7" name="Segnaposto data 4"/>
          <p:cNvSpPr>
            <a:spLocks noGrp="1"/>
          </p:cNvSpPr>
          <p:nvPr>
            <p:ph type="dt" sz="half" idx="2"/>
          </p:nvPr>
        </p:nvSpPr>
        <p:spPr>
          <a:xfrm flipH="1">
            <a:off x="1631879" y="5053418"/>
            <a:ext cx="1791260" cy="184666"/>
          </a:xfrm>
          <a:ln w="6350">
            <a:solidFill>
              <a:schemeClr val="tx1"/>
            </a:solidFill>
          </a:ln>
        </p:spPr>
        <p:txBody>
          <a:bodyPr/>
          <a:lstStyle/>
          <a:p>
            <a:pPr defTabSz="914378">
              <a:defRPr/>
            </a:pPr>
            <a:r>
              <a:rPr lang="it-IT" sz="1200" dirty="0">
                <a:ln w="0"/>
                <a:solidFill>
                  <a:schemeClr val="tx1"/>
                </a:solidFill>
                <a:effectLst>
                  <a:outerShdw blurRad="38100" dist="19050" dir="2700000" algn="tl" rotWithShape="0">
                    <a:schemeClr val="dk1">
                      <a:alpha val="40000"/>
                    </a:schemeClr>
                  </a:outerShdw>
                </a:effectLst>
              </a:rPr>
              <a:t>(*) Intervento commissariale</a:t>
            </a:r>
            <a:endParaRPr sz="1200" dirty="0">
              <a:ln w="0"/>
              <a:solidFill>
                <a:schemeClr val="tx1"/>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265928014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ella 3"/>
          <p:cNvGraphicFramePr>
            <a:graphicFrameLocks noGrp="1"/>
          </p:cNvGraphicFramePr>
          <p:nvPr>
            <p:extLst>
              <p:ext uri="{D42A27DB-BD31-4B8C-83A1-F6EECF244321}">
                <p14:modId xmlns:p14="http://schemas.microsoft.com/office/powerpoint/2010/main" val="1882830392"/>
              </p:ext>
            </p:extLst>
          </p:nvPr>
        </p:nvGraphicFramePr>
        <p:xfrm>
          <a:off x="190500" y="888263"/>
          <a:ext cx="8355045" cy="4666717"/>
        </p:xfrm>
        <a:graphic>
          <a:graphicData uri="http://schemas.openxmlformats.org/drawingml/2006/table">
            <a:tbl>
              <a:tblPr firstRow="1" bandRow="1">
                <a:tableStyleId>{69012ECD-51FC-41F1-AA8D-1B2483CD663E}</a:tableStyleId>
              </a:tblPr>
              <a:tblGrid>
                <a:gridCol w="284290">
                  <a:extLst>
                    <a:ext uri="{9D8B030D-6E8A-4147-A177-3AD203B41FA5}">
                      <a16:colId xmlns:a16="http://schemas.microsoft.com/office/drawing/2014/main" val="1558833783"/>
                    </a:ext>
                  </a:extLst>
                </a:gridCol>
                <a:gridCol w="801219">
                  <a:extLst>
                    <a:ext uri="{9D8B030D-6E8A-4147-A177-3AD203B41FA5}">
                      <a16:colId xmlns:a16="http://schemas.microsoft.com/office/drawing/2014/main" val="1626167920"/>
                    </a:ext>
                  </a:extLst>
                </a:gridCol>
                <a:gridCol w="1117489">
                  <a:extLst>
                    <a:ext uri="{9D8B030D-6E8A-4147-A177-3AD203B41FA5}">
                      <a16:colId xmlns:a16="http://schemas.microsoft.com/office/drawing/2014/main" val="967363192"/>
                    </a:ext>
                  </a:extLst>
                </a:gridCol>
                <a:gridCol w="1083571">
                  <a:extLst>
                    <a:ext uri="{9D8B030D-6E8A-4147-A177-3AD203B41FA5}">
                      <a16:colId xmlns:a16="http://schemas.microsoft.com/office/drawing/2014/main" val="2536182727"/>
                    </a:ext>
                  </a:extLst>
                </a:gridCol>
                <a:gridCol w="934911">
                  <a:extLst>
                    <a:ext uri="{9D8B030D-6E8A-4147-A177-3AD203B41FA5}">
                      <a16:colId xmlns:a16="http://schemas.microsoft.com/office/drawing/2014/main" val="530699571"/>
                    </a:ext>
                  </a:extLst>
                </a:gridCol>
                <a:gridCol w="4133565">
                  <a:extLst>
                    <a:ext uri="{9D8B030D-6E8A-4147-A177-3AD203B41FA5}">
                      <a16:colId xmlns:a16="http://schemas.microsoft.com/office/drawing/2014/main" val="2040920020"/>
                    </a:ext>
                  </a:extLst>
                </a:gridCol>
              </a:tblGrid>
              <a:tr h="407954">
                <a:tc>
                  <a:txBody>
                    <a:bodyPr/>
                    <a:lstStyle/>
                    <a:p>
                      <a:r>
                        <a:rPr lang="it-IT" sz="1100" dirty="0"/>
                        <a:t>N°</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it-IT" sz="1100" dirty="0"/>
                        <a:t>Strada</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it-IT" sz="1100" dirty="0"/>
                        <a:t>Titolo intervento</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it-IT" sz="1100" dirty="0"/>
                        <a:t>Importo Mln€</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it-IT" sz="1100" dirty="0" err="1"/>
                        <a:t>Appaltabilità</a:t>
                      </a:r>
                      <a:endParaRPr lang="it-IT" sz="1100" dirty="0"/>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it-IT" sz="1100" dirty="0"/>
                        <a:t>Note</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80396517"/>
                  </a:ext>
                </a:extLst>
              </a:tr>
              <a:tr h="1670301">
                <a:tc>
                  <a:txBody>
                    <a:bodyPr/>
                    <a:lstStyle/>
                    <a:p>
                      <a:pPr algn="ctr"/>
                      <a:r>
                        <a:rPr lang="it-IT" sz="800" dirty="0">
                          <a:latin typeface="+mn-lt"/>
                        </a:rPr>
                        <a:t>3</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it-IT" sz="800" b="1" dirty="0">
                          <a:latin typeface="+mn-lt"/>
                        </a:rPr>
                        <a:t>A90</a:t>
                      </a:r>
                    </a:p>
                    <a:p>
                      <a:pPr marL="0" marR="0" indent="0" algn="l" defTabSz="914400" rtl="0" eaLnBrk="1" fontAlgn="auto" latinLnBrk="0" hangingPunct="1">
                        <a:lnSpc>
                          <a:spcPct val="100000"/>
                        </a:lnSpc>
                        <a:spcBef>
                          <a:spcPts val="0"/>
                        </a:spcBef>
                        <a:spcAft>
                          <a:spcPts val="0"/>
                        </a:spcAft>
                        <a:buClrTx/>
                        <a:buSzTx/>
                        <a:buFontTx/>
                        <a:buNone/>
                        <a:tabLst/>
                        <a:defRPr/>
                      </a:pPr>
                      <a:r>
                        <a:rPr lang="it-IT" sz="800" b="0" dirty="0">
                          <a:latin typeface="+mn-lt"/>
                        </a:rPr>
                        <a:t>Autostrada del Grande Raccordo Anulare di Roma</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lang="it-IT" sz="800" dirty="0">
                          <a:effectLst/>
                          <a:latin typeface="+mn-lt"/>
                          <a:ea typeface="Times New Roman" panose="02020603050405020304" pitchFamily="18" charset="0"/>
                        </a:rPr>
                        <a:t>Intervento di potenziamento dello svincolo Tiburtina. 1° stralcio funzionale</a:t>
                      </a:r>
                      <a:endParaRPr lang="it-IT" sz="800" dirty="0">
                        <a:latin typeface="+mn-lt"/>
                      </a:endParaRP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FF00"/>
                    </a:solidFill>
                  </a:tcPr>
                </a:tc>
                <a:tc>
                  <a:txBody>
                    <a:bodyPr/>
                    <a:lstStyle/>
                    <a:p>
                      <a:pPr algn="ctr"/>
                      <a:r>
                        <a:rPr lang="it-IT" sz="800" b="1" dirty="0">
                          <a:effectLst/>
                          <a:latin typeface="+mn-lt"/>
                          <a:ea typeface="Times New Roman" panose="02020603050405020304" pitchFamily="18" charset="0"/>
                        </a:rPr>
                        <a:t>34,22 M€</a:t>
                      </a:r>
                      <a:endParaRPr lang="it-IT" sz="800" b="0" dirty="0">
                        <a:effectLst/>
                        <a:latin typeface="+mn-lt"/>
                        <a:ea typeface="Times New Roman" panose="02020603050405020304" pitchFamily="18"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lang="it-IT" sz="800" b="0" dirty="0">
                          <a:effectLst/>
                          <a:latin typeface="+mn-lt"/>
                          <a:ea typeface="Times New Roman" panose="02020603050405020304" pitchFamily="18" charset="0"/>
                        </a:rPr>
                        <a:t>finanziato per 34,22M€</a:t>
                      </a:r>
                    </a:p>
                    <a:p>
                      <a:pPr marL="0" marR="0" indent="0" algn="ctr" defTabSz="914400" rtl="0" eaLnBrk="1" fontAlgn="auto" latinLnBrk="0" hangingPunct="1">
                        <a:lnSpc>
                          <a:spcPct val="100000"/>
                        </a:lnSpc>
                        <a:spcBef>
                          <a:spcPts val="0"/>
                        </a:spcBef>
                        <a:spcAft>
                          <a:spcPts val="0"/>
                        </a:spcAft>
                        <a:buClrTx/>
                        <a:buSzTx/>
                        <a:buFontTx/>
                        <a:buNone/>
                        <a:tabLst/>
                        <a:defRPr/>
                      </a:pPr>
                      <a:endParaRPr lang="it-IT" sz="800" b="0" dirty="0">
                        <a:effectLst/>
                        <a:latin typeface="+mn-lt"/>
                        <a:ea typeface="Times New Roman" panose="02020603050405020304" pitchFamily="18" charset="0"/>
                      </a:endParaRPr>
                    </a:p>
                    <a:p>
                      <a:pPr marL="171450" marR="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it-IT" sz="800" dirty="0">
                          <a:effectLst/>
                          <a:latin typeface="+mn-lt"/>
                          <a:ea typeface="Times New Roman" panose="02020603050405020304" pitchFamily="18" charset="0"/>
                        </a:rPr>
                        <a:t>Fondo Unico Anas per 34,10M€</a:t>
                      </a:r>
                    </a:p>
                    <a:p>
                      <a:pPr marL="171450" marR="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it-IT" sz="800" dirty="0" err="1">
                          <a:effectLst/>
                          <a:latin typeface="+mn-lt"/>
                          <a:ea typeface="Times New Roman" panose="02020603050405020304" pitchFamily="18" charset="0"/>
                        </a:rPr>
                        <a:t>CdP</a:t>
                      </a:r>
                      <a:r>
                        <a:rPr lang="it-IT" sz="800" dirty="0">
                          <a:effectLst/>
                          <a:latin typeface="+mn-lt"/>
                          <a:ea typeface="Times New Roman" panose="02020603050405020304" pitchFamily="18" charset="0"/>
                        </a:rPr>
                        <a:t> 2014 per 0,12M€</a:t>
                      </a:r>
                      <a:endParaRPr lang="it-IT" sz="800" dirty="0">
                        <a:latin typeface="+mn-lt"/>
                      </a:endParaRP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it-IT" sz="800" b="1" dirty="0">
                          <a:latin typeface="+mn-lt"/>
                        </a:rPr>
                        <a:t>2023</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it-IT" sz="800" b="0" kern="1200" dirty="0">
                          <a:solidFill>
                            <a:schemeClr val="tx1"/>
                          </a:solidFill>
                          <a:effectLst/>
                          <a:latin typeface="+mn-lt"/>
                          <a:ea typeface="Times New Roman" panose="02020603050405020304" pitchFamily="18" charset="0"/>
                          <a:cs typeface="+mn-cs"/>
                        </a:rPr>
                        <a:t>L’intervento è relativo all’adeguamento dello svincolo sul G.R.A. della via Tiburtina, che si rende necessario a seguito dei lavori di raddoppio della sede stradale della statale in fase di realizzazione da parte del Comune di Roma. L’intervento completo si compone di un 2°stralcio che prevede la realizzazione delle complanari al GRA, in carreggiata esterna ed interna, nel tratto compreso tra lo svincolo GRA/Casal Monastero e lo svincolo </a:t>
                      </a:r>
                      <a:r>
                        <a:rPr lang="it-IT" sz="800" b="0" kern="1200" dirty="0" err="1">
                          <a:solidFill>
                            <a:schemeClr val="tx1"/>
                          </a:solidFill>
                          <a:effectLst/>
                          <a:latin typeface="+mn-lt"/>
                          <a:ea typeface="Times New Roman" panose="02020603050405020304" pitchFamily="18" charset="0"/>
                          <a:cs typeface="+mn-cs"/>
                        </a:rPr>
                        <a:t>GRA</a:t>
                      </a:r>
                      <a:r>
                        <a:rPr lang="it-IT" sz="800" b="0" kern="1200" dirty="0">
                          <a:solidFill>
                            <a:schemeClr val="tx1"/>
                          </a:solidFill>
                          <a:effectLst/>
                          <a:latin typeface="+mn-lt"/>
                          <a:ea typeface="Times New Roman" panose="02020603050405020304" pitchFamily="18" charset="0"/>
                          <a:cs typeface="+mn-cs"/>
                        </a:rPr>
                        <a:t>/Autostrada A24</a:t>
                      </a:r>
                      <a:r>
                        <a:rPr lang="it-IT" sz="800" b="0" kern="1200" baseline="0" dirty="0">
                          <a:solidFill>
                            <a:schemeClr val="tx1"/>
                          </a:solidFill>
                          <a:effectLst/>
                          <a:latin typeface="+mn-lt"/>
                          <a:ea typeface="Times New Roman" panose="02020603050405020304" pitchFamily="18" charset="0"/>
                          <a:cs typeface="+mn-cs"/>
                        </a:rPr>
                        <a:t>.</a:t>
                      </a:r>
                      <a:endParaRPr lang="it-IT" sz="800" b="0" kern="1200" dirty="0">
                        <a:solidFill>
                          <a:schemeClr val="tx1"/>
                        </a:solidFill>
                        <a:effectLst/>
                        <a:latin typeface="+mn-lt"/>
                        <a:ea typeface="Times New Roman" panose="02020603050405020304" pitchFamily="18" charset="0"/>
                        <a:cs typeface="+mn-cs"/>
                      </a:endParaRPr>
                    </a:p>
                    <a:p>
                      <a:pPr marL="0" marR="0" indent="0" algn="just" defTabSz="914400" rtl="0" eaLnBrk="1" fontAlgn="auto" latinLnBrk="0" hangingPunct="1">
                        <a:lnSpc>
                          <a:spcPct val="100000"/>
                        </a:lnSpc>
                        <a:spcBef>
                          <a:spcPts val="0"/>
                        </a:spcBef>
                        <a:spcAft>
                          <a:spcPts val="0"/>
                        </a:spcAft>
                        <a:buClrTx/>
                        <a:buSzTx/>
                        <a:buFontTx/>
                        <a:buNone/>
                        <a:tabLst/>
                        <a:defRPr/>
                      </a:pPr>
                      <a:r>
                        <a:rPr lang="it-IT" sz="800" b="0" kern="1200" dirty="0">
                          <a:solidFill>
                            <a:schemeClr val="tx1"/>
                          </a:solidFill>
                          <a:effectLst/>
                          <a:latin typeface="+mn-lt"/>
                          <a:ea typeface="Times New Roman" panose="02020603050405020304" pitchFamily="18" charset="0"/>
                          <a:cs typeface="+mn-cs"/>
                        </a:rPr>
                        <a:t>Il progetto preliminare dell'intervento è stato approvato da Anas nel 2009.</a:t>
                      </a:r>
                    </a:p>
                    <a:p>
                      <a:pPr marL="0" marR="0" indent="0" algn="just" defTabSz="914400" rtl="0" eaLnBrk="1" fontAlgn="auto" latinLnBrk="0" hangingPunct="1">
                        <a:lnSpc>
                          <a:spcPct val="100000"/>
                        </a:lnSpc>
                        <a:spcBef>
                          <a:spcPts val="0"/>
                        </a:spcBef>
                        <a:spcAft>
                          <a:spcPts val="0"/>
                        </a:spcAft>
                        <a:buClrTx/>
                        <a:buSzTx/>
                        <a:buFontTx/>
                        <a:buNone/>
                        <a:tabLst/>
                        <a:defRPr/>
                      </a:pPr>
                      <a:r>
                        <a:rPr lang="it-IT" sz="800" b="0" kern="1200" dirty="0">
                          <a:solidFill>
                            <a:schemeClr val="tx1"/>
                          </a:solidFill>
                          <a:effectLst/>
                          <a:latin typeface="+mn-lt"/>
                          <a:ea typeface="Times New Roman" panose="02020603050405020304" pitchFamily="18" charset="0"/>
                          <a:cs typeface="+mn-cs"/>
                        </a:rPr>
                        <a:t>Il PD è stato redatto da Progettista incaricato da Anas, con il quale</a:t>
                      </a:r>
                      <a:r>
                        <a:rPr lang="it-IT" sz="800" b="0" kern="1200" baseline="0" dirty="0">
                          <a:solidFill>
                            <a:schemeClr val="tx1"/>
                          </a:solidFill>
                          <a:effectLst/>
                          <a:latin typeface="+mn-lt"/>
                          <a:ea typeface="Times New Roman" panose="02020603050405020304" pitchFamily="18" charset="0"/>
                          <a:cs typeface="+mn-cs"/>
                        </a:rPr>
                        <a:t> è stata avviata nel 2018 la </a:t>
                      </a:r>
                      <a:r>
                        <a:rPr lang="it-IT" sz="800" b="0" kern="1200" baseline="0" dirty="0" err="1">
                          <a:solidFill>
                            <a:schemeClr val="tx1"/>
                          </a:solidFill>
                          <a:effectLst/>
                          <a:latin typeface="+mn-lt"/>
                          <a:ea typeface="Times New Roman" panose="02020603050405020304" pitchFamily="18" charset="0"/>
                          <a:cs typeface="+mn-cs"/>
                        </a:rPr>
                        <a:t>CdS</a:t>
                      </a:r>
                      <a:r>
                        <a:rPr lang="it-IT" sz="800" b="0" kern="1200" baseline="0" dirty="0">
                          <a:solidFill>
                            <a:schemeClr val="tx1"/>
                          </a:solidFill>
                          <a:effectLst/>
                          <a:latin typeface="+mn-lt"/>
                          <a:ea typeface="Times New Roman" panose="02020603050405020304" pitchFamily="18" charset="0"/>
                          <a:cs typeface="+mn-cs"/>
                        </a:rPr>
                        <a:t>, attualmente sospesa in attesa della procedura ambientale. È stato ottenuto il parere del CSLLPP a gennaio 2021; sono stati eseguiti i controlli ex </a:t>
                      </a:r>
                      <a:r>
                        <a:rPr lang="it-IT" sz="800" b="0" kern="1200" baseline="0" dirty="0" err="1">
                          <a:solidFill>
                            <a:schemeClr val="tx1"/>
                          </a:solidFill>
                          <a:effectLst/>
                          <a:latin typeface="+mn-lt"/>
                          <a:ea typeface="Times New Roman" panose="02020603050405020304" pitchFamily="18" charset="0"/>
                          <a:cs typeface="+mn-cs"/>
                        </a:rPr>
                        <a:t>D.Lgs</a:t>
                      </a:r>
                      <a:r>
                        <a:rPr lang="it-IT" sz="800" b="0" kern="1200" baseline="0" dirty="0">
                          <a:solidFill>
                            <a:schemeClr val="tx1"/>
                          </a:solidFill>
                          <a:effectLst/>
                          <a:latin typeface="+mn-lt"/>
                          <a:ea typeface="Times New Roman" panose="02020603050405020304" pitchFamily="18" charset="0"/>
                          <a:cs typeface="+mn-cs"/>
                        </a:rPr>
                        <a:t> 35/11 con relazione finale emessa a gennaio 2021. Si è conclusa la verifica preventiva archeologica con autorizzazione del piano indagini a gennaio 2021  e saggi di prossimo avvio.</a:t>
                      </a:r>
                    </a:p>
                    <a:p>
                      <a:pPr marL="0" marR="0" indent="0" algn="just" defTabSz="914400" rtl="0" eaLnBrk="1" fontAlgn="auto" latinLnBrk="0" hangingPunct="1">
                        <a:lnSpc>
                          <a:spcPct val="100000"/>
                        </a:lnSpc>
                        <a:spcBef>
                          <a:spcPts val="0"/>
                        </a:spcBef>
                        <a:spcAft>
                          <a:spcPts val="0"/>
                        </a:spcAft>
                        <a:buClrTx/>
                        <a:buSzTx/>
                        <a:buFontTx/>
                        <a:buNone/>
                        <a:tabLst/>
                        <a:defRPr/>
                      </a:pPr>
                      <a:r>
                        <a:rPr lang="it-IT" sz="800" b="0" kern="1200" dirty="0">
                          <a:solidFill>
                            <a:schemeClr val="tx1"/>
                          </a:solidFill>
                          <a:effectLst/>
                          <a:latin typeface="+mn-lt"/>
                          <a:ea typeface="Times New Roman" panose="02020603050405020304" pitchFamily="18" charset="0"/>
                          <a:cs typeface="+mn-cs"/>
                        </a:rPr>
                        <a:t>È</a:t>
                      </a:r>
                      <a:r>
                        <a:rPr lang="it-IT" sz="800" b="0" kern="1200" baseline="0" dirty="0">
                          <a:solidFill>
                            <a:schemeClr val="tx1"/>
                          </a:solidFill>
                          <a:effectLst/>
                          <a:latin typeface="+mn-lt"/>
                          <a:ea typeface="Times New Roman" panose="02020603050405020304" pitchFamily="18" charset="0"/>
                          <a:cs typeface="+mn-cs"/>
                        </a:rPr>
                        <a:t> stato r</a:t>
                      </a:r>
                      <a:r>
                        <a:rPr lang="it-IT" sz="800" b="0" kern="1200" dirty="0">
                          <a:solidFill>
                            <a:schemeClr val="tx1"/>
                          </a:solidFill>
                          <a:effectLst/>
                          <a:latin typeface="+mn-lt"/>
                          <a:ea typeface="Times New Roman" panose="02020603050405020304" pitchFamily="18" charset="0"/>
                          <a:cs typeface="+mn-cs"/>
                        </a:rPr>
                        <a:t>edatto da progettista incaricato</a:t>
                      </a:r>
                      <a:r>
                        <a:rPr lang="it-IT" sz="800" b="0" kern="1200" baseline="0" dirty="0">
                          <a:solidFill>
                            <a:schemeClr val="tx1"/>
                          </a:solidFill>
                          <a:effectLst/>
                          <a:latin typeface="+mn-lt"/>
                          <a:ea typeface="Times New Roman" panose="02020603050405020304" pitchFamily="18" charset="0"/>
                          <a:cs typeface="+mn-cs"/>
                        </a:rPr>
                        <a:t> da Anas il SIA di 1° e 2°stralcio, con il quale è stata avviata la procedura VIA con istanza del 16.12.2021.</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2588462">
                <a:tc>
                  <a:txBody>
                    <a:bodyPr/>
                    <a:lstStyle/>
                    <a:p>
                      <a:pPr algn="ctr"/>
                      <a:r>
                        <a:rPr lang="it-IT" sz="900" dirty="0"/>
                        <a:t>4</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it-IT" sz="800" b="1" dirty="0">
                          <a:latin typeface="+mn-lt"/>
                        </a:rPr>
                        <a:t>A90</a:t>
                      </a:r>
                    </a:p>
                    <a:p>
                      <a:pPr marL="0" marR="0" indent="0" algn="l" defTabSz="914400" rtl="0" eaLnBrk="1" fontAlgn="auto" latinLnBrk="0" hangingPunct="1">
                        <a:lnSpc>
                          <a:spcPct val="100000"/>
                        </a:lnSpc>
                        <a:spcBef>
                          <a:spcPts val="0"/>
                        </a:spcBef>
                        <a:spcAft>
                          <a:spcPts val="0"/>
                        </a:spcAft>
                        <a:buClrTx/>
                        <a:buSzTx/>
                        <a:buFontTx/>
                        <a:buNone/>
                        <a:tabLst/>
                        <a:defRPr/>
                      </a:pPr>
                      <a:r>
                        <a:rPr lang="it-IT" sz="800" b="0" dirty="0">
                          <a:latin typeface="+mn-lt"/>
                        </a:rPr>
                        <a:t>Autostrada del Grande Raccordo Anulare di Roma</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lang="it-IT" sz="800" b="0" kern="1200" dirty="0">
                          <a:solidFill>
                            <a:schemeClr val="tx1"/>
                          </a:solidFill>
                          <a:latin typeface="+mn-lt"/>
                          <a:ea typeface="+mn-ea"/>
                          <a:cs typeface="+mn-cs"/>
                        </a:rPr>
                        <a:t>Intervento di realizzazione di corsie complanari al GRA tra Via Casilina e lo svincolo di Tor Bella Monaca – 1° Stralcio</a:t>
                      </a:r>
                      <a:r>
                        <a:rPr lang="it-IT" sz="800" dirty="0">
                          <a:effectLst/>
                          <a:latin typeface="Open Sans Light" panose="020B0306030504020204" pitchFamily="34" charset="0"/>
                          <a:ea typeface="Times New Roman" panose="02020603050405020304" pitchFamily="18" charset="0"/>
                        </a:rPr>
                        <a:t>. </a:t>
                      </a:r>
                      <a:endParaRPr lang="it-IT" sz="800" dirty="0"/>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FF00"/>
                    </a:solidFill>
                  </a:tcPr>
                </a:tc>
                <a:tc>
                  <a:txBody>
                    <a:bodyPr/>
                    <a:lstStyle/>
                    <a:p>
                      <a:pPr marL="0" algn="ctr" defTabSz="914400" rtl="0" eaLnBrk="1" latinLnBrk="0" hangingPunct="1"/>
                      <a:r>
                        <a:rPr lang="it-IT" sz="800" b="1" kern="1200" dirty="0">
                          <a:solidFill>
                            <a:schemeClr val="tx1"/>
                          </a:solidFill>
                          <a:effectLst/>
                          <a:latin typeface="+mn-lt"/>
                          <a:ea typeface="Times New Roman" panose="02020603050405020304" pitchFamily="18" charset="0"/>
                          <a:cs typeface="+mn-cs"/>
                        </a:rPr>
                        <a:t>44,18 M€ </a:t>
                      </a:r>
                    </a:p>
                    <a:p>
                      <a:pPr marL="0" algn="ctr" defTabSz="914400" rtl="0" eaLnBrk="1" latinLnBrk="0" hangingPunct="1"/>
                      <a:r>
                        <a:rPr lang="it-IT" sz="800" b="0" kern="1200" dirty="0">
                          <a:solidFill>
                            <a:schemeClr val="tx1"/>
                          </a:solidFill>
                          <a:effectLst/>
                          <a:latin typeface="+mn-lt"/>
                          <a:ea typeface="Times New Roman" panose="02020603050405020304" pitchFamily="18" charset="0"/>
                          <a:cs typeface="+mn-cs"/>
                        </a:rPr>
                        <a:t>finanziato per 44,18M€</a:t>
                      </a:r>
                    </a:p>
                    <a:p>
                      <a:pPr marL="0" algn="ctr" defTabSz="914400" rtl="0" eaLnBrk="1" latinLnBrk="0" hangingPunct="1"/>
                      <a:endParaRPr lang="it-IT" sz="800" b="0" kern="1200" dirty="0">
                        <a:solidFill>
                          <a:schemeClr val="tx1"/>
                        </a:solidFill>
                        <a:effectLst/>
                        <a:latin typeface="+mn-lt"/>
                        <a:ea typeface="Times New Roman" panose="02020603050405020304" pitchFamily="18" charset="0"/>
                        <a:cs typeface="+mn-cs"/>
                      </a:endParaRPr>
                    </a:p>
                    <a:p>
                      <a:pPr marL="171450" indent="-171450" algn="ctr" defTabSz="914400" rtl="0" eaLnBrk="1" latinLnBrk="0" hangingPunct="1">
                        <a:buFont typeface="Arial" panose="020B0604020202020204" pitchFamily="34" charset="0"/>
                        <a:buChar char="•"/>
                      </a:pPr>
                      <a:r>
                        <a:rPr lang="it-IT" sz="800" b="0" kern="1200" dirty="0">
                          <a:solidFill>
                            <a:schemeClr val="tx1"/>
                          </a:solidFill>
                          <a:effectLst/>
                          <a:latin typeface="+mn-lt"/>
                          <a:ea typeface="Times New Roman" panose="02020603050405020304" pitchFamily="18" charset="0"/>
                          <a:cs typeface="+mn-cs"/>
                        </a:rPr>
                        <a:t>26,7M€ da </a:t>
                      </a:r>
                      <a:r>
                        <a:rPr lang="it-IT" sz="800" b="0" kern="1200" dirty="0" err="1">
                          <a:solidFill>
                            <a:schemeClr val="tx1"/>
                          </a:solidFill>
                          <a:effectLst/>
                          <a:latin typeface="+mn-lt"/>
                          <a:ea typeface="Times New Roman" panose="02020603050405020304" pitchFamily="18" charset="0"/>
                          <a:cs typeface="+mn-cs"/>
                        </a:rPr>
                        <a:t>CdP</a:t>
                      </a:r>
                      <a:r>
                        <a:rPr lang="it-IT" sz="800" b="0" kern="1200" dirty="0">
                          <a:solidFill>
                            <a:schemeClr val="tx1"/>
                          </a:solidFill>
                          <a:effectLst/>
                          <a:latin typeface="+mn-lt"/>
                          <a:ea typeface="Times New Roman" panose="02020603050405020304" pitchFamily="18" charset="0"/>
                          <a:cs typeface="+mn-cs"/>
                        </a:rPr>
                        <a:t> 2014</a:t>
                      </a:r>
                    </a:p>
                    <a:p>
                      <a:pPr marL="171450" indent="-171450" algn="ctr" defTabSz="914400" rtl="0" eaLnBrk="1" latinLnBrk="0" hangingPunct="1">
                        <a:buFont typeface="Arial" panose="020B0604020202020204" pitchFamily="34" charset="0"/>
                        <a:buChar char="•"/>
                      </a:pPr>
                      <a:r>
                        <a:rPr lang="it-IT" sz="800" b="0" kern="1200" dirty="0">
                          <a:solidFill>
                            <a:schemeClr val="tx1"/>
                          </a:solidFill>
                          <a:effectLst/>
                          <a:latin typeface="+mn-lt"/>
                          <a:ea typeface="Times New Roman" panose="02020603050405020304" pitchFamily="18" charset="0"/>
                          <a:cs typeface="+mn-cs"/>
                        </a:rPr>
                        <a:t>17,48M€ da Intesa GRA</a:t>
                      </a:r>
                      <a:r>
                        <a:rPr lang="it-IT" sz="800" b="0" kern="1200" baseline="0" dirty="0">
                          <a:solidFill>
                            <a:schemeClr val="tx1"/>
                          </a:solidFill>
                          <a:effectLst/>
                          <a:latin typeface="+mn-lt"/>
                          <a:ea typeface="Times New Roman" panose="02020603050405020304" pitchFamily="18" charset="0"/>
                          <a:cs typeface="+mn-cs"/>
                        </a:rPr>
                        <a:t> </a:t>
                      </a:r>
                      <a:r>
                        <a:rPr lang="it-IT" sz="800" b="0" kern="1200" dirty="0">
                          <a:solidFill>
                            <a:schemeClr val="tx1"/>
                          </a:solidFill>
                          <a:effectLst/>
                          <a:latin typeface="+mn-lt"/>
                          <a:ea typeface="Times New Roman" panose="02020603050405020304" pitchFamily="18" charset="0"/>
                          <a:cs typeface="+mn-cs"/>
                        </a:rPr>
                        <a:t>sottoscritta con il comune</a:t>
                      </a:r>
                      <a:endParaRPr lang="it-IT" sz="800" dirty="0"/>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000000"/>
                          </a:solidFill>
                          <a:effectLst/>
                          <a:uLnTx/>
                          <a:uFillTx/>
                          <a:latin typeface="+mn-lt"/>
                          <a:ea typeface="+mn-ea"/>
                          <a:cs typeface="+mn-cs"/>
                        </a:rPr>
                        <a:t>2022</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it-IT" sz="800" b="0" kern="1200" dirty="0">
                          <a:solidFill>
                            <a:schemeClr val="tx1"/>
                          </a:solidFill>
                          <a:effectLst/>
                          <a:latin typeface="+mn-lt"/>
                          <a:ea typeface="Times New Roman" panose="02020603050405020304" pitchFamily="18" charset="0"/>
                          <a:cs typeface="+mn-cs"/>
                        </a:rPr>
                        <a:t>L’intervento riguarda  il 1° stralcio del potenziamento della viabilità complanare al GRA, nel  tratto tra lo svincolo della Casilina e lo svincolo di Tor Bella Monaca (km 34+990 ÷ km 38+040),</a:t>
                      </a:r>
                      <a:r>
                        <a:rPr lang="it-IT" sz="800" b="0" kern="1200" baseline="0" dirty="0">
                          <a:solidFill>
                            <a:schemeClr val="tx1"/>
                          </a:solidFill>
                          <a:effectLst/>
                          <a:latin typeface="+mn-lt"/>
                          <a:ea typeface="Times New Roman" panose="02020603050405020304" pitchFamily="18" charset="0"/>
                          <a:cs typeface="+mn-cs"/>
                        </a:rPr>
                        <a:t> e precisamente </a:t>
                      </a:r>
                      <a:endParaRPr lang="it-IT" sz="800" b="0" kern="1200" dirty="0">
                        <a:solidFill>
                          <a:schemeClr val="tx1"/>
                        </a:solidFill>
                        <a:effectLst/>
                        <a:latin typeface="+mn-lt"/>
                        <a:ea typeface="Times New Roman" panose="02020603050405020304" pitchFamily="18" charset="0"/>
                        <a:cs typeface="+mn-cs"/>
                      </a:endParaRPr>
                    </a:p>
                    <a:p>
                      <a:pPr marL="0" marR="0" indent="0" algn="just" defTabSz="914400" rtl="0" eaLnBrk="1" fontAlgn="auto" latinLnBrk="0" hangingPunct="1">
                        <a:lnSpc>
                          <a:spcPct val="100000"/>
                        </a:lnSpc>
                        <a:spcBef>
                          <a:spcPts val="0"/>
                        </a:spcBef>
                        <a:spcAft>
                          <a:spcPts val="0"/>
                        </a:spcAft>
                        <a:buClrTx/>
                        <a:buSzTx/>
                        <a:buFontTx/>
                        <a:buNone/>
                        <a:tabLst/>
                        <a:defRPr/>
                      </a:pPr>
                      <a:r>
                        <a:rPr lang="it-IT" sz="800" b="0" kern="1200" dirty="0">
                          <a:solidFill>
                            <a:schemeClr val="tx1"/>
                          </a:solidFill>
                          <a:effectLst/>
                          <a:latin typeface="+mn-lt"/>
                          <a:ea typeface="Times New Roman" panose="02020603050405020304" pitchFamily="18" charset="0"/>
                          <a:cs typeface="+mn-cs"/>
                        </a:rPr>
                        <a:t>la realizzazione del sistema complanare dallo svincolo Casilina fino al cavalcavia dello svincolo Mistica.</a:t>
                      </a:r>
                    </a:p>
                    <a:p>
                      <a:pPr marL="0" marR="0" indent="0" algn="just" defTabSz="914400" rtl="0" eaLnBrk="1" fontAlgn="auto" latinLnBrk="0" hangingPunct="1">
                        <a:lnSpc>
                          <a:spcPct val="100000"/>
                        </a:lnSpc>
                        <a:spcBef>
                          <a:spcPts val="0"/>
                        </a:spcBef>
                        <a:spcAft>
                          <a:spcPts val="0"/>
                        </a:spcAft>
                        <a:buClrTx/>
                        <a:buSzTx/>
                        <a:buFontTx/>
                        <a:buNone/>
                        <a:tabLst/>
                        <a:defRPr/>
                      </a:pPr>
                      <a:r>
                        <a:rPr lang="it-IT" sz="800" b="0" kern="1200" dirty="0">
                          <a:solidFill>
                            <a:schemeClr val="tx1"/>
                          </a:solidFill>
                          <a:effectLst/>
                          <a:latin typeface="+mn-lt"/>
                          <a:ea typeface="Times New Roman" panose="02020603050405020304" pitchFamily="18" charset="0"/>
                          <a:cs typeface="+mn-cs"/>
                        </a:rPr>
                        <a:t>La sezione tipo delle complanari prevede 2 corsie di marcia da 3,50 m e banchine in destra e sinistra, per una larghezza complessiva della piattaforma pari a 8,75 m. </a:t>
                      </a:r>
                    </a:p>
                    <a:p>
                      <a:pPr marL="0" marR="0" indent="0" algn="just" defTabSz="914400" rtl="0" eaLnBrk="1" fontAlgn="auto" latinLnBrk="0" hangingPunct="1">
                        <a:lnSpc>
                          <a:spcPct val="100000"/>
                        </a:lnSpc>
                        <a:spcBef>
                          <a:spcPts val="0"/>
                        </a:spcBef>
                        <a:spcAft>
                          <a:spcPts val="0"/>
                        </a:spcAft>
                        <a:buClrTx/>
                        <a:buSzTx/>
                        <a:buFontTx/>
                        <a:buNone/>
                        <a:tabLst/>
                        <a:defRPr/>
                      </a:pPr>
                      <a:r>
                        <a:rPr lang="it-IT" sz="800" b="0" kern="1200" dirty="0">
                          <a:solidFill>
                            <a:schemeClr val="tx1"/>
                          </a:solidFill>
                          <a:effectLst/>
                          <a:latin typeface="+mn-lt"/>
                          <a:ea typeface="Times New Roman" panose="02020603050405020304" pitchFamily="18" charset="0"/>
                          <a:cs typeface="+mn-cs"/>
                        </a:rPr>
                        <a:t>Il Progetto Preliminare complessivo (1° e 2°stralcio) redatto dal Comune ha acquisito una esclusione VIA nel 2012, ed è stato approvato da Anas</a:t>
                      </a:r>
                      <a:r>
                        <a:rPr lang="it-IT" sz="800" b="0" kern="1200" baseline="0" dirty="0">
                          <a:solidFill>
                            <a:schemeClr val="tx1"/>
                          </a:solidFill>
                          <a:effectLst/>
                          <a:latin typeface="+mn-lt"/>
                          <a:ea typeface="Times New Roman" panose="02020603050405020304" pitchFamily="18" charset="0"/>
                          <a:cs typeface="+mn-cs"/>
                        </a:rPr>
                        <a:t> nel 2014.</a:t>
                      </a:r>
                    </a:p>
                    <a:p>
                      <a:pPr marL="0" marR="0" indent="0" algn="just" defTabSz="914400" rtl="0" eaLnBrk="1" fontAlgn="auto" latinLnBrk="0" hangingPunct="1">
                        <a:lnSpc>
                          <a:spcPct val="100000"/>
                        </a:lnSpc>
                        <a:spcBef>
                          <a:spcPts val="0"/>
                        </a:spcBef>
                        <a:spcAft>
                          <a:spcPts val="0"/>
                        </a:spcAft>
                        <a:buClrTx/>
                        <a:buSzTx/>
                        <a:buFontTx/>
                        <a:buNone/>
                        <a:tabLst/>
                        <a:defRPr/>
                      </a:pPr>
                      <a:r>
                        <a:rPr lang="it-IT" sz="800" b="0" kern="1200" dirty="0">
                          <a:solidFill>
                            <a:schemeClr val="tx1"/>
                          </a:solidFill>
                          <a:effectLst/>
                          <a:latin typeface="+mn-lt"/>
                          <a:ea typeface="Times New Roman" panose="02020603050405020304" pitchFamily="18" charset="0"/>
                          <a:cs typeface="+mn-cs"/>
                        </a:rPr>
                        <a:t>Successivamente è stato redatto</a:t>
                      </a:r>
                      <a:r>
                        <a:rPr lang="it-IT" sz="800" b="0" kern="1200" baseline="0" dirty="0">
                          <a:solidFill>
                            <a:schemeClr val="tx1"/>
                          </a:solidFill>
                          <a:effectLst/>
                          <a:latin typeface="+mn-lt"/>
                          <a:ea typeface="Times New Roman" panose="02020603050405020304" pitchFamily="18" charset="0"/>
                          <a:cs typeface="+mn-cs"/>
                        </a:rPr>
                        <a:t> il </a:t>
                      </a:r>
                      <a:r>
                        <a:rPr lang="it-IT" sz="800" b="0" kern="1200" dirty="0">
                          <a:solidFill>
                            <a:schemeClr val="tx1"/>
                          </a:solidFill>
                          <a:effectLst/>
                          <a:latin typeface="+mn-lt"/>
                          <a:ea typeface="Times New Roman" panose="02020603050405020304" pitchFamily="18" charset="0"/>
                          <a:cs typeface="+mn-cs"/>
                        </a:rPr>
                        <a:t>Progetto Definitivo complessivo da Progettisti incaricati da Galotti (privato in convenzione con il Comune), con il quale</a:t>
                      </a:r>
                      <a:r>
                        <a:rPr lang="it-IT" sz="800" b="0" kern="1200" baseline="0" dirty="0">
                          <a:solidFill>
                            <a:schemeClr val="tx1"/>
                          </a:solidFill>
                          <a:effectLst/>
                          <a:latin typeface="+mn-lt"/>
                          <a:ea typeface="Times New Roman" panose="02020603050405020304" pitchFamily="18" charset="0"/>
                          <a:cs typeface="+mn-cs"/>
                        </a:rPr>
                        <a:t> è stata espletata la </a:t>
                      </a:r>
                      <a:r>
                        <a:rPr lang="it-IT" sz="800" b="0" kern="1200" baseline="0" dirty="0" err="1">
                          <a:solidFill>
                            <a:schemeClr val="tx1"/>
                          </a:solidFill>
                          <a:effectLst/>
                          <a:latin typeface="+mn-lt"/>
                          <a:ea typeface="Times New Roman" panose="02020603050405020304" pitchFamily="18" charset="0"/>
                          <a:cs typeface="+mn-cs"/>
                        </a:rPr>
                        <a:t>CdS</a:t>
                      </a:r>
                      <a:r>
                        <a:rPr lang="it-IT" sz="800" b="0" kern="1200" baseline="0" dirty="0">
                          <a:solidFill>
                            <a:schemeClr val="tx1"/>
                          </a:solidFill>
                          <a:effectLst/>
                          <a:latin typeface="+mn-lt"/>
                          <a:ea typeface="Times New Roman" panose="02020603050405020304" pitchFamily="18" charset="0"/>
                          <a:cs typeface="+mn-cs"/>
                        </a:rPr>
                        <a:t> </a:t>
                      </a:r>
                      <a:r>
                        <a:rPr lang="it-IT" sz="800" b="0" kern="1200" dirty="0">
                          <a:solidFill>
                            <a:schemeClr val="tx1"/>
                          </a:solidFill>
                          <a:effectLst/>
                          <a:latin typeface="+mn-lt"/>
                          <a:ea typeface="Times New Roman" panose="02020603050405020304" pitchFamily="18" charset="0"/>
                          <a:cs typeface="+mn-cs"/>
                        </a:rPr>
                        <a:t> ed assunti i pareri favorevoli degli Enti e raggiunta l’Intesa Stato–Regione nel 2015,</a:t>
                      </a:r>
                      <a:r>
                        <a:rPr lang="it-IT" sz="800" b="0" kern="1200" baseline="0" dirty="0">
                          <a:solidFill>
                            <a:schemeClr val="tx1"/>
                          </a:solidFill>
                          <a:effectLst/>
                          <a:latin typeface="+mn-lt"/>
                          <a:ea typeface="Times New Roman" panose="02020603050405020304" pitchFamily="18" charset="0"/>
                          <a:cs typeface="+mn-cs"/>
                        </a:rPr>
                        <a:t> rinnovata nel 2020 per altri 5 anni.</a:t>
                      </a:r>
                      <a:endParaRPr lang="it-IT" sz="800" b="0" kern="1200" dirty="0">
                        <a:solidFill>
                          <a:schemeClr val="tx1"/>
                        </a:solidFill>
                        <a:effectLst/>
                        <a:latin typeface="+mn-lt"/>
                        <a:ea typeface="Times New Roman" panose="02020603050405020304" pitchFamily="18" charset="0"/>
                        <a:cs typeface="+mn-cs"/>
                      </a:endParaRPr>
                    </a:p>
                    <a:p>
                      <a:pPr marL="0" marR="0" indent="0" algn="just" defTabSz="914400" rtl="0" eaLnBrk="1" fontAlgn="auto" latinLnBrk="0" hangingPunct="1">
                        <a:lnSpc>
                          <a:spcPct val="100000"/>
                        </a:lnSpc>
                        <a:spcBef>
                          <a:spcPts val="0"/>
                        </a:spcBef>
                        <a:spcAft>
                          <a:spcPts val="0"/>
                        </a:spcAft>
                        <a:buClrTx/>
                        <a:buSzTx/>
                        <a:buFontTx/>
                        <a:buNone/>
                        <a:tabLst/>
                        <a:defRPr/>
                      </a:pPr>
                      <a:r>
                        <a:rPr lang="it-IT" sz="800" b="0" kern="1200" dirty="0">
                          <a:solidFill>
                            <a:schemeClr val="tx1"/>
                          </a:solidFill>
                          <a:effectLst/>
                          <a:latin typeface="+mn-lt"/>
                          <a:ea typeface="Times New Roman" panose="02020603050405020304" pitchFamily="18" charset="0"/>
                          <a:cs typeface="+mn-cs"/>
                        </a:rPr>
                        <a:t>Il PD è stato quindi ceduto ad Anas, che ad aprile 2021 ha sottoscritto con il Comune  la Convenzione tra Anas per il completamento della progettazione e l’esecuzione dell’intervento e per il finanziamento del 1°stralcio.</a:t>
                      </a:r>
                    </a:p>
                    <a:p>
                      <a:pPr marL="0" marR="0" indent="0" algn="just" defTabSz="914400" rtl="0" eaLnBrk="1" fontAlgn="auto" latinLnBrk="0" hangingPunct="1">
                        <a:lnSpc>
                          <a:spcPct val="100000"/>
                        </a:lnSpc>
                        <a:spcBef>
                          <a:spcPts val="0"/>
                        </a:spcBef>
                        <a:spcAft>
                          <a:spcPts val="0"/>
                        </a:spcAft>
                        <a:buClrTx/>
                        <a:buSzTx/>
                        <a:buFontTx/>
                        <a:buNone/>
                        <a:tabLst/>
                        <a:defRPr/>
                      </a:pPr>
                      <a:r>
                        <a:rPr lang="it-IT" sz="800" b="0" kern="1200" dirty="0">
                          <a:solidFill>
                            <a:schemeClr val="tx1"/>
                          </a:solidFill>
                          <a:effectLst/>
                          <a:latin typeface="+mn-lt"/>
                          <a:ea typeface="Times New Roman" panose="02020603050405020304" pitchFamily="18" charset="0"/>
                          <a:cs typeface="+mn-cs"/>
                        </a:rPr>
                        <a:t>Il PD deve essere approvato da Anas, previa pubblicazione espropri ai fini della pubblica utilità conclusa a dicembre 2021, ed a seguire sarà sviluppato il PE per l’appalto dei lavori.</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7" name="Segnaposto data 4"/>
          <p:cNvSpPr txBox="1">
            <a:spLocks/>
          </p:cNvSpPr>
          <p:nvPr/>
        </p:nvSpPr>
        <p:spPr>
          <a:xfrm>
            <a:off x="8737056" y="5099586"/>
            <a:ext cx="65" cy="92333"/>
          </a:xfrm>
          <a:prstGeom prst="rect">
            <a:avLst/>
          </a:prstGeom>
          <a:solidFill>
            <a:schemeClr val="bg1"/>
          </a:solidFill>
          <a:effectLst/>
        </p:spPr>
        <p:txBody>
          <a:bodyPr wrap="none" lIns="0" tIns="0" rIns="0" bIns="0" rtlCol="0" anchor="ctr">
            <a:spAutoFit/>
          </a:bodyPr>
          <a:lstStyle>
            <a:defPPr>
              <a:defRPr lang="en-US"/>
            </a:defPPr>
            <a:lvl1pPr algn="r" defTabSz="1219170">
              <a:defRPr lang="it-IT" sz="800" smtClean="0">
                <a:solidFill>
                  <a:srgbClr val="DC002E"/>
                </a:solidFill>
                <a:effectLst/>
              </a:defRPr>
            </a:lvl1pPr>
          </a:lstStyle>
          <a:p>
            <a:endParaRPr sz="600" dirty="0"/>
          </a:p>
        </p:txBody>
      </p:sp>
      <p:graphicFrame>
        <p:nvGraphicFramePr>
          <p:cNvPr id="6" name="Diagramma 5"/>
          <p:cNvGraphicFramePr/>
          <p:nvPr>
            <p:extLst>
              <p:ext uri="{D42A27DB-BD31-4B8C-83A1-F6EECF244321}">
                <p14:modId xmlns:p14="http://schemas.microsoft.com/office/powerpoint/2010/main" val="1900822394"/>
              </p:ext>
            </p:extLst>
          </p:nvPr>
        </p:nvGraphicFramePr>
        <p:xfrm>
          <a:off x="134978" y="16679"/>
          <a:ext cx="8286246" cy="8116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0164945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ella 3"/>
          <p:cNvGraphicFramePr>
            <a:graphicFrameLocks noGrp="1"/>
          </p:cNvGraphicFramePr>
          <p:nvPr>
            <p:extLst>
              <p:ext uri="{D42A27DB-BD31-4B8C-83A1-F6EECF244321}">
                <p14:modId xmlns:p14="http://schemas.microsoft.com/office/powerpoint/2010/main" val="2777494965"/>
              </p:ext>
            </p:extLst>
          </p:nvPr>
        </p:nvGraphicFramePr>
        <p:xfrm>
          <a:off x="259299" y="948452"/>
          <a:ext cx="8152673" cy="4576047"/>
        </p:xfrm>
        <a:graphic>
          <a:graphicData uri="http://schemas.openxmlformats.org/drawingml/2006/table">
            <a:tbl>
              <a:tblPr firstRow="1" bandRow="1">
                <a:tableStyleId>{69012ECD-51FC-41F1-AA8D-1B2483CD663E}</a:tableStyleId>
              </a:tblPr>
              <a:tblGrid>
                <a:gridCol w="277404">
                  <a:extLst>
                    <a:ext uri="{9D8B030D-6E8A-4147-A177-3AD203B41FA5}">
                      <a16:colId xmlns:a16="http://schemas.microsoft.com/office/drawing/2014/main" val="1558833783"/>
                    </a:ext>
                  </a:extLst>
                </a:gridCol>
                <a:gridCol w="781812">
                  <a:extLst>
                    <a:ext uri="{9D8B030D-6E8A-4147-A177-3AD203B41FA5}">
                      <a16:colId xmlns:a16="http://schemas.microsoft.com/office/drawing/2014/main" val="1626167920"/>
                    </a:ext>
                  </a:extLst>
                </a:gridCol>
                <a:gridCol w="1090422">
                  <a:extLst>
                    <a:ext uri="{9D8B030D-6E8A-4147-A177-3AD203B41FA5}">
                      <a16:colId xmlns:a16="http://schemas.microsoft.com/office/drawing/2014/main" val="967363192"/>
                    </a:ext>
                  </a:extLst>
                </a:gridCol>
                <a:gridCol w="1057325">
                  <a:extLst>
                    <a:ext uri="{9D8B030D-6E8A-4147-A177-3AD203B41FA5}">
                      <a16:colId xmlns:a16="http://schemas.microsoft.com/office/drawing/2014/main" val="2536182727"/>
                    </a:ext>
                  </a:extLst>
                </a:gridCol>
                <a:gridCol w="945211">
                  <a:extLst>
                    <a:ext uri="{9D8B030D-6E8A-4147-A177-3AD203B41FA5}">
                      <a16:colId xmlns:a16="http://schemas.microsoft.com/office/drawing/2014/main" val="530699571"/>
                    </a:ext>
                  </a:extLst>
                </a:gridCol>
                <a:gridCol w="4000499">
                  <a:extLst>
                    <a:ext uri="{9D8B030D-6E8A-4147-A177-3AD203B41FA5}">
                      <a16:colId xmlns:a16="http://schemas.microsoft.com/office/drawing/2014/main" val="2040920020"/>
                    </a:ext>
                  </a:extLst>
                </a:gridCol>
              </a:tblGrid>
              <a:tr h="422527">
                <a:tc>
                  <a:txBody>
                    <a:bodyPr/>
                    <a:lstStyle/>
                    <a:p>
                      <a:r>
                        <a:rPr lang="it-IT" sz="1100" dirty="0"/>
                        <a:t>N°</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it-IT" sz="1100" dirty="0"/>
                        <a:t>Strada</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it-IT" sz="1100" dirty="0"/>
                        <a:t>Titolo intervento</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it-IT" sz="1100" dirty="0"/>
                        <a:t>Importo Mln€</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it-IT" sz="1100" dirty="0" err="1"/>
                        <a:t>Appaltabilità</a:t>
                      </a:r>
                      <a:endParaRPr lang="it-IT" sz="1100" dirty="0"/>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it-IT" sz="1100" dirty="0"/>
                        <a:t>Note</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80396517"/>
                  </a:ext>
                </a:extLst>
              </a:tr>
              <a:tr h="4153520">
                <a:tc>
                  <a:txBody>
                    <a:bodyPr/>
                    <a:lstStyle/>
                    <a:p>
                      <a:pPr algn="ctr"/>
                      <a:r>
                        <a:rPr lang="it-IT" sz="900" dirty="0"/>
                        <a:t>5</a:t>
                      </a:r>
                    </a:p>
                    <a:p>
                      <a:pPr algn="ctr"/>
                      <a:r>
                        <a:rPr lang="it-IT" sz="900" dirty="0"/>
                        <a:t>(*)</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it-IT" sz="800" b="1" kern="1200" dirty="0">
                          <a:solidFill>
                            <a:schemeClr val="tx1"/>
                          </a:solidFill>
                          <a:effectLst/>
                          <a:latin typeface="+mn-lt"/>
                          <a:ea typeface="+mn-ea"/>
                          <a:cs typeface="+mn-cs"/>
                        </a:rPr>
                        <a:t>S.S.675 </a:t>
                      </a:r>
                    </a:p>
                    <a:p>
                      <a:pPr marL="0" marR="0" indent="0" algn="l" defTabSz="914400" rtl="0" eaLnBrk="1" fontAlgn="auto" latinLnBrk="0" hangingPunct="1">
                        <a:lnSpc>
                          <a:spcPct val="100000"/>
                        </a:lnSpc>
                        <a:spcBef>
                          <a:spcPts val="0"/>
                        </a:spcBef>
                        <a:spcAft>
                          <a:spcPts val="0"/>
                        </a:spcAft>
                        <a:buClrTx/>
                        <a:buSzTx/>
                        <a:buFontTx/>
                        <a:buNone/>
                        <a:tabLst/>
                        <a:defRPr/>
                      </a:pPr>
                      <a:r>
                        <a:rPr lang="it-IT" sz="800" b="0" kern="1200" dirty="0">
                          <a:solidFill>
                            <a:schemeClr val="tx1"/>
                          </a:solidFill>
                          <a:effectLst/>
                          <a:latin typeface="+mn-lt"/>
                          <a:ea typeface="+mn-ea"/>
                          <a:cs typeface="+mn-cs"/>
                        </a:rPr>
                        <a:t>Umbro-Laziale</a:t>
                      </a:r>
                      <a:endParaRPr lang="it-IT" sz="800" dirty="0"/>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just"/>
                      <a:r>
                        <a:rPr lang="it-IT" sz="800" kern="1200" dirty="0">
                          <a:solidFill>
                            <a:schemeClr val="tx1"/>
                          </a:solidFill>
                          <a:effectLst/>
                          <a:latin typeface="+mn-lt"/>
                          <a:ea typeface="+mn-ea"/>
                          <a:cs typeface="+mn-cs"/>
                        </a:rPr>
                        <a:t>Sistema infrastrutturale del collegamento del porto di Civitavecchia con il nodo intermodale di Orte.</a:t>
                      </a:r>
                      <a:r>
                        <a:rPr lang="it-IT" sz="800" kern="1200" baseline="0" dirty="0">
                          <a:solidFill>
                            <a:schemeClr val="tx1"/>
                          </a:solidFill>
                          <a:effectLst/>
                          <a:latin typeface="+mn-lt"/>
                          <a:ea typeface="+mn-ea"/>
                          <a:cs typeface="+mn-cs"/>
                        </a:rPr>
                        <a:t> </a:t>
                      </a:r>
                      <a:r>
                        <a:rPr lang="it-IT" sz="800" kern="1200" dirty="0">
                          <a:solidFill>
                            <a:schemeClr val="tx1"/>
                          </a:solidFill>
                          <a:effectLst/>
                          <a:latin typeface="+mn-lt"/>
                          <a:ea typeface="+mn-ea"/>
                          <a:cs typeface="+mn-cs"/>
                        </a:rPr>
                        <a:t>Tratta Monte Romano est</a:t>
                      </a:r>
                      <a:r>
                        <a:rPr lang="it-IT" sz="800" kern="1200" baseline="0" dirty="0">
                          <a:solidFill>
                            <a:schemeClr val="tx1"/>
                          </a:solidFill>
                          <a:effectLst/>
                          <a:latin typeface="+mn-lt"/>
                          <a:ea typeface="+mn-ea"/>
                          <a:cs typeface="+mn-cs"/>
                        </a:rPr>
                        <a:t> – </a:t>
                      </a:r>
                      <a:r>
                        <a:rPr lang="it-IT" sz="800" kern="1200" dirty="0" err="1">
                          <a:solidFill>
                            <a:schemeClr val="tx1"/>
                          </a:solidFill>
                          <a:effectLst/>
                          <a:latin typeface="+mn-lt"/>
                          <a:ea typeface="+mn-ea"/>
                          <a:cs typeface="+mn-cs"/>
                        </a:rPr>
                        <a:t>Civitavec</a:t>
                      </a:r>
                      <a:r>
                        <a:rPr lang="it-IT" sz="800" kern="1200" dirty="0">
                          <a:solidFill>
                            <a:schemeClr val="tx1"/>
                          </a:solidFill>
                          <a:effectLst/>
                          <a:latin typeface="+mn-lt"/>
                          <a:ea typeface="+mn-ea"/>
                          <a:cs typeface="+mn-cs"/>
                        </a:rPr>
                        <a:t>-</a:t>
                      </a:r>
                    </a:p>
                    <a:p>
                      <a:pPr algn="just"/>
                      <a:r>
                        <a:rPr lang="it-IT" sz="800" kern="1200" dirty="0" err="1">
                          <a:solidFill>
                            <a:schemeClr val="tx1"/>
                          </a:solidFill>
                          <a:effectLst/>
                          <a:latin typeface="+mn-lt"/>
                          <a:ea typeface="+mn-ea"/>
                          <a:cs typeface="+mn-cs"/>
                        </a:rPr>
                        <a:t>chia</a:t>
                      </a:r>
                      <a:r>
                        <a:rPr lang="it-IT" sz="800" kern="1200" dirty="0">
                          <a:solidFill>
                            <a:schemeClr val="tx1"/>
                          </a:solidFill>
                          <a:effectLst/>
                          <a:latin typeface="+mn-lt"/>
                          <a:ea typeface="+mn-ea"/>
                          <a:cs typeface="+mn-cs"/>
                        </a:rPr>
                        <a:t>. </a:t>
                      </a:r>
                      <a:endParaRPr lang="it-IT" sz="800" dirty="0"/>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FF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it-IT" sz="800" b="1" kern="1200" dirty="0">
                          <a:solidFill>
                            <a:schemeClr val="tx1"/>
                          </a:solidFill>
                          <a:effectLst/>
                          <a:latin typeface="+mn-lt"/>
                          <a:ea typeface="+mn-ea"/>
                          <a:cs typeface="+mn-cs"/>
                        </a:rPr>
                        <a:t>466,77 M€</a:t>
                      </a:r>
                    </a:p>
                    <a:p>
                      <a:pPr marL="0" marR="0" indent="0" algn="ctr" defTabSz="914400" rtl="0" eaLnBrk="1" fontAlgn="auto" latinLnBrk="0" hangingPunct="1">
                        <a:lnSpc>
                          <a:spcPct val="100000"/>
                        </a:lnSpc>
                        <a:spcBef>
                          <a:spcPts val="0"/>
                        </a:spcBef>
                        <a:spcAft>
                          <a:spcPts val="0"/>
                        </a:spcAft>
                        <a:buClrTx/>
                        <a:buSzTx/>
                        <a:buFontTx/>
                        <a:buNone/>
                        <a:tabLst/>
                        <a:defRPr/>
                      </a:pPr>
                      <a:r>
                        <a:rPr lang="it-IT" sz="800" b="0" dirty="0">
                          <a:effectLst/>
                          <a:latin typeface="+mn-lt"/>
                          <a:ea typeface="Times New Roman" panose="02020603050405020304" pitchFamily="18" charset="0"/>
                        </a:rPr>
                        <a:t>finanziato per 466,77M€</a:t>
                      </a:r>
                    </a:p>
                    <a:p>
                      <a:pPr marL="0" marR="0" indent="0" algn="ctr" defTabSz="914400" rtl="0" eaLnBrk="1" fontAlgn="auto" latinLnBrk="0" hangingPunct="1">
                        <a:lnSpc>
                          <a:spcPct val="100000"/>
                        </a:lnSpc>
                        <a:spcBef>
                          <a:spcPts val="0"/>
                        </a:spcBef>
                        <a:spcAft>
                          <a:spcPts val="0"/>
                        </a:spcAft>
                        <a:buClrTx/>
                        <a:buSzTx/>
                        <a:buFontTx/>
                        <a:buNone/>
                        <a:tabLst/>
                        <a:defRPr/>
                      </a:pPr>
                      <a:endParaRPr lang="it-IT" sz="800" b="0" kern="1200" dirty="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it-IT" sz="800" b="0" i="0" u="none" strike="noStrike" kern="1200" cap="none" spc="0" normalizeH="0" baseline="0" noProof="0" dirty="0">
                          <a:ln>
                            <a:noFill/>
                          </a:ln>
                          <a:solidFill>
                            <a:srgbClr val="000000"/>
                          </a:solidFill>
                          <a:effectLst/>
                          <a:uLnTx/>
                          <a:uFillTx/>
                          <a:latin typeface="+mn-lt"/>
                          <a:ea typeface="+mn-ea"/>
                          <a:cs typeface="+mn-cs"/>
                        </a:rPr>
                        <a:t>264,82 M€ da Fondo Unico Anas, </a:t>
                      </a: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it-IT" sz="800" b="0" i="0" u="none" strike="noStrike" kern="1200" cap="none" spc="0" normalizeH="0" baseline="0" noProof="0" dirty="0">
                          <a:ln>
                            <a:noFill/>
                          </a:ln>
                          <a:solidFill>
                            <a:srgbClr val="000000"/>
                          </a:solidFill>
                          <a:effectLst/>
                          <a:uLnTx/>
                          <a:uFillTx/>
                          <a:latin typeface="+mn-lt"/>
                          <a:ea typeface="+mn-ea"/>
                          <a:cs typeface="+mn-cs"/>
                        </a:rPr>
                        <a:t>200 M€ da Fondo di Sviluppo e Coesione, </a:t>
                      </a: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it-IT" sz="800" kern="1200" dirty="0">
                          <a:solidFill>
                            <a:schemeClr val="tx1"/>
                          </a:solidFill>
                          <a:effectLst/>
                          <a:latin typeface="+mn-lt"/>
                          <a:ea typeface="+mn-ea"/>
                          <a:cs typeface="+mn-cs"/>
                        </a:rPr>
                        <a:t>1 M€ da Fonti UE </a:t>
                      </a: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it-IT" sz="800" b="0" i="0" u="none" strike="noStrike" kern="1200" cap="none" spc="0" normalizeH="0" baseline="0" noProof="0" dirty="0">
                          <a:ln>
                            <a:noFill/>
                          </a:ln>
                          <a:solidFill>
                            <a:srgbClr val="000000"/>
                          </a:solidFill>
                          <a:effectLst/>
                          <a:uLnTx/>
                          <a:uFillTx/>
                          <a:latin typeface="+mn-lt"/>
                          <a:ea typeface="+mn-ea"/>
                          <a:cs typeface="+mn-cs"/>
                        </a:rPr>
                        <a:t>1 M€ da Autorità Port. Civitavecchia</a:t>
                      </a:r>
                      <a:endParaRPr lang="it-IT" sz="800" dirty="0"/>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it-IT" sz="800" b="1" dirty="0"/>
                        <a:t>2022 (1° stralcio)</a:t>
                      </a:r>
                    </a:p>
                    <a:p>
                      <a:pPr algn="ctr"/>
                      <a:endParaRPr lang="it-IT" sz="800" b="1" dirty="0"/>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just">
                        <a:lnSpc>
                          <a:spcPct val="100000"/>
                        </a:lnSpc>
                        <a:spcAft>
                          <a:spcPts val="0"/>
                        </a:spcAft>
                      </a:pPr>
                      <a:r>
                        <a:rPr lang="it-IT" sz="800" dirty="0">
                          <a:effectLst/>
                          <a:latin typeface="+mn-lt"/>
                          <a:ea typeface="Times New Roman" panose="02020603050405020304" pitchFamily="18" charset="0"/>
                          <a:cs typeface="Times New Roman" panose="02020603050405020304" pitchFamily="18" charset="0"/>
                        </a:rPr>
                        <a:t>L’intervento riguarda il completamento degli ultimi 17,6 km dell’itinerario a 4 corsie Civitavecchia–Orte–Terni, a partire dal</a:t>
                      </a:r>
                      <a:r>
                        <a:rPr lang="it-IT" sz="800" baseline="0" dirty="0">
                          <a:effectLst/>
                          <a:latin typeface="+mn-lt"/>
                          <a:ea typeface="Times New Roman" panose="02020603050405020304" pitchFamily="18" charset="0"/>
                          <a:cs typeface="Times New Roman" panose="02020603050405020304" pitchFamily="18" charset="0"/>
                        </a:rPr>
                        <a:t> termine del tratto già realizzato, a est di Monteromano, </a:t>
                      </a:r>
                      <a:r>
                        <a:rPr lang="it-IT" sz="800" dirty="0">
                          <a:effectLst/>
                          <a:latin typeface="+mn-lt"/>
                          <a:ea typeface="Times New Roman" panose="02020603050405020304" pitchFamily="18" charset="0"/>
                          <a:cs typeface="Times New Roman" panose="02020603050405020304" pitchFamily="18" charset="0"/>
                        </a:rPr>
                        <a:t>fino all’innesto con l’Aurelia in prossimità di Civitavecchia. L’infrastruttura è di categoria B “extraurbana principale”.</a:t>
                      </a:r>
                    </a:p>
                    <a:p>
                      <a:pPr algn="just">
                        <a:lnSpc>
                          <a:spcPct val="100000"/>
                        </a:lnSpc>
                        <a:spcAft>
                          <a:spcPts val="0"/>
                        </a:spcAft>
                      </a:pPr>
                      <a:r>
                        <a:rPr lang="it-IT" sz="800" dirty="0">
                          <a:effectLst/>
                          <a:latin typeface="+mn-lt"/>
                          <a:ea typeface="Times New Roman" panose="02020603050405020304" pitchFamily="18" charset="0"/>
                          <a:cs typeface="Times New Roman" panose="02020603050405020304" pitchFamily="18" charset="0"/>
                        </a:rPr>
                        <a:t>L'Anas ha redatto un Progetto Preliminare, approvato dal CIPE con delibera n.2/2018 del 28/02/2018 pubblicata sulla GURI n. 187 del 13/08/2018 con scelta di uno dei tracciati proposti. L’approvazione CIPE è stata resa con parere negativo del MATTM, e parere di compatibilità ambientale rimesso al Consiglio dei Ministri (ex art. 183, c.6 del </a:t>
                      </a:r>
                      <a:r>
                        <a:rPr lang="it-IT" sz="800" dirty="0" err="1">
                          <a:effectLst/>
                          <a:latin typeface="+mn-lt"/>
                          <a:ea typeface="Times New Roman" panose="02020603050405020304" pitchFamily="18" charset="0"/>
                          <a:cs typeface="Times New Roman" panose="02020603050405020304" pitchFamily="18" charset="0"/>
                        </a:rPr>
                        <a:t>D.lgs</a:t>
                      </a:r>
                      <a:r>
                        <a:rPr lang="it-IT" sz="800" dirty="0">
                          <a:effectLst/>
                          <a:latin typeface="+mn-lt"/>
                          <a:ea typeface="Times New Roman" panose="02020603050405020304" pitchFamily="18" charset="0"/>
                          <a:cs typeface="Times New Roman" panose="02020603050405020304" pitchFamily="18" charset="0"/>
                        </a:rPr>
                        <a:t> 163/2006)</a:t>
                      </a:r>
                    </a:p>
                    <a:p>
                      <a:pPr algn="just">
                        <a:lnSpc>
                          <a:spcPct val="100000"/>
                        </a:lnSpc>
                        <a:spcAft>
                          <a:spcPts val="0"/>
                        </a:spcAft>
                      </a:pPr>
                      <a:r>
                        <a:rPr lang="it-IT" sz="800" dirty="0">
                          <a:effectLst/>
                          <a:latin typeface="+mn-lt"/>
                          <a:ea typeface="Times New Roman" panose="02020603050405020304" pitchFamily="18" charset="0"/>
                          <a:cs typeface="Times New Roman" panose="02020603050405020304" pitchFamily="18" charset="0"/>
                        </a:rPr>
                        <a:t>Avverso la delibera CIPE n.2/2018 è stato presentato, da WWF ed altri, ricorso al TAR del Lazio, che con ordinanza 908/2018 (pubblicata il 24/01/2019) ha deliberando di rimettere il caso alla Corte di Giustizia UE. </a:t>
                      </a:r>
                    </a:p>
                    <a:p>
                      <a:pPr algn="just">
                        <a:lnSpc>
                          <a:spcPct val="100000"/>
                        </a:lnSpc>
                        <a:spcAft>
                          <a:spcPts val="0"/>
                        </a:spcAft>
                      </a:pPr>
                      <a:r>
                        <a:rPr lang="it-IT" sz="800" dirty="0">
                          <a:effectLst/>
                          <a:latin typeface="+mn-lt"/>
                          <a:ea typeface="Times New Roman" panose="02020603050405020304" pitchFamily="18" charset="0"/>
                          <a:cs typeface="Times New Roman" panose="02020603050405020304" pitchFamily="18" charset="0"/>
                        </a:rPr>
                        <a:t>Nelle more dei pronunciamenti sul ricorso avverso la delibera CIPE n.2/2018, e tenuto conto che il TAR non aveva disposto sospensive, Anas ha avviato la redazione del Progetto Definitivo affidata a progettisti esterni aggiudicatari di accordo quadro, nonché eseguito indagini geognostiche ed ambientali  propedeutiche alla stessa.</a:t>
                      </a:r>
                    </a:p>
                    <a:p>
                      <a:pPr algn="just">
                        <a:lnSpc>
                          <a:spcPct val="100000"/>
                        </a:lnSpc>
                        <a:spcAft>
                          <a:spcPts val="0"/>
                        </a:spcAft>
                      </a:pPr>
                      <a:r>
                        <a:rPr lang="it-IT" sz="800" dirty="0">
                          <a:effectLst/>
                          <a:latin typeface="+mn-lt"/>
                          <a:ea typeface="Times New Roman" panose="02020603050405020304" pitchFamily="18" charset="0"/>
                          <a:cs typeface="Times New Roman" panose="02020603050405020304" pitchFamily="18" charset="0"/>
                        </a:rPr>
                        <a:t>La Corte di giustizia UE ha pronunciato la propria sentenza in data 16.07.2020 sull’interpretazione dell’articolo 6 rimettendo le decisioni di merito al giudice nazionale. Il TAR ha emessa in data 05.10.2021 la propria sentenza, annullando sia la delibera del Consiglio dei Ministri</a:t>
                      </a:r>
                      <a:r>
                        <a:rPr lang="it-IT" sz="800" baseline="0" dirty="0">
                          <a:effectLst/>
                          <a:latin typeface="+mn-lt"/>
                          <a:ea typeface="Times New Roman" panose="02020603050405020304" pitchFamily="18" charset="0"/>
                          <a:cs typeface="Times New Roman" panose="02020603050405020304" pitchFamily="18" charset="0"/>
                        </a:rPr>
                        <a:t> </a:t>
                      </a:r>
                      <a:r>
                        <a:rPr lang="it-IT" sz="800" dirty="0">
                          <a:effectLst/>
                          <a:latin typeface="+mn-lt"/>
                          <a:ea typeface="Times New Roman" panose="02020603050405020304" pitchFamily="18" charset="0"/>
                          <a:cs typeface="Times New Roman" panose="02020603050405020304" pitchFamily="18" charset="0"/>
                        </a:rPr>
                        <a:t>di compatibilità ambientale che la delibera CIPE di approvazione del Progetto Preliminare, chiedendo la rideterminazione dei decisori sulla scorta di ulteriori approfondimenti e completamenti progettuali.</a:t>
                      </a:r>
                    </a:p>
                    <a:p>
                      <a:pPr algn="just">
                        <a:lnSpc>
                          <a:spcPct val="100000"/>
                        </a:lnSpc>
                        <a:spcAft>
                          <a:spcPts val="0"/>
                        </a:spcAft>
                      </a:pPr>
                      <a:r>
                        <a:rPr lang="it-IT" sz="800" b="0" dirty="0">
                          <a:effectLst/>
                          <a:latin typeface="+mn-lt"/>
                          <a:ea typeface="Times New Roman" panose="02020603050405020304" pitchFamily="18" charset="0"/>
                          <a:cs typeface="Times New Roman" panose="02020603050405020304" pitchFamily="18" charset="0"/>
                        </a:rPr>
                        <a:t>L’intervento rientra anche nell’elenco delle opere infrastrutturali Anas per la cui realizzazione, ai sensi dell’art. 4 del D.L. 32/2019 convertito dalla Legge n.55 del 14.06.2019, è stata disposta con DPCM del 16.04.2021 la nomina di un Commissario Straordinario. </a:t>
                      </a:r>
                    </a:p>
                    <a:p>
                      <a:pPr algn="just">
                        <a:lnSpc>
                          <a:spcPct val="100000"/>
                        </a:lnSpc>
                        <a:spcAft>
                          <a:spcPts val="0"/>
                        </a:spcAft>
                      </a:pPr>
                      <a:r>
                        <a:rPr lang="it-IT" sz="800" b="0" dirty="0">
                          <a:effectLst/>
                          <a:latin typeface="+mn-lt"/>
                          <a:ea typeface="Times New Roman" panose="02020603050405020304" pitchFamily="18" charset="0"/>
                          <a:cs typeface="Times New Roman" panose="02020603050405020304" pitchFamily="18" charset="0"/>
                        </a:rPr>
                        <a:t>In esito alla sentenza del TAR, tutte le attività sul PD sono state sospese</a:t>
                      </a:r>
                      <a:r>
                        <a:rPr lang="it-IT" sz="800" b="0" baseline="0" dirty="0">
                          <a:effectLst/>
                          <a:latin typeface="+mn-lt"/>
                          <a:ea typeface="Times New Roman" panose="02020603050405020304" pitchFamily="18" charset="0"/>
                          <a:cs typeface="Times New Roman" panose="02020603050405020304" pitchFamily="18" charset="0"/>
                        </a:rPr>
                        <a:t> ed il Commissario, per salvaguardare i finanziamenti FSC in scadenza al 12/2022, ha valutato di suddividere l’intervento in 2 stralci funzionali, dei quali il 1° finanziabile con gli FSC disponibili:</a:t>
                      </a:r>
                    </a:p>
                    <a:p>
                      <a:pPr marL="0" indent="0" algn="just">
                        <a:lnSpc>
                          <a:spcPct val="100000"/>
                        </a:lnSpc>
                        <a:spcAft>
                          <a:spcPts val="0"/>
                        </a:spcAft>
                        <a:buFont typeface="Arial" panose="020B0604020202020204" pitchFamily="34" charset="0"/>
                        <a:buNone/>
                      </a:pPr>
                      <a:r>
                        <a:rPr lang="it-IT" sz="800" b="0" baseline="0" dirty="0">
                          <a:effectLst/>
                          <a:latin typeface="+mn-lt"/>
                          <a:ea typeface="Times New Roman" panose="02020603050405020304" pitchFamily="18" charset="0"/>
                          <a:cs typeface="Times New Roman" panose="02020603050405020304" pitchFamily="18" charset="0"/>
                        </a:rPr>
                        <a:t>- 1° stralcio: Monte Romano est - Monte Romano ovest, L= 6 km ed importo investimento 235 M€;</a:t>
                      </a:r>
                    </a:p>
                    <a:p>
                      <a:pPr marL="0" indent="0" algn="just">
                        <a:lnSpc>
                          <a:spcPct val="100000"/>
                        </a:lnSpc>
                        <a:spcAft>
                          <a:spcPts val="0"/>
                        </a:spcAft>
                        <a:buFontTx/>
                        <a:buNone/>
                      </a:pPr>
                      <a:r>
                        <a:rPr lang="it-IT" sz="800" b="0" baseline="0" dirty="0">
                          <a:effectLst/>
                          <a:latin typeface="+mn-lt"/>
                          <a:ea typeface="Times New Roman" panose="02020603050405020304" pitchFamily="18" charset="0"/>
                          <a:cs typeface="Times New Roman" panose="02020603050405020304" pitchFamily="18" charset="0"/>
                        </a:rPr>
                        <a:t>- 2° stralcio: Monte Romano ovest –Aurelia, L=12 km ed importo investimento 231 M€.</a:t>
                      </a:r>
                    </a:p>
                    <a:p>
                      <a:pPr marL="0" indent="0" algn="just">
                        <a:lnSpc>
                          <a:spcPct val="100000"/>
                        </a:lnSpc>
                        <a:spcAft>
                          <a:spcPts val="0"/>
                        </a:spcAft>
                        <a:buFontTx/>
                        <a:buNone/>
                      </a:pPr>
                      <a:r>
                        <a:rPr lang="it-IT" sz="800" b="0" baseline="0" dirty="0">
                          <a:effectLst/>
                          <a:latin typeface="+mn-lt"/>
                          <a:ea typeface="Times New Roman" panose="02020603050405020304" pitchFamily="18" charset="0"/>
                          <a:cs typeface="Times New Roman" panose="02020603050405020304" pitchFamily="18" charset="0"/>
                        </a:rPr>
                        <a:t>Sono in corso da parte del Commissario le attività di approfondimento e studio richieste dalla richiamata sentenza, sia in ordine alle alternative di tracciato che alla VINCA.</a:t>
                      </a:r>
                      <a:endParaRPr lang="it-IT" sz="800" b="0" dirty="0">
                        <a:effectLst/>
                        <a:latin typeface="+mn-lt"/>
                        <a:ea typeface="Times New Roman" panose="02020603050405020304" pitchFamily="18" charset="0"/>
                        <a:cs typeface="Times New Roman" panose="02020603050405020304" pitchFamily="18" charset="0"/>
                      </a:endParaRP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5" name="Segnaposto data 4"/>
          <p:cNvSpPr txBox="1">
            <a:spLocks/>
          </p:cNvSpPr>
          <p:nvPr/>
        </p:nvSpPr>
        <p:spPr>
          <a:xfrm>
            <a:off x="8737056" y="5099586"/>
            <a:ext cx="65" cy="92333"/>
          </a:xfrm>
          <a:prstGeom prst="rect">
            <a:avLst/>
          </a:prstGeom>
          <a:solidFill>
            <a:schemeClr val="bg1"/>
          </a:solidFill>
          <a:effectLst/>
        </p:spPr>
        <p:txBody>
          <a:bodyPr wrap="none" lIns="0" tIns="0" rIns="0" bIns="0" rtlCol="0" anchor="ctr">
            <a:spAutoFit/>
          </a:bodyPr>
          <a:lstStyle>
            <a:defPPr>
              <a:defRPr lang="en-US"/>
            </a:defPPr>
            <a:lvl1pPr algn="r" defTabSz="1219170">
              <a:defRPr lang="it-IT" sz="800" smtClean="0">
                <a:solidFill>
                  <a:srgbClr val="DC002E"/>
                </a:solidFill>
                <a:effectLst/>
              </a:defRPr>
            </a:lvl1pPr>
          </a:lstStyle>
          <a:p>
            <a:endParaRPr sz="600" dirty="0"/>
          </a:p>
        </p:txBody>
      </p:sp>
      <p:sp>
        <p:nvSpPr>
          <p:cNvPr id="8" name="Segnaposto data 4"/>
          <p:cNvSpPr>
            <a:spLocks noGrp="1"/>
          </p:cNvSpPr>
          <p:nvPr>
            <p:ph type="dt" sz="half" idx="2"/>
          </p:nvPr>
        </p:nvSpPr>
        <p:spPr>
          <a:xfrm flipH="1">
            <a:off x="595229" y="4746951"/>
            <a:ext cx="1791260" cy="184666"/>
          </a:xfrm>
          <a:ln w="6350">
            <a:solidFill>
              <a:schemeClr val="tx1"/>
            </a:solidFill>
          </a:ln>
        </p:spPr>
        <p:txBody>
          <a:bodyPr/>
          <a:lstStyle/>
          <a:p>
            <a:pPr defTabSz="914378">
              <a:defRPr/>
            </a:pPr>
            <a:r>
              <a:rPr lang="it-IT" sz="1200" dirty="0">
                <a:ln w="0"/>
                <a:solidFill>
                  <a:schemeClr val="tx1"/>
                </a:solidFill>
                <a:effectLst>
                  <a:outerShdw blurRad="38100" dist="19050" dir="2700000" algn="tl" rotWithShape="0">
                    <a:schemeClr val="dk1">
                      <a:alpha val="40000"/>
                    </a:schemeClr>
                  </a:outerShdw>
                </a:effectLst>
              </a:rPr>
              <a:t>(*) Intervento commissariale</a:t>
            </a:r>
            <a:endParaRPr sz="1200" dirty="0">
              <a:ln w="0"/>
              <a:solidFill>
                <a:schemeClr val="tx1"/>
              </a:solidFill>
              <a:effectLst>
                <a:outerShdw blurRad="38100" dist="19050" dir="2700000" algn="tl" rotWithShape="0">
                  <a:schemeClr val="dk1">
                    <a:alpha val="40000"/>
                  </a:schemeClr>
                </a:outerShdw>
              </a:effectLst>
            </a:endParaRPr>
          </a:p>
        </p:txBody>
      </p:sp>
      <p:graphicFrame>
        <p:nvGraphicFramePr>
          <p:cNvPr id="7" name="Diagramma 6"/>
          <p:cNvGraphicFramePr/>
          <p:nvPr>
            <p:extLst>
              <p:ext uri="{D42A27DB-BD31-4B8C-83A1-F6EECF244321}">
                <p14:modId xmlns:p14="http://schemas.microsoft.com/office/powerpoint/2010/main" val="1900822394"/>
              </p:ext>
            </p:extLst>
          </p:nvPr>
        </p:nvGraphicFramePr>
        <p:xfrm>
          <a:off x="134978" y="16679"/>
          <a:ext cx="8286246" cy="8116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54874675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ella 3"/>
          <p:cNvGraphicFramePr>
            <a:graphicFrameLocks noGrp="1"/>
          </p:cNvGraphicFramePr>
          <p:nvPr>
            <p:extLst>
              <p:ext uri="{D42A27DB-BD31-4B8C-83A1-F6EECF244321}">
                <p14:modId xmlns:p14="http://schemas.microsoft.com/office/powerpoint/2010/main" val="1399806079"/>
              </p:ext>
            </p:extLst>
          </p:nvPr>
        </p:nvGraphicFramePr>
        <p:xfrm>
          <a:off x="167063" y="839266"/>
          <a:ext cx="8205329" cy="4754880"/>
        </p:xfrm>
        <a:graphic>
          <a:graphicData uri="http://schemas.openxmlformats.org/drawingml/2006/table">
            <a:tbl>
              <a:tblPr firstRow="1" bandRow="1">
                <a:tableStyleId>{69012ECD-51FC-41F1-AA8D-1B2483CD663E}</a:tableStyleId>
              </a:tblPr>
              <a:tblGrid>
                <a:gridCol w="277404">
                  <a:extLst>
                    <a:ext uri="{9D8B030D-6E8A-4147-A177-3AD203B41FA5}">
                      <a16:colId xmlns:a16="http://schemas.microsoft.com/office/drawing/2014/main" val="1558833783"/>
                    </a:ext>
                  </a:extLst>
                </a:gridCol>
                <a:gridCol w="628628">
                  <a:extLst>
                    <a:ext uri="{9D8B030D-6E8A-4147-A177-3AD203B41FA5}">
                      <a16:colId xmlns:a16="http://schemas.microsoft.com/office/drawing/2014/main" val="1626167920"/>
                    </a:ext>
                  </a:extLst>
                </a:gridCol>
                <a:gridCol w="1138052">
                  <a:extLst>
                    <a:ext uri="{9D8B030D-6E8A-4147-A177-3AD203B41FA5}">
                      <a16:colId xmlns:a16="http://schemas.microsoft.com/office/drawing/2014/main" val="967363192"/>
                    </a:ext>
                  </a:extLst>
                </a:gridCol>
                <a:gridCol w="900485">
                  <a:extLst>
                    <a:ext uri="{9D8B030D-6E8A-4147-A177-3AD203B41FA5}">
                      <a16:colId xmlns:a16="http://schemas.microsoft.com/office/drawing/2014/main" val="2536182727"/>
                    </a:ext>
                  </a:extLst>
                </a:gridCol>
                <a:gridCol w="995548">
                  <a:extLst>
                    <a:ext uri="{9D8B030D-6E8A-4147-A177-3AD203B41FA5}">
                      <a16:colId xmlns:a16="http://schemas.microsoft.com/office/drawing/2014/main" val="530699571"/>
                    </a:ext>
                  </a:extLst>
                </a:gridCol>
                <a:gridCol w="4265212">
                  <a:extLst>
                    <a:ext uri="{9D8B030D-6E8A-4147-A177-3AD203B41FA5}">
                      <a16:colId xmlns:a16="http://schemas.microsoft.com/office/drawing/2014/main" val="2040920020"/>
                    </a:ext>
                  </a:extLst>
                </a:gridCol>
              </a:tblGrid>
              <a:tr h="393961">
                <a:tc>
                  <a:txBody>
                    <a:bodyPr/>
                    <a:lstStyle/>
                    <a:p>
                      <a:r>
                        <a:rPr lang="it-IT" sz="1100" dirty="0"/>
                        <a:t>N°</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it-IT" sz="1100" dirty="0"/>
                        <a:t>Strada</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it-IT" sz="1100" dirty="0"/>
                        <a:t>Titolo intervento</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it-IT" sz="1100" dirty="0"/>
                        <a:t>Importo Mln€</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it-IT" sz="1100" dirty="0" err="1"/>
                        <a:t>Appaltabilità</a:t>
                      </a:r>
                      <a:endParaRPr lang="it-IT" sz="1100" dirty="0"/>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it-IT" sz="1100" dirty="0"/>
                        <a:t>Note</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80396517"/>
                  </a:ext>
                </a:extLst>
              </a:tr>
              <a:tr h="899419">
                <a:tc>
                  <a:txBody>
                    <a:bodyPr/>
                    <a:lstStyle/>
                    <a:p>
                      <a:pPr algn="ctr"/>
                      <a:r>
                        <a:rPr lang="it-IT" sz="800" dirty="0"/>
                        <a:t>6</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lang="it-IT" sz="800" b="1" dirty="0">
                          <a:latin typeface="+mn-lt"/>
                        </a:rPr>
                        <a:t>A90</a:t>
                      </a:r>
                    </a:p>
                    <a:p>
                      <a:r>
                        <a:rPr lang="it-IT" sz="800" b="0" dirty="0">
                          <a:latin typeface="+mn-lt"/>
                        </a:rPr>
                        <a:t>Autostrada del Grande Raccordo Anulare di Roma</a:t>
                      </a:r>
                      <a:endParaRPr lang="it-IT" sz="800" dirty="0"/>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it-IT" sz="800" dirty="0"/>
                        <a:t>Svincolo Tiburtina.</a:t>
                      </a:r>
                    </a:p>
                    <a:p>
                      <a:r>
                        <a:rPr lang="it-IT" sz="800" dirty="0"/>
                        <a:t>Intervento di potenziamento dallo svincolo “centrale del Latte” allo svincolo A24 – 2° fase funzionale. </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it-IT" sz="800" b="1" dirty="0"/>
                        <a:t>65,04 M€</a:t>
                      </a:r>
                    </a:p>
                    <a:p>
                      <a:pPr algn="ctr"/>
                      <a:r>
                        <a:rPr lang="it-IT" sz="800" dirty="0"/>
                        <a:t>finanziato per € 200.000 per la sola progettazione (</a:t>
                      </a:r>
                      <a:r>
                        <a:rPr lang="it-IT" sz="800" i="1" dirty="0"/>
                        <a:t>da </a:t>
                      </a:r>
                      <a:r>
                        <a:rPr lang="it-IT" sz="800" i="1" dirty="0" err="1"/>
                        <a:t>CdP</a:t>
                      </a:r>
                      <a:r>
                        <a:rPr lang="it-IT" sz="800" i="1" dirty="0"/>
                        <a:t> 2014</a:t>
                      </a:r>
                      <a:r>
                        <a:rPr lang="it-IT" sz="800" dirty="0"/>
                        <a:t>)</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it-IT" sz="800" b="1" dirty="0"/>
                        <a:t>2023</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just"/>
                      <a:r>
                        <a:rPr lang="it-IT" sz="800" b="0" dirty="0"/>
                        <a:t>L'intervento prevede la realizzazione di complanari al GRA, nel tratto compreso tra lo svincolo GRA/Casal Monastero e lo svincolo GRA/Autostrada A24,</a:t>
                      </a:r>
                      <a:r>
                        <a:rPr lang="it-IT" sz="800" b="0" baseline="0" dirty="0"/>
                        <a:t> e c</a:t>
                      </a:r>
                      <a:r>
                        <a:rPr lang="it-IT" sz="800" b="0" dirty="0"/>
                        <a:t>ompleta l’adeguamento e potenziamento dello svincolo della Tiburtina 1° stralcio</a:t>
                      </a:r>
                    </a:p>
                    <a:p>
                      <a:pPr algn="just"/>
                      <a:r>
                        <a:rPr lang="it-IT" sz="800" b="0" dirty="0"/>
                        <a:t>Il progetto preliminare dell'intervento (1°+2° stralcio) è stato approvato da Anas nel 2009.</a:t>
                      </a:r>
                    </a:p>
                    <a:p>
                      <a:pPr marL="0" marR="0" indent="0" algn="l" defTabSz="914400" rtl="0" eaLnBrk="1" fontAlgn="auto" latinLnBrk="0" hangingPunct="1">
                        <a:lnSpc>
                          <a:spcPct val="100000"/>
                        </a:lnSpc>
                        <a:spcBef>
                          <a:spcPts val="0"/>
                        </a:spcBef>
                        <a:spcAft>
                          <a:spcPts val="0"/>
                        </a:spcAft>
                        <a:buClrTx/>
                        <a:buSzTx/>
                        <a:buFontTx/>
                        <a:buNone/>
                        <a:tabLst/>
                        <a:defRPr/>
                      </a:pPr>
                      <a:r>
                        <a:rPr lang="it-IT" sz="800" b="0" dirty="0"/>
                        <a:t>Redatto da progettista aggiudicatario di Accordo Quadro, il Progetto Definitivo del 2°stralcio unitamente al SIA di 1° e 2°stralcio, </a:t>
                      </a:r>
                      <a:r>
                        <a:rPr lang="it-IT" sz="800" b="0" kern="1200" baseline="0" dirty="0">
                          <a:solidFill>
                            <a:schemeClr val="tx1"/>
                          </a:solidFill>
                          <a:effectLst/>
                          <a:latin typeface="+mn-lt"/>
                          <a:ea typeface="Times New Roman" panose="02020603050405020304" pitchFamily="18" charset="0"/>
                          <a:cs typeface="+mn-cs"/>
                        </a:rPr>
                        <a:t>con il quale è stata avviata la procedura VIA e di verifica preventiva archeologica con istanza del 16.12.2021.</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1969803">
                <a:tc>
                  <a:txBody>
                    <a:bodyPr/>
                    <a:lstStyle/>
                    <a:p>
                      <a:pPr algn="ctr"/>
                      <a:r>
                        <a:rPr lang="it-IT" sz="800" dirty="0"/>
                        <a:t>7</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000000"/>
                          </a:solidFill>
                          <a:effectLst/>
                          <a:uLnTx/>
                          <a:uFillTx/>
                          <a:latin typeface="+mn-lt"/>
                          <a:ea typeface="+mn-ea"/>
                          <a:cs typeface="+mn-cs"/>
                        </a:rPr>
                        <a:t>A9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srgbClr val="000000"/>
                          </a:solidFill>
                          <a:effectLst/>
                          <a:uLnTx/>
                          <a:uFillTx/>
                          <a:latin typeface="+mn-lt"/>
                          <a:ea typeface="+mn-ea"/>
                          <a:cs typeface="+mn-cs"/>
                        </a:rPr>
                        <a:t>Autostrada del Grande Raccordo Anulare di Roma</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it-IT" sz="800" dirty="0"/>
                        <a:t>Intervento di realizzazione di corsie complanari al GRA tra Via Casilina e lo svincolo di Tor Bella Monaca - II Stralcio. </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it-IT" sz="800" b="1" dirty="0"/>
                        <a:t>26,69 M€</a:t>
                      </a:r>
                    </a:p>
                    <a:p>
                      <a:pPr marL="0" marR="0" indent="0" algn="ctr" defTabSz="914400" rtl="0" eaLnBrk="1" fontAlgn="auto" latinLnBrk="0" hangingPunct="1">
                        <a:lnSpc>
                          <a:spcPct val="100000"/>
                        </a:lnSpc>
                        <a:spcBef>
                          <a:spcPts val="0"/>
                        </a:spcBef>
                        <a:spcAft>
                          <a:spcPts val="0"/>
                        </a:spcAft>
                        <a:buClrTx/>
                        <a:buSzTx/>
                        <a:buFontTx/>
                        <a:buNone/>
                        <a:tabLst/>
                        <a:defRPr/>
                      </a:pPr>
                      <a:r>
                        <a:rPr lang="it-IT" sz="800" b="0" dirty="0"/>
                        <a:t>non finanziato</a:t>
                      </a:r>
                    </a:p>
                    <a:p>
                      <a:pPr algn="ctr"/>
                      <a:endParaRPr lang="it-IT" sz="800" b="1" dirty="0"/>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it-IT" sz="800" b="1" dirty="0"/>
                        <a:t>2023</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it-IT" sz="800" dirty="0"/>
                        <a:t>L’intervento</a:t>
                      </a:r>
                      <a:r>
                        <a:rPr lang="it-IT" sz="800" baseline="0" dirty="0"/>
                        <a:t> costituisce il 2°stralcio </a:t>
                      </a:r>
                      <a:r>
                        <a:rPr lang="it-IT" sz="800" dirty="0"/>
                        <a:t>della viabilità complanare al GRA</a:t>
                      </a:r>
                      <a:r>
                        <a:rPr lang="it-IT" sz="800" baseline="0" dirty="0"/>
                        <a:t> nel  tratto tra lo svincolo della Casilina e lo svincolo di Tor Bella Monaca (km 34+990 ÷ km 38+040), completando i lavori di cui al 1° stralcio (descritti al precedente intervento n. 4) dallo svincolo Mistica allo svincolo Tor Bella Monaca.</a:t>
                      </a:r>
                    </a:p>
                    <a:p>
                      <a:pPr marL="0" marR="0" indent="0" algn="just" defTabSz="914400" rtl="0" eaLnBrk="1" fontAlgn="auto" latinLnBrk="0" hangingPunct="1">
                        <a:lnSpc>
                          <a:spcPct val="100000"/>
                        </a:lnSpc>
                        <a:spcBef>
                          <a:spcPts val="0"/>
                        </a:spcBef>
                        <a:spcAft>
                          <a:spcPts val="0"/>
                        </a:spcAft>
                        <a:buClrTx/>
                        <a:buSzTx/>
                        <a:buFontTx/>
                        <a:buNone/>
                        <a:tabLst/>
                        <a:defRPr/>
                      </a:pPr>
                      <a:r>
                        <a:rPr lang="it-IT" sz="800" baseline="0" dirty="0"/>
                        <a:t>La sezione tipo prevede 2 corsie di marcia da 3,50 m e banchine in destra e sinistra, per una larghezza complessiva della piattaforma pari a 8,75 m. </a:t>
                      </a:r>
                    </a:p>
                    <a:p>
                      <a:pPr marL="0" marR="0" indent="0" algn="just" defTabSz="914400" rtl="0" eaLnBrk="1" fontAlgn="auto" latinLnBrk="0" hangingPunct="1">
                        <a:lnSpc>
                          <a:spcPct val="100000"/>
                        </a:lnSpc>
                        <a:spcBef>
                          <a:spcPts val="0"/>
                        </a:spcBef>
                        <a:spcAft>
                          <a:spcPts val="0"/>
                        </a:spcAft>
                        <a:buClrTx/>
                        <a:buSzTx/>
                        <a:buFontTx/>
                        <a:buNone/>
                        <a:tabLst/>
                        <a:defRPr/>
                      </a:pPr>
                      <a:r>
                        <a:rPr lang="it-IT" sz="800" baseline="0" dirty="0"/>
                        <a:t>Il Progetto Preliminare complessivo (1° e 2°stralcio) redatto dal Comune ha acquisito una esclusione VIA nel 2012, ed è stato approvato da Anas nel 2014.</a:t>
                      </a:r>
                    </a:p>
                    <a:p>
                      <a:pPr marL="0" marR="0" indent="0" algn="just" defTabSz="914400" rtl="0" eaLnBrk="1" fontAlgn="auto" latinLnBrk="0" hangingPunct="1">
                        <a:lnSpc>
                          <a:spcPct val="100000"/>
                        </a:lnSpc>
                        <a:spcBef>
                          <a:spcPts val="0"/>
                        </a:spcBef>
                        <a:spcAft>
                          <a:spcPts val="0"/>
                        </a:spcAft>
                        <a:buClrTx/>
                        <a:buSzTx/>
                        <a:buFontTx/>
                        <a:buNone/>
                        <a:tabLst/>
                        <a:defRPr/>
                      </a:pPr>
                      <a:r>
                        <a:rPr lang="it-IT" sz="800" baseline="0" dirty="0"/>
                        <a:t>Successivamente è stato redatto Progetto Definitivo complessivo da Progettisti incaricati da Galotti (privato in convenzione con il Comune), con il quale è stata espletata la </a:t>
                      </a:r>
                      <a:r>
                        <a:rPr lang="it-IT" sz="800" baseline="0" dirty="0" err="1"/>
                        <a:t>CdS</a:t>
                      </a:r>
                      <a:r>
                        <a:rPr lang="it-IT" sz="800" baseline="0" dirty="0"/>
                        <a:t>  ed assunti i pareri favorevoli degli Enti e raggiunta l’Intesa Stato–Regione nel 2015, rinnovata nel 2020 per altri 5 anni.</a:t>
                      </a:r>
                    </a:p>
                    <a:p>
                      <a:pPr marL="0" marR="0" indent="0" algn="just" defTabSz="914400" rtl="0" eaLnBrk="1" fontAlgn="auto" latinLnBrk="0" hangingPunct="1">
                        <a:lnSpc>
                          <a:spcPct val="100000"/>
                        </a:lnSpc>
                        <a:spcBef>
                          <a:spcPts val="0"/>
                        </a:spcBef>
                        <a:spcAft>
                          <a:spcPts val="0"/>
                        </a:spcAft>
                        <a:buClrTx/>
                        <a:buSzTx/>
                        <a:buFontTx/>
                        <a:buNone/>
                        <a:tabLst/>
                        <a:defRPr/>
                      </a:pPr>
                      <a:r>
                        <a:rPr lang="it-IT" sz="800" baseline="0" dirty="0"/>
                        <a:t>Il PD complessivo è stato quindi ceduto ad Anas, che ad aprile 2021 ha sottoscritto con il Comune  la Convenzione tra Anas per il completamento della progettazione e l’esecuzione dell’intervento e per il finanziamento del 1°stralcio.</a:t>
                      </a:r>
                    </a:p>
                    <a:p>
                      <a:pPr marL="0" marR="0" indent="0" algn="just" defTabSz="914400" rtl="0" eaLnBrk="1" fontAlgn="auto" latinLnBrk="0" hangingPunct="1">
                        <a:lnSpc>
                          <a:spcPct val="100000"/>
                        </a:lnSpc>
                        <a:spcBef>
                          <a:spcPts val="0"/>
                        </a:spcBef>
                        <a:spcAft>
                          <a:spcPts val="0"/>
                        </a:spcAft>
                        <a:buClrTx/>
                        <a:buSzTx/>
                        <a:buFontTx/>
                        <a:buNone/>
                        <a:tabLst/>
                        <a:defRPr/>
                      </a:pPr>
                      <a:r>
                        <a:rPr lang="it-IT" sz="800" baseline="0" dirty="0"/>
                        <a:t>Il PD deve essere approvato da Anas, previa pubblicazione espropri ai fini della pubblica utilità, completata a dicembre 2021, ed a seguire sarà sviluppato il PE per l’appalto dei lavori.</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1375145">
                <a:tc>
                  <a:txBody>
                    <a:bodyPr/>
                    <a:lstStyle/>
                    <a:p>
                      <a:pPr algn="ctr"/>
                      <a:r>
                        <a:rPr lang="it-IT" sz="800" dirty="0"/>
                        <a:t>8</a:t>
                      </a:r>
                    </a:p>
                    <a:p>
                      <a:pPr algn="ctr"/>
                      <a:r>
                        <a:rPr lang="it-IT" sz="800" dirty="0"/>
                        <a:t>(*)</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000000"/>
                          </a:solidFill>
                          <a:effectLst/>
                          <a:uLnTx/>
                          <a:uFillTx/>
                          <a:latin typeface="+mn-lt"/>
                          <a:ea typeface="+mn-ea"/>
                          <a:cs typeface="+mn-cs"/>
                        </a:rPr>
                        <a:t>S.S.4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srgbClr val="000000"/>
                          </a:solidFill>
                          <a:effectLst/>
                          <a:uLnTx/>
                          <a:uFillTx/>
                          <a:latin typeface="+mn-lt"/>
                          <a:ea typeface="+mn-ea"/>
                          <a:cs typeface="+mn-cs"/>
                        </a:rPr>
                        <a:t>Via Salaria</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lang="it-IT" sz="800" dirty="0"/>
                        <a:t>Adeguamento della piattaforma stradale e messa in sicurezza dal km 56+000 al km 64+000. </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it-IT" sz="800" b="1" dirty="0"/>
                        <a:t>199,90 M€</a:t>
                      </a:r>
                    </a:p>
                    <a:p>
                      <a:pPr algn="l"/>
                      <a:r>
                        <a:rPr lang="it-IT" sz="800" dirty="0"/>
                        <a:t>finanziato per 10,94 M€ </a:t>
                      </a:r>
                    </a:p>
                    <a:p>
                      <a:pPr marL="171450" indent="-171450" algn="l">
                        <a:buFont typeface="Wingdings" panose="05000000000000000000" pitchFamily="2" charset="2"/>
                        <a:buChar char="§"/>
                      </a:pPr>
                      <a:r>
                        <a:rPr lang="it-IT" sz="800" i="0" dirty="0"/>
                        <a:t>10,7 M€ Regione Lazio </a:t>
                      </a:r>
                    </a:p>
                    <a:p>
                      <a:pPr marL="171450" indent="-171450" algn="l">
                        <a:buFont typeface="Wingdings" panose="05000000000000000000" pitchFamily="2" charset="2"/>
                        <a:buChar char="§"/>
                      </a:pPr>
                      <a:r>
                        <a:rPr lang="it-IT" sz="800" i="0" dirty="0"/>
                        <a:t>€ 0,24 M€ </a:t>
                      </a:r>
                      <a:r>
                        <a:rPr lang="it-IT" sz="800" i="0" dirty="0" err="1"/>
                        <a:t>CdP</a:t>
                      </a:r>
                      <a:r>
                        <a:rPr lang="it-IT" sz="800" i="0" dirty="0"/>
                        <a:t> 2014</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it-IT" sz="800" b="1" dirty="0">
                          <a:solidFill>
                            <a:schemeClr val="tx1"/>
                          </a:solidFill>
                        </a:rPr>
                        <a:t>2022</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it-IT" sz="800" dirty="0"/>
                        <a:t>L’intervento</a:t>
                      </a:r>
                      <a:r>
                        <a:rPr lang="it-IT" sz="800" baseline="0" dirty="0"/>
                        <a:t> </a:t>
                      </a:r>
                      <a:r>
                        <a:rPr lang="it-IT" sz="800" dirty="0"/>
                        <a:t>realizza l'adeguamento da due</a:t>
                      </a:r>
                      <a:r>
                        <a:rPr lang="it-IT" sz="800" baseline="0" dirty="0"/>
                        <a:t> a quattro corsie, con piattaforma di larghezza ridotta, </a:t>
                      </a:r>
                      <a:r>
                        <a:rPr lang="it-IT" sz="800" dirty="0"/>
                        <a:t>del tratto di S.S.4 “Salaria” tra il km 56+000 e il km 64+000,</a:t>
                      </a:r>
                      <a:r>
                        <a:rPr lang="it-IT" sz="800" baseline="0" dirty="0"/>
                        <a:t> </a:t>
                      </a:r>
                      <a:r>
                        <a:rPr lang="it-IT" sz="800" dirty="0"/>
                        <a:t>dalla rotatoria Ponte </a:t>
                      </a:r>
                      <a:r>
                        <a:rPr lang="it-IT" sz="800" dirty="0" err="1"/>
                        <a:t>Buida</a:t>
                      </a:r>
                      <a:r>
                        <a:rPr lang="it-IT" sz="800" dirty="0"/>
                        <a:t> fino alla rotatoria sullo svincolo di Turano,</a:t>
                      </a:r>
                      <a:r>
                        <a:rPr lang="it-IT" sz="800" baseline="0" dirty="0"/>
                        <a:t> e la messa in sicurezza con risistemazione delle intersezioni ed eliminazione degli accessi. </a:t>
                      </a:r>
                    </a:p>
                    <a:p>
                      <a:pPr marL="0" marR="0" indent="0" algn="just" defTabSz="914400" rtl="0" eaLnBrk="1" fontAlgn="auto" latinLnBrk="0" hangingPunct="1">
                        <a:lnSpc>
                          <a:spcPct val="100000"/>
                        </a:lnSpc>
                        <a:spcBef>
                          <a:spcPts val="0"/>
                        </a:spcBef>
                        <a:spcAft>
                          <a:spcPts val="0"/>
                        </a:spcAft>
                        <a:buClrTx/>
                        <a:buSzTx/>
                        <a:buFontTx/>
                        <a:buNone/>
                        <a:tabLst/>
                        <a:defRPr/>
                      </a:pPr>
                      <a:r>
                        <a:rPr lang="it-IT" sz="800" baseline="0" dirty="0"/>
                        <a:t>Per l’intervento è stato redatto da Anas nel 2012 un Progetto Preliminare, con il quale espletata la Verifica Archeologica preventiva nel 2012 e sul quale avviata poi la successiva fase progettuale.</a:t>
                      </a:r>
                    </a:p>
                    <a:p>
                      <a:pPr marL="0" marR="0" indent="0" algn="just" defTabSz="914400" rtl="0" eaLnBrk="1" fontAlgn="auto" latinLnBrk="0" hangingPunct="1">
                        <a:lnSpc>
                          <a:spcPct val="100000"/>
                        </a:lnSpc>
                        <a:spcBef>
                          <a:spcPts val="0"/>
                        </a:spcBef>
                        <a:spcAft>
                          <a:spcPts val="0"/>
                        </a:spcAft>
                        <a:buClrTx/>
                        <a:buSzTx/>
                        <a:buFontTx/>
                        <a:buNone/>
                        <a:tabLst/>
                        <a:defRPr/>
                      </a:pPr>
                      <a:r>
                        <a:rPr lang="it-IT" sz="800" baseline="0" dirty="0"/>
                        <a:t>Redatto da progettista aggiudicatario di Accordo Quadro, il Progetto Definitivo + SIA unitamente al 2° lotto (intervento n. 12), con i quali è stata avviata la procedura VIA con istanza del 03.12.2021.</a:t>
                      </a:r>
                    </a:p>
                    <a:p>
                      <a:pPr marL="0" marR="0" indent="0" algn="just" defTabSz="914400" rtl="0" eaLnBrk="1" fontAlgn="auto" latinLnBrk="0" hangingPunct="1">
                        <a:lnSpc>
                          <a:spcPct val="100000"/>
                        </a:lnSpc>
                        <a:spcBef>
                          <a:spcPts val="0"/>
                        </a:spcBef>
                        <a:spcAft>
                          <a:spcPts val="0"/>
                        </a:spcAft>
                        <a:buClrTx/>
                        <a:buSzTx/>
                        <a:buFontTx/>
                        <a:buNone/>
                        <a:tabLst/>
                        <a:defRPr/>
                      </a:pPr>
                      <a:r>
                        <a:rPr lang="it-IT" sz="800" baseline="0" dirty="0"/>
                        <a:t>L’intervento rientra nell’elenco delle opere infrastrutturali Anas per la cui realizzazione, ai sensi dell’art. 4 del D.L. 32/2019 convertito dalla Legge n.55 del 14.06.2019, è stata disposta con DPCM del 16.04.2021 la nomina di un Commissario Straordinario.</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5" name="Segnaposto data 4"/>
          <p:cNvSpPr txBox="1">
            <a:spLocks/>
          </p:cNvSpPr>
          <p:nvPr/>
        </p:nvSpPr>
        <p:spPr>
          <a:xfrm>
            <a:off x="8737056" y="5099586"/>
            <a:ext cx="65" cy="92333"/>
          </a:xfrm>
          <a:prstGeom prst="rect">
            <a:avLst/>
          </a:prstGeom>
          <a:solidFill>
            <a:schemeClr val="bg1"/>
          </a:solidFill>
          <a:effectLst/>
        </p:spPr>
        <p:txBody>
          <a:bodyPr wrap="none" lIns="0" tIns="0" rIns="0" bIns="0" rtlCol="0" anchor="ctr">
            <a:spAutoFit/>
          </a:bodyPr>
          <a:lstStyle>
            <a:defPPr>
              <a:defRPr lang="en-US"/>
            </a:defPPr>
            <a:lvl1pPr algn="r" defTabSz="1219170">
              <a:defRPr lang="it-IT" sz="800" smtClean="0">
                <a:solidFill>
                  <a:srgbClr val="DC002E"/>
                </a:solidFill>
                <a:effectLst/>
              </a:defRPr>
            </a:lvl1pPr>
          </a:lstStyle>
          <a:p>
            <a:endParaRPr sz="600" dirty="0"/>
          </a:p>
        </p:txBody>
      </p:sp>
      <p:sp>
        <p:nvSpPr>
          <p:cNvPr id="7" name="Segnaposto data 4"/>
          <p:cNvSpPr>
            <a:spLocks noGrp="1"/>
          </p:cNvSpPr>
          <p:nvPr>
            <p:ph type="dt" sz="half" idx="2"/>
          </p:nvPr>
        </p:nvSpPr>
        <p:spPr>
          <a:xfrm flipH="1">
            <a:off x="1497906" y="5145751"/>
            <a:ext cx="1791260" cy="184666"/>
          </a:xfrm>
          <a:ln w="6350">
            <a:solidFill>
              <a:schemeClr val="tx1"/>
            </a:solidFill>
          </a:ln>
        </p:spPr>
        <p:txBody>
          <a:bodyPr/>
          <a:lstStyle/>
          <a:p>
            <a:pPr defTabSz="914378">
              <a:defRPr/>
            </a:pPr>
            <a:r>
              <a:rPr lang="it-IT" sz="1200" dirty="0">
                <a:ln w="0"/>
                <a:solidFill>
                  <a:schemeClr val="tx1"/>
                </a:solidFill>
                <a:effectLst>
                  <a:outerShdw blurRad="38100" dist="19050" dir="2700000" algn="tl" rotWithShape="0">
                    <a:schemeClr val="dk1">
                      <a:alpha val="40000"/>
                    </a:schemeClr>
                  </a:outerShdw>
                </a:effectLst>
              </a:rPr>
              <a:t>(*) Intervento commissariale</a:t>
            </a:r>
            <a:endParaRPr sz="1200" dirty="0">
              <a:ln w="0"/>
              <a:solidFill>
                <a:schemeClr val="tx1"/>
              </a:solidFill>
              <a:effectLst>
                <a:outerShdw blurRad="38100" dist="19050" dir="2700000" algn="tl" rotWithShape="0">
                  <a:schemeClr val="dk1">
                    <a:alpha val="40000"/>
                  </a:schemeClr>
                </a:outerShdw>
              </a:effectLst>
            </a:endParaRPr>
          </a:p>
        </p:txBody>
      </p:sp>
      <p:graphicFrame>
        <p:nvGraphicFramePr>
          <p:cNvPr id="8" name="Diagramma 7"/>
          <p:cNvGraphicFramePr/>
          <p:nvPr>
            <p:extLst>
              <p:ext uri="{D42A27DB-BD31-4B8C-83A1-F6EECF244321}">
                <p14:modId xmlns:p14="http://schemas.microsoft.com/office/powerpoint/2010/main" val="1900822394"/>
              </p:ext>
            </p:extLst>
          </p:nvPr>
        </p:nvGraphicFramePr>
        <p:xfrm>
          <a:off x="134978" y="16679"/>
          <a:ext cx="8286246" cy="8116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68658609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ella 3"/>
          <p:cNvGraphicFramePr>
            <a:graphicFrameLocks noGrp="1"/>
          </p:cNvGraphicFramePr>
          <p:nvPr>
            <p:extLst>
              <p:ext uri="{D42A27DB-BD31-4B8C-83A1-F6EECF244321}">
                <p14:modId xmlns:p14="http://schemas.microsoft.com/office/powerpoint/2010/main" val="3336011757"/>
              </p:ext>
            </p:extLst>
          </p:nvPr>
        </p:nvGraphicFramePr>
        <p:xfrm>
          <a:off x="259299" y="906202"/>
          <a:ext cx="8152673" cy="4267200"/>
        </p:xfrm>
        <a:graphic>
          <a:graphicData uri="http://schemas.openxmlformats.org/drawingml/2006/table">
            <a:tbl>
              <a:tblPr firstRow="1" bandRow="1">
                <a:tableStyleId>{69012ECD-51FC-41F1-AA8D-1B2483CD663E}</a:tableStyleId>
              </a:tblPr>
              <a:tblGrid>
                <a:gridCol w="277404">
                  <a:extLst>
                    <a:ext uri="{9D8B030D-6E8A-4147-A177-3AD203B41FA5}">
                      <a16:colId xmlns:a16="http://schemas.microsoft.com/office/drawing/2014/main" val="1558833783"/>
                    </a:ext>
                  </a:extLst>
                </a:gridCol>
                <a:gridCol w="781812">
                  <a:extLst>
                    <a:ext uri="{9D8B030D-6E8A-4147-A177-3AD203B41FA5}">
                      <a16:colId xmlns:a16="http://schemas.microsoft.com/office/drawing/2014/main" val="1626167920"/>
                    </a:ext>
                  </a:extLst>
                </a:gridCol>
                <a:gridCol w="1090422">
                  <a:extLst>
                    <a:ext uri="{9D8B030D-6E8A-4147-A177-3AD203B41FA5}">
                      <a16:colId xmlns:a16="http://schemas.microsoft.com/office/drawing/2014/main" val="967363192"/>
                    </a:ext>
                  </a:extLst>
                </a:gridCol>
                <a:gridCol w="1057325">
                  <a:extLst>
                    <a:ext uri="{9D8B030D-6E8A-4147-A177-3AD203B41FA5}">
                      <a16:colId xmlns:a16="http://schemas.microsoft.com/office/drawing/2014/main" val="2536182727"/>
                    </a:ext>
                  </a:extLst>
                </a:gridCol>
                <a:gridCol w="929971">
                  <a:extLst>
                    <a:ext uri="{9D8B030D-6E8A-4147-A177-3AD203B41FA5}">
                      <a16:colId xmlns:a16="http://schemas.microsoft.com/office/drawing/2014/main" val="530699571"/>
                    </a:ext>
                  </a:extLst>
                </a:gridCol>
                <a:gridCol w="4015739">
                  <a:extLst>
                    <a:ext uri="{9D8B030D-6E8A-4147-A177-3AD203B41FA5}">
                      <a16:colId xmlns:a16="http://schemas.microsoft.com/office/drawing/2014/main" val="2040920020"/>
                    </a:ext>
                  </a:extLst>
                </a:gridCol>
              </a:tblGrid>
              <a:tr h="313420">
                <a:tc>
                  <a:txBody>
                    <a:bodyPr/>
                    <a:lstStyle/>
                    <a:p>
                      <a:r>
                        <a:rPr lang="it-IT" sz="1100" dirty="0"/>
                        <a:t>N°</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it-IT" sz="1100" dirty="0"/>
                        <a:t>Strada</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it-IT" sz="1100" dirty="0"/>
                        <a:t>Titolo intervento</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it-IT" sz="1100" dirty="0"/>
                        <a:t>Importo Mln€</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it-IT" sz="1100" dirty="0" err="1"/>
                        <a:t>Appaltabilità</a:t>
                      </a:r>
                      <a:endParaRPr lang="it-IT" sz="1100" dirty="0"/>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it-IT" sz="1100" dirty="0"/>
                        <a:t>Note</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80396517"/>
                  </a:ext>
                </a:extLst>
              </a:tr>
              <a:tr h="1554480">
                <a:tc>
                  <a:txBody>
                    <a:bodyPr/>
                    <a:lstStyle/>
                    <a:p>
                      <a:pPr algn="ctr"/>
                      <a:r>
                        <a:rPr lang="it-IT" sz="800" dirty="0"/>
                        <a:t>9</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000000"/>
                          </a:solidFill>
                          <a:effectLst/>
                          <a:uLnTx/>
                          <a:uFillTx/>
                          <a:latin typeface="+mn-lt"/>
                          <a:ea typeface="+mn-ea"/>
                          <a:cs typeface="+mn-cs"/>
                        </a:rPr>
                        <a:t>S.S.7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srgbClr val="000000"/>
                          </a:solidFill>
                          <a:effectLst/>
                          <a:uLnTx/>
                          <a:uFillTx/>
                          <a:latin typeface="+mn-lt"/>
                          <a:ea typeface="+mn-ea"/>
                          <a:cs typeface="+mn-cs"/>
                        </a:rPr>
                        <a:t>Via Appia</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it-IT" sz="800" dirty="0"/>
                        <a:t>Variante in Comune di Formia (Pedemontana). </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FF00"/>
                    </a:solidFill>
                  </a:tcPr>
                </a:tc>
                <a:tc>
                  <a:txBody>
                    <a:bodyPr/>
                    <a:lstStyle/>
                    <a:p>
                      <a:pPr algn="ctr"/>
                      <a:r>
                        <a:rPr lang="it-IT" sz="800" b="1" dirty="0"/>
                        <a:t>334,80 M€</a:t>
                      </a:r>
                    </a:p>
                    <a:p>
                      <a:pPr algn="l"/>
                      <a:r>
                        <a:rPr kumimoji="0" lang="it-IT" sz="800" b="0" i="0" u="none" strike="noStrike" kern="1200" cap="none" spc="0" normalizeH="0" baseline="0" noProof="0" dirty="0">
                          <a:ln>
                            <a:noFill/>
                          </a:ln>
                          <a:solidFill>
                            <a:srgbClr val="000000"/>
                          </a:solidFill>
                          <a:effectLst/>
                          <a:uLnTx/>
                          <a:uFillTx/>
                          <a:latin typeface="+mn-lt"/>
                          <a:ea typeface="+mn-ea"/>
                          <a:cs typeface="+mn-cs"/>
                        </a:rPr>
                        <a:t>finanziato per </a:t>
                      </a:r>
                      <a:r>
                        <a:rPr lang="it-IT" sz="800" dirty="0"/>
                        <a:t>79,25 M€ </a:t>
                      </a:r>
                    </a:p>
                    <a:p>
                      <a:pPr marL="171450" indent="-171450" algn="l">
                        <a:buFont typeface="Wingdings" panose="05000000000000000000" pitchFamily="2" charset="2"/>
                        <a:buChar char="§"/>
                      </a:pPr>
                      <a:r>
                        <a:rPr lang="it-IT" sz="800" i="0" dirty="0"/>
                        <a:t>24,70 M€ da L. Finanziaria 2006, </a:t>
                      </a:r>
                    </a:p>
                    <a:p>
                      <a:pPr marL="171450" indent="-171450" algn="l">
                        <a:buFont typeface="Wingdings" panose="05000000000000000000" pitchFamily="2" charset="2"/>
                        <a:buChar char="§"/>
                      </a:pPr>
                      <a:r>
                        <a:rPr lang="it-IT" sz="800" i="0" dirty="0"/>
                        <a:t>48,00 M€ da L. Finanziaria 2007, </a:t>
                      </a:r>
                    </a:p>
                    <a:p>
                      <a:pPr marL="171450" indent="-171450" algn="l">
                        <a:buFont typeface="Wingdings" panose="05000000000000000000" pitchFamily="2" charset="2"/>
                        <a:buChar char="§"/>
                      </a:pPr>
                      <a:r>
                        <a:rPr lang="it-IT" sz="800" i="0" dirty="0"/>
                        <a:t>5,00 M€ da Legge Finanziaria 2008</a:t>
                      </a:r>
                    </a:p>
                    <a:p>
                      <a:pPr marL="171450" indent="-171450" algn="l" defTabSz="914400" rtl="0" eaLnBrk="1" latinLnBrk="0" hangingPunct="1">
                        <a:buFont typeface="Wingdings" panose="05000000000000000000" pitchFamily="2" charset="2"/>
                        <a:buChar char="§"/>
                      </a:pPr>
                      <a:r>
                        <a:rPr lang="it-IT" sz="800" i="0" kern="1200" dirty="0">
                          <a:solidFill>
                            <a:schemeClr val="tx1"/>
                          </a:solidFill>
                          <a:latin typeface="+mn-lt"/>
                          <a:ea typeface="+mn-ea"/>
                          <a:cs typeface="+mn-cs"/>
                        </a:rPr>
                        <a:t>1,55 M€ da </a:t>
                      </a:r>
                      <a:r>
                        <a:rPr lang="it-IT" sz="800" i="0" kern="1200" dirty="0" err="1">
                          <a:solidFill>
                            <a:schemeClr val="tx1"/>
                          </a:solidFill>
                          <a:latin typeface="+mn-lt"/>
                          <a:ea typeface="+mn-ea"/>
                          <a:cs typeface="+mn-cs"/>
                        </a:rPr>
                        <a:t>CdP</a:t>
                      </a:r>
                      <a:r>
                        <a:rPr lang="it-IT" sz="800" i="0" kern="1200" dirty="0">
                          <a:solidFill>
                            <a:schemeClr val="tx1"/>
                          </a:solidFill>
                          <a:latin typeface="+mn-lt"/>
                          <a:ea typeface="+mn-ea"/>
                          <a:cs typeface="+mn-cs"/>
                        </a:rPr>
                        <a:t> 2015</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it-IT" sz="800" b="1" dirty="0"/>
                        <a:t>2024</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it-IT" sz="800" dirty="0"/>
                        <a:t>Per la Variante della S.S. 7 "Via Appia" in comune di Formia, era stato sviluppato nell'ambito delle procedure di Legge Obiettivo un progetto per la realizzazione di una strada a 4 corsie (Tipo B ai sensi del D.M. 2001) di lunghezza di 11 km, per un importo complessiva di 760 M€; sul progetto, inviato nel 2010 per approvazione ed il relativo finanziamento, non sono state mai concluse le procedure CIPE per mancanza dei finanziamenti. </a:t>
                      </a:r>
                    </a:p>
                    <a:p>
                      <a:pPr marL="0" marR="0" indent="0" algn="l" defTabSz="914400" rtl="0" eaLnBrk="1" fontAlgn="auto" latinLnBrk="0" hangingPunct="1">
                        <a:lnSpc>
                          <a:spcPct val="100000"/>
                        </a:lnSpc>
                        <a:spcBef>
                          <a:spcPts val="0"/>
                        </a:spcBef>
                        <a:spcAft>
                          <a:spcPts val="0"/>
                        </a:spcAft>
                        <a:buClrTx/>
                        <a:buSzTx/>
                        <a:buFontTx/>
                        <a:buNone/>
                        <a:tabLst/>
                        <a:defRPr/>
                      </a:pPr>
                      <a:r>
                        <a:rPr lang="it-IT" sz="800" dirty="0"/>
                        <a:t>Nel contratto di programma MIMS/ANAS è stato inserito un intervento che</a:t>
                      </a:r>
                      <a:r>
                        <a:rPr lang="it-IT" sz="800" baseline="0" dirty="0"/>
                        <a:t> </a:t>
                      </a:r>
                      <a:r>
                        <a:rPr lang="it-IT" sz="800" dirty="0"/>
                        <a:t>prevede la realizzazione di una variante  a 2 corsie,</a:t>
                      </a:r>
                      <a:r>
                        <a:rPr lang="it-IT" sz="800" baseline="0" dirty="0"/>
                        <a:t> </a:t>
                      </a:r>
                      <a:r>
                        <a:rPr lang="it-IT" sz="800" dirty="0"/>
                        <a:t>con l’obiettivo di realizzare una infrastruttura funzionale alla</a:t>
                      </a:r>
                      <a:r>
                        <a:rPr lang="it-IT" sz="800" baseline="0" dirty="0"/>
                        <a:t> diversione del traffico di attraversamento al centro abitato.</a:t>
                      </a:r>
                    </a:p>
                    <a:p>
                      <a:pPr marL="0" marR="0" indent="0" algn="l" defTabSz="914400" rtl="0" eaLnBrk="1" fontAlgn="auto" latinLnBrk="0" hangingPunct="1">
                        <a:lnSpc>
                          <a:spcPct val="100000"/>
                        </a:lnSpc>
                        <a:spcBef>
                          <a:spcPts val="0"/>
                        </a:spcBef>
                        <a:spcAft>
                          <a:spcPts val="0"/>
                        </a:spcAft>
                        <a:buClrTx/>
                        <a:buSzTx/>
                        <a:buFontTx/>
                        <a:buNone/>
                        <a:tabLst/>
                        <a:defRPr/>
                      </a:pPr>
                      <a:r>
                        <a:rPr lang="it-IT" sz="800" dirty="0"/>
                        <a:t>L’intervento</a:t>
                      </a:r>
                      <a:r>
                        <a:rPr lang="it-IT" sz="800" baseline="0" dirty="0"/>
                        <a:t> prevede una variante alla S.S.7 via Appia nel comune di Formia, con una categoria C extraurbana secondaria, di lunghezza complessiva 8 km circa </a:t>
                      </a:r>
                    </a:p>
                    <a:p>
                      <a:pPr marL="0" marR="0" indent="0" algn="l" defTabSz="914400" rtl="0" eaLnBrk="1" fontAlgn="auto" latinLnBrk="0" hangingPunct="1">
                        <a:lnSpc>
                          <a:spcPct val="100000"/>
                        </a:lnSpc>
                        <a:spcBef>
                          <a:spcPts val="0"/>
                        </a:spcBef>
                        <a:spcAft>
                          <a:spcPts val="0"/>
                        </a:spcAft>
                        <a:buClrTx/>
                        <a:buSzTx/>
                        <a:buFontTx/>
                        <a:buNone/>
                        <a:tabLst/>
                        <a:defRPr/>
                      </a:pPr>
                      <a:r>
                        <a:rPr lang="it-IT" sz="800" b="0" baseline="0" dirty="0"/>
                        <a:t>Per l’intervento è stato redatto, da progettista aggiudicatario di Accordo Quadro, il Progetto di Fattibilità Tecnico Economica, con il quale è stato richiesto il parere del CSLLPP in data 22.11.2021 ed avviata la verifica archeologica preventiva in data 30.11.2021.</a:t>
                      </a:r>
                      <a:endParaRPr lang="it-IT" sz="800" b="0" dirty="0"/>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910590">
                <a:tc>
                  <a:txBody>
                    <a:bodyPr/>
                    <a:lstStyle/>
                    <a:p>
                      <a:pPr algn="ctr"/>
                      <a:r>
                        <a:rPr lang="it-IT" sz="800" dirty="0"/>
                        <a:t>10</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lang="it-IT" sz="800" b="1" dirty="0"/>
                        <a:t>S.S.1</a:t>
                      </a:r>
                    </a:p>
                    <a:p>
                      <a:r>
                        <a:rPr lang="it-IT" sz="800" dirty="0"/>
                        <a:t>Via Aurelia</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it-IT" sz="800" dirty="0"/>
                        <a:t>Nuovo tronco stradale e nuovi svincoli in variante alla SS1 ai centri abitati di </a:t>
                      </a:r>
                      <a:r>
                        <a:rPr lang="it-IT" sz="800" dirty="0" err="1"/>
                        <a:t>Palidoro</a:t>
                      </a:r>
                      <a:r>
                        <a:rPr lang="it-IT" sz="800" dirty="0"/>
                        <a:t> e Tre Denari</a:t>
                      </a:r>
                      <a:r>
                        <a:rPr lang="it-IT" sz="800" baseline="0" dirty="0"/>
                        <a:t> </a:t>
                      </a:r>
                      <a:r>
                        <a:rPr lang="it-IT" sz="800" dirty="0"/>
                        <a:t>tra il km 26+000 ed il km 33+000 - Intervento “C”. </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it-IT" sz="800" b="1" dirty="0"/>
                        <a:t>94,19 M€</a:t>
                      </a:r>
                    </a:p>
                    <a:p>
                      <a:pPr algn="ctr"/>
                      <a:r>
                        <a:rPr lang="it-IT" sz="800" b="0" dirty="0"/>
                        <a:t>non finanziato</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it-IT" sz="800" b="1" dirty="0"/>
                        <a:t>2025</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it-IT" sz="800" dirty="0"/>
                        <a:t>L’intervento prevede la realizzazione di un tratto di “Aurelia bis” per bypassare gli abitati di Tre denari e </a:t>
                      </a:r>
                      <a:r>
                        <a:rPr lang="it-IT" sz="800" dirty="0" err="1"/>
                        <a:t>Palidoro</a:t>
                      </a:r>
                      <a:r>
                        <a:rPr lang="it-IT" sz="800" dirty="0"/>
                        <a:t>, dall’attuale SS1 prima dello svincolo per l’autostrada </a:t>
                      </a:r>
                      <a:r>
                        <a:rPr lang="it-IT" sz="800" dirty="0" err="1"/>
                        <a:t>Roma-Civitavecchia</a:t>
                      </a:r>
                      <a:r>
                        <a:rPr lang="it-IT" sz="800" dirty="0"/>
                        <a:t>, con un nuovo svincolo ed</a:t>
                      </a:r>
                      <a:r>
                        <a:rPr lang="it-IT" sz="800" baseline="0" dirty="0"/>
                        <a:t> </a:t>
                      </a:r>
                      <a:r>
                        <a:rPr lang="it-IT" sz="800" dirty="0"/>
                        <a:t>adeguamento dello svincolo autostradale. Rientra negli interventi previsti dalla sottoscritta Convenzione tra Anas, Regione Lazio e Comune di Fiumicino che prevede interventi infrastrutturali anche per il potenziamento della viabilità da/per l'aeroporto di Fiumicino.</a:t>
                      </a:r>
                    </a:p>
                    <a:p>
                      <a:pPr marL="0" marR="0" indent="0" algn="l" defTabSz="914400" rtl="0" eaLnBrk="1" fontAlgn="auto" latinLnBrk="0" hangingPunct="1">
                        <a:lnSpc>
                          <a:spcPct val="100000"/>
                        </a:lnSpc>
                        <a:spcBef>
                          <a:spcPts val="0"/>
                        </a:spcBef>
                        <a:spcAft>
                          <a:spcPts val="0"/>
                        </a:spcAft>
                        <a:buClrTx/>
                        <a:buSzTx/>
                        <a:buFontTx/>
                        <a:buNone/>
                        <a:tabLst/>
                        <a:defRPr/>
                      </a:pPr>
                      <a:r>
                        <a:rPr lang="it-IT" sz="800" b="0" dirty="0"/>
                        <a:t>Per l’intervento non esistono</a:t>
                      </a:r>
                      <a:r>
                        <a:rPr lang="it-IT" sz="800" b="0" baseline="0" dirty="0"/>
                        <a:t> precedenti fasi progettuali, e pertanto sarà avviato il </a:t>
                      </a:r>
                      <a:r>
                        <a:rPr lang="it-IT" sz="800" b="0" dirty="0"/>
                        <a:t>Progetto di Fattibilità Tecnico Economica.</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982980">
                <a:tc>
                  <a:txBody>
                    <a:bodyPr/>
                    <a:lstStyle/>
                    <a:p>
                      <a:pPr algn="ctr"/>
                      <a:r>
                        <a:rPr lang="it-IT" sz="800" dirty="0"/>
                        <a:t>11</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it-IT" sz="800" b="1" dirty="0"/>
                        <a:t>A91</a:t>
                      </a:r>
                    </a:p>
                    <a:p>
                      <a:pPr marL="0" marR="0" indent="0" algn="l" defTabSz="914400" rtl="0" eaLnBrk="1" fontAlgn="auto" latinLnBrk="0" hangingPunct="1">
                        <a:lnSpc>
                          <a:spcPct val="100000"/>
                        </a:lnSpc>
                        <a:spcBef>
                          <a:spcPts val="0"/>
                        </a:spcBef>
                        <a:spcAft>
                          <a:spcPts val="0"/>
                        </a:spcAft>
                        <a:buClrTx/>
                        <a:buSzTx/>
                        <a:buFontTx/>
                        <a:buNone/>
                        <a:tabLst/>
                        <a:defRPr/>
                      </a:pPr>
                      <a:r>
                        <a:rPr lang="it-IT" sz="800" dirty="0"/>
                        <a:t>Autostrada Roma-Aeroporto di Fiumicino</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indent="0">
                        <a:buFontTx/>
                        <a:buNone/>
                      </a:pPr>
                      <a:r>
                        <a:rPr lang="it-IT" sz="800" dirty="0"/>
                        <a:t>Realizzazione delle complanari all’ A91 “Roma Fiumicino” tra lo svincolo di Parco de’ Medici e l’A90 G.R.A. </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000000"/>
                          </a:solidFill>
                          <a:effectLst/>
                          <a:uLnTx/>
                          <a:uFillTx/>
                          <a:latin typeface="+mn-lt"/>
                          <a:ea typeface="+mn-ea"/>
                          <a:cs typeface="+mn-cs"/>
                        </a:rPr>
                        <a:t>20,02 M€</a:t>
                      </a:r>
                    </a:p>
                    <a:p>
                      <a:pPr algn="ctr"/>
                      <a:r>
                        <a:rPr lang="it-IT" sz="800" dirty="0"/>
                        <a:t>non finanziato</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it-IT" sz="800" b="1" dirty="0"/>
                        <a:t>2025</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it-IT" sz="800" dirty="0"/>
                        <a:t>L’intervento</a:t>
                      </a:r>
                      <a:r>
                        <a:rPr lang="it-IT" sz="800" baseline="0" dirty="0"/>
                        <a:t> </a:t>
                      </a:r>
                      <a:r>
                        <a:rPr lang="it-IT" sz="800" dirty="0"/>
                        <a:t>si sviluppa nel quadrante ovest dell’autostrada A90 - Grande Raccordo Anulare e consiste nella realizzazione dell’adeguamento dello svincolo Parco de’ Medici sull’A91 e della relativa viabilità locale, tramite realizzazione di un nuovo sottopasso autostradale</a:t>
                      </a:r>
                      <a:r>
                        <a:rPr lang="it-IT" sz="800" baseline="0" dirty="0"/>
                        <a:t> </a:t>
                      </a:r>
                      <a:r>
                        <a:rPr lang="it-IT" sz="800" dirty="0"/>
                        <a:t>e nel potenziamento del tratto dell’A91 dallo svincolo con il GRA e le Aree di Servizio Magliana Est ed Ovest. </a:t>
                      </a:r>
                    </a:p>
                    <a:p>
                      <a:pPr marL="0" marR="0" indent="0" algn="just" defTabSz="914400" rtl="0" eaLnBrk="1" fontAlgn="auto" latinLnBrk="0" hangingPunct="1">
                        <a:lnSpc>
                          <a:spcPct val="100000"/>
                        </a:lnSpc>
                        <a:spcBef>
                          <a:spcPts val="0"/>
                        </a:spcBef>
                        <a:spcAft>
                          <a:spcPts val="0"/>
                        </a:spcAft>
                        <a:buClrTx/>
                        <a:buSzTx/>
                        <a:buFontTx/>
                        <a:buNone/>
                        <a:tabLst/>
                        <a:defRPr/>
                      </a:pPr>
                      <a:r>
                        <a:rPr lang="it-IT" sz="800" b="0" dirty="0"/>
                        <a:t>L’intervento è strettamente connesso progetto del nuovo Stadio della Roma a Tor di Valle, e necessita pertanto verificare presso il MIMS la sua strategicità.</a:t>
                      </a:r>
                    </a:p>
                    <a:p>
                      <a:pPr marL="0" marR="0" indent="0" algn="just" defTabSz="914400" rtl="0" eaLnBrk="1" fontAlgn="auto" latinLnBrk="0" hangingPunct="1">
                        <a:lnSpc>
                          <a:spcPct val="100000"/>
                        </a:lnSpc>
                        <a:spcBef>
                          <a:spcPts val="0"/>
                        </a:spcBef>
                        <a:spcAft>
                          <a:spcPts val="0"/>
                        </a:spcAft>
                        <a:buClrTx/>
                        <a:buSzTx/>
                        <a:buFontTx/>
                        <a:buNone/>
                        <a:tabLst/>
                        <a:defRPr/>
                      </a:pPr>
                      <a:r>
                        <a:rPr lang="it-IT" sz="800" b="0" dirty="0"/>
                        <a:t>Ove confermata  la volontà di proseguire nella sua progettazione sarà attivato un Progetto di Fattibilità Tecnica Economica.</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8" name="Segnaposto data 4"/>
          <p:cNvSpPr txBox="1">
            <a:spLocks/>
          </p:cNvSpPr>
          <p:nvPr/>
        </p:nvSpPr>
        <p:spPr>
          <a:xfrm>
            <a:off x="8737056" y="5099586"/>
            <a:ext cx="65" cy="92333"/>
          </a:xfrm>
          <a:prstGeom prst="rect">
            <a:avLst/>
          </a:prstGeom>
          <a:solidFill>
            <a:schemeClr val="bg1"/>
          </a:solidFill>
          <a:effectLst/>
        </p:spPr>
        <p:txBody>
          <a:bodyPr wrap="none" lIns="0" tIns="0" rIns="0" bIns="0" rtlCol="0" anchor="ctr">
            <a:spAutoFit/>
          </a:bodyPr>
          <a:lstStyle>
            <a:defPPr>
              <a:defRPr lang="en-US"/>
            </a:defPPr>
            <a:lvl1pPr algn="r" defTabSz="1219170">
              <a:defRPr lang="it-IT" sz="800" smtClean="0">
                <a:solidFill>
                  <a:srgbClr val="DC002E"/>
                </a:solidFill>
                <a:effectLst/>
              </a:defRPr>
            </a:lvl1pPr>
          </a:lstStyle>
          <a:p>
            <a:endParaRPr sz="600" dirty="0"/>
          </a:p>
        </p:txBody>
      </p:sp>
      <p:graphicFrame>
        <p:nvGraphicFramePr>
          <p:cNvPr id="6" name="Diagramma 5"/>
          <p:cNvGraphicFramePr/>
          <p:nvPr>
            <p:extLst>
              <p:ext uri="{D42A27DB-BD31-4B8C-83A1-F6EECF244321}">
                <p14:modId xmlns:p14="http://schemas.microsoft.com/office/powerpoint/2010/main" val="1900822394"/>
              </p:ext>
            </p:extLst>
          </p:nvPr>
        </p:nvGraphicFramePr>
        <p:xfrm>
          <a:off x="134978" y="16679"/>
          <a:ext cx="8286246" cy="8116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57023286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ella 3"/>
          <p:cNvGraphicFramePr>
            <a:graphicFrameLocks noGrp="1"/>
          </p:cNvGraphicFramePr>
          <p:nvPr>
            <p:extLst>
              <p:ext uri="{D42A27DB-BD31-4B8C-83A1-F6EECF244321}">
                <p14:modId xmlns:p14="http://schemas.microsoft.com/office/powerpoint/2010/main" val="1939058942"/>
              </p:ext>
            </p:extLst>
          </p:nvPr>
        </p:nvGraphicFramePr>
        <p:xfrm>
          <a:off x="305526" y="908350"/>
          <a:ext cx="8152673" cy="4320540"/>
        </p:xfrm>
        <a:graphic>
          <a:graphicData uri="http://schemas.openxmlformats.org/drawingml/2006/table">
            <a:tbl>
              <a:tblPr firstRow="1" bandRow="1">
                <a:tableStyleId>{69012ECD-51FC-41F1-AA8D-1B2483CD663E}</a:tableStyleId>
              </a:tblPr>
              <a:tblGrid>
                <a:gridCol w="277404">
                  <a:extLst>
                    <a:ext uri="{9D8B030D-6E8A-4147-A177-3AD203B41FA5}">
                      <a16:colId xmlns:a16="http://schemas.microsoft.com/office/drawing/2014/main" val="1558833783"/>
                    </a:ext>
                  </a:extLst>
                </a:gridCol>
                <a:gridCol w="781812">
                  <a:extLst>
                    <a:ext uri="{9D8B030D-6E8A-4147-A177-3AD203B41FA5}">
                      <a16:colId xmlns:a16="http://schemas.microsoft.com/office/drawing/2014/main" val="1626167920"/>
                    </a:ext>
                  </a:extLst>
                </a:gridCol>
                <a:gridCol w="1090422">
                  <a:extLst>
                    <a:ext uri="{9D8B030D-6E8A-4147-A177-3AD203B41FA5}">
                      <a16:colId xmlns:a16="http://schemas.microsoft.com/office/drawing/2014/main" val="967363192"/>
                    </a:ext>
                  </a:extLst>
                </a:gridCol>
                <a:gridCol w="1057325">
                  <a:extLst>
                    <a:ext uri="{9D8B030D-6E8A-4147-A177-3AD203B41FA5}">
                      <a16:colId xmlns:a16="http://schemas.microsoft.com/office/drawing/2014/main" val="2536182727"/>
                    </a:ext>
                  </a:extLst>
                </a:gridCol>
                <a:gridCol w="960451">
                  <a:extLst>
                    <a:ext uri="{9D8B030D-6E8A-4147-A177-3AD203B41FA5}">
                      <a16:colId xmlns:a16="http://schemas.microsoft.com/office/drawing/2014/main" val="530699571"/>
                    </a:ext>
                  </a:extLst>
                </a:gridCol>
                <a:gridCol w="3985259">
                  <a:extLst>
                    <a:ext uri="{9D8B030D-6E8A-4147-A177-3AD203B41FA5}">
                      <a16:colId xmlns:a16="http://schemas.microsoft.com/office/drawing/2014/main" val="2040920020"/>
                    </a:ext>
                  </a:extLst>
                </a:gridCol>
              </a:tblGrid>
              <a:tr h="313420">
                <a:tc>
                  <a:txBody>
                    <a:bodyPr/>
                    <a:lstStyle/>
                    <a:p>
                      <a:r>
                        <a:rPr lang="it-IT" sz="1100" dirty="0"/>
                        <a:t>N°</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it-IT" sz="1100" dirty="0"/>
                        <a:t>Strada</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it-IT" sz="1100" dirty="0"/>
                        <a:t>Titolo intervento</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it-IT" sz="1100" dirty="0"/>
                        <a:t>Importo Mln€</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it-IT" sz="1100" dirty="0" err="1"/>
                        <a:t>Appaltabilità</a:t>
                      </a:r>
                      <a:endParaRPr lang="it-IT" sz="1100" dirty="0"/>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it-IT" sz="1100" dirty="0"/>
                        <a:t>Note</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80396517"/>
                  </a:ext>
                </a:extLst>
              </a:tr>
              <a:tr h="1897380">
                <a:tc>
                  <a:txBody>
                    <a:bodyPr/>
                    <a:lstStyle/>
                    <a:p>
                      <a:pPr algn="ctr"/>
                      <a:r>
                        <a:rPr lang="it-IT" sz="800" dirty="0"/>
                        <a:t>12</a:t>
                      </a:r>
                    </a:p>
                    <a:p>
                      <a:pPr algn="ctr"/>
                      <a:r>
                        <a:rPr lang="it-IT" sz="800" dirty="0"/>
                        <a:t>(*)</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000000"/>
                          </a:solidFill>
                          <a:effectLst/>
                          <a:uLnTx/>
                          <a:uFillTx/>
                          <a:latin typeface="+mn-lt"/>
                          <a:ea typeface="+mn-ea"/>
                          <a:cs typeface="+mn-cs"/>
                        </a:rPr>
                        <a:t>S.S.4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srgbClr val="000000"/>
                          </a:solidFill>
                          <a:effectLst/>
                          <a:uLnTx/>
                          <a:uFillTx/>
                          <a:latin typeface="+mn-lt"/>
                          <a:ea typeface="+mn-ea"/>
                          <a:cs typeface="+mn-cs"/>
                        </a:rPr>
                        <a:t>Via Salaria</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it-IT" sz="800" dirty="0"/>
                        <a:t>Adeguamento della piattaforma stradale e messa in sicurezza dal km 64+000 al km 70+800. </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it-IT" sz="800" b="1" dirty="0"/>
                        <a:t>118,74 M€</a:t>
                      </a:r>
                    </a:p>
                    <a:p>
                      <a:pPr algn="ctr"/>
                      <a:r>
                        <a:rPr lang="it-IT" sz="800" dirty="0"/>
                        <a:t>finanziato per 4,40 M€ per la sola progettazione a valere su risorse FSC</a:t>
                      </a:r>
                      <a:endParaRPr lang="it-IT" sz="800" i="1" dirty="0"/>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it-IT" sz="800" b="1" dirty="0">
                          <a:solidFill>
                            <a:schemeClr val="tx1"/>
                          </a:solidFill>
                        </a:rPr>
                        <a:t>2022 </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it-IT" sz="800" dirty="0"/>
                        <a:t>L’intervento,</a:t>
                      </a:r>
                      <a:r>
                        <a:rPr lang="it-IT" sz="800" baseline="0" dirty="0"/>
                        <a:t> </a:t>
                      </a:r>
                      <a:r>
                        <a:rPr lang="it-IT" sz="800" dirty="0"/>
                        <a:t>realizza l'adeguamento da due a quattro corsie, del tratto di S.S.4 “Salaria” tra il  km 64+000 e il km 70+800 dallo svincolo per il lago del Turano nei pressi di Ornaro fino all’imbocco della galleria Colle Giardino alle porte di Rieti, e la messa in sicurezza delle intersezioni ed eliminazione degli accessi.</a:t>
                      </a:r>
                    </a:p>
                    <a:p>
                      <a:pPr marL="0" marR="0" indent="0" algn="just" defTabSz="914400" rtl="0" eaLnBrk="1" fontAlgn="auto" latinLnBrk="0" hangingPunct="1">
                        <a:lnSpc>
                          <a:spcPct val="100000"/>
                        </a:lnSpc>
                        <a:spcBef>
                          <a:spcPts val="0"/>
                        </a:spcBef>
                        <a:spcAft>
                          <a:spcPts val="0"/>
                        </a:spcAft>
                        <a:buClrTx/>
                        <a:buSzTx/>
                        <a:buFontTx/>
                        <a:buNone/>
                        <a:tabLst/>
                        <a:defRPr/>
                      </a:pPr>
                      <a:r>
                        <a:rPr lang="it-IT" sz="800" dirty="0"/>
                        <a:t>Esso si pone in prosecuzione dell’intervento di tra il km 56+000 e il km 64+000, di cui al precedente intervento n.8.</a:t>
                      </a:r>
                    </a:p>
                    <a:p>
                      <a:pPr marL="0" marR="0" indent="0" algn="just" defTabSz="914400" rtl="0" eaLnBrk="1" fontAlgn="auto" latinLnBrk="0" hangingPunct="1">
                        <a:lnSpc>
                          <a:spcPct val="100000"/>
                        </a:lnSpc>
                        <a:spcBef>
                          <a:spcPts val="0"/>
                        </a:spcBef>
                        <a:spcAft>
                          <a:spcPts val="0"/>
                        </a:spcAft>
                        <a:buClrTx/>
                        <a:buSzTx/>
                        <a:buFontTx/>
                        <a:buNone/>
                        <a:tabLst/>
                        <a:defRPr/>
                      </a:pPr>
                      <a:r>
                        <a:rPr lang="it-IT" sz="800" dirty="0"/>
                        <a:t>L’intervento non è compreso tra gli interventi del </a:t>
                      </a:r>
                      <a:r>
                        <a:rPr lang="it-IT" sz="800" dirty="0" err="1"/>
                        <a:t>CdP</a:t>
                      </a:r>
                      <a:r>
                        <a:rPr lang="it-IT" sz="800" dirty="0"/>
                        <a:t> 2016-2020, ma con note del gennaio 2020 il MIT (oggi MIMS) ne disponeva l’avvio ritenendolo prioritario in quanto parte dell’adeguamento dell’itinerario della Salaria. Nella riprogrammazione delle risorse FSC per emergenza COVID operata dalla Cabina di Regia del Ministero della Coesione Territoriale in data 22.07.2020</a:t>
                      </a:r>
                      <a:r>
                        <a:rPr lang="it-IT" sz="800" baseline="0" dirty="0"/>
                        <a:t> </a:t>
                      </a:r>
                      <a:r>
                        <a:rPr lang="it-IT" sz="800" dirty="0"/>
                        <a:t>all’intervento sono stati assegnate risorse per la progettazione.</a:t>
                      </a:r>
                    </a:p>
                    <a:p>
                      <a:pPr marL="0" marR="0" indent="0" algn="just" defTabSz="914400" rtl="0" eaLnBrk="1" fontAlgn="auto" latinLnBrk="0" hangingPunct="1">
                        <a:lnSpc>
                          <a:spcPct val="100000"/>
                        </a:lnSpc>
                        <a:spcBef>
                          <a:spcPts val="0"/>
                        </a:spcBef>
                        <a:spcAft>
                          <a:spcPts val="0"/>
                        </a:spcAft>
                        <a:buClrTx/>
                        <a:buSzTx/>
                        <a:buFontTx/>
                        <a:buNone/>
                        <a:tabLst/>
                        <a:defRPr/>
                      </a:pPr>
                      <a:r>
                        <a:rPr lang="it-IT" sz="800" baseline="0" dirty="0"/>
                        <a:t>Redatto da progettista aggiudicatario di Accordo Quadro, il Progetto Definitivo + SIA unitamente al 1° lotto (intervento n. 8), con i quali è stata avviata la procedura VIA con istanza del 03.12.2021.</a:t>
                      </a:r>
                    </a:p>
                    <a:p>
                      <a:pPr marL="0" marR="0" indent="0" algn="just" defTabSz="914400" rtl="0" eaLnBrk="1" fontAlgn="auto" latinLnBrk="0" hangingPunct="1">
                        <a:lnSpc>
                          <a:spcPct val="100000"/>
                        </a:lnSpc>
                        <a:spcBef>
                          <a:spcPts val="0"/>
                        </a:spcBef>
                        <a:spcAft>
                          <a:spcPts val="0"/>
                        </a:spcAft>
                        <a:buClrTx/>
                        <a:buSzTx/>
                        <a:buFontTx/>
                        <a:buNone/>
                        <a:tabLst/>
                        <a:defRPr/>
                      </a:pPr>
                      <a:r>
                        <a:rPr lang="it-IT" sz="800" dirty="0"/>
                        <a:t>L’intervento rientra nell’elenco delle opere infrastrutturali Anas per la cui realizzazione, ai sensi dell’art. 4 del D.L. 32/2019 convertito dalla Legge n.55 del 14.06.2019, è stata disposta con DPCM del 16.04.2021 la nomina di un Commissario Straordinario. </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1668780">
                <a:tc>
                  <a:txBody>
                    <a:bodyPr/>
                    <a:lstStyle/>
                    <a:p>
                      <a:pPr algn="ctr"/>
                      <a:r>
                        <a:rPr lang="it-IT" sz="800" dirty="0"/>
                        <a:t>13</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000000"/>
                          </a:solidFill>
                          <a:effectLst/>
                          <a:uLnTx/>
                          <a:uFillTx/>
                          <a:latin typeface="+mn-lt"/>
                          <a:ea typeface="+mn-ea"/>
                          <a:cs typeface="+mn-cs"/>
                        </a:rPr>
                        <a:t>A9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srgbClr val="000000"/>
                          </a:solidFill>
                          <a:effectLst/>
                          <a:uLnTx/>
                          <a:uFillTx/>
                          <a:latin typeface="+mn-lt"/>
                          <a:ea typeface="+mn-ea"/>
                          <a:cs typeface="+mn-cs"/>
                        </a:rPr>
                        <a:t>Autostrada del Grande Raccordo Anulare di Roma</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it-IT" sz="800" dirty="0"/>
                        <a:t>Action n° 2016-IT-TM_0024_S</a:t>
                      </a:r>
                      <a:r>
                        <a:rPr lang="it-IT" sz="800" baseline="0" dirty="0"/>
                        <a:t> – </a:t>
                      </a:r>
                      <a:r>
                        <a:rPr lang="it-IT" sz="800" dirty="0"/>
                        <a:t>Rome </a:t>
                      </a:r>
                      <a:r>
                        <a:rPr lang="it-IT" sz="800" dirty="0" err="1"/>
                        <a:t>urban</a:t>
                      </a:r>
                      <a:r>
                        <a:rPr lang="it-IT" sz="800" dirty="0"/>
                        <a:t> core network </a:t>
                      </a:r>
                      <a:r>
                        <a:rPr lang="it-IT" sz="800" dirty="0" err="1"/>
                        <a:t>node</a:t>
                      </a:r>
                      <a:r>
                        <a:rPr lang="it-IT" sz="800" dirty="0"/>
                        <a:t> – Enhancement of public </a:t>
                      </a:r>
                      <a:r>
                        <a:rPr lang="it-IT" sz="800" dirty="0" err="1"/>
                        <a:t>transport</a:t>
                      </a:r>
                      <a:r>
                        <a:rPr lang="it-IT" sz="800" dirty="0"/>
                        <a:t> </a:t>
                      </a:r>
                      <a:r>
                        <a:rPr lang="it-IT" sz="800" dirty="0" err="1"/>
                        <a:t>services</a:t>
                      </a:r>
                      <a:r>
                        <a:rPr lang="it-IT" sz="800" dirty="0"/>
                        <a:t> and </a:t>
                      </a:r>
                      <a:r>
                        <a:rPr lang="it-IT" sz="800" dirty="0" err="1"/>
                        <a:t>removal</a:t>
                      </a:r>
                      <a:r>
                        <a:rPr lang="it-IT" sz="800" dirty="0"/>
                        <a:t> of </a:t>
                      </a:r>
                      <a:r>
                        <a:rPr lang="it-IT" sz="800" dirty="0" err="1"/>
                        <a:t>bottlenecks</a:t>
                      </a:r>
                      <a:r>
                        <a:rPr lang="it-IT" sz="800" dirty="0"/>
                        <a:t> </a:t>
                      </a:r>
                      <a:r>
                        <a:rPr lang="it-IT" sz="800" dirty="0" err="1"/>
                        <a:t>along</a:t>
                      </a:r>
                      <a:r>
                        <a:rPr lang="it-IT" sz="800" baseline="0" dirty="0"/>
                        <a:t> the Rome </a:t>
                      </a:r>
                      <a:r>
                        <a:rPr lang="it-IT" sz="800" dirty="0"/>
                        <a:t>bypass. </a:t>
                      </a:r>
                      <a:r>
                        <a:rPr lang="it-IT" sz="800" i="1" dirty="0"/>
                        <a:t>Potenziamento e revisione funzionale degli svincoli e dei collegamenti nel tratto compreso tra Ostiense e Tuscolana.</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it-IT" sz="800" b="1" dirty="0"/>
                        <a:t>664,26</a:t>
                      </a:r>
                    </a:p>
                    <a:p>
                      <a:pPr algn="ctr"/>
                      <a:r>
                        <a:rPr lang="it-IT" sz="800" dirty="0"/>
                        <a:t>finanziato per 1,20 M€</a:t>
                      </a:r>
                    </a:p>
                    <a:p>
                      <a:pPr algn="ctr"/>
                      <a:r>
                        <a:rPr lang="it-IT" sz="800" dirty="0"/>
                        <a:t> </a:t>
                      </a:r>
                      <a:endParaRPr lang="it-IT" sz="800" b="1" dirty="0"/>
                    </a:p>
                    <a:p>
                      <a:pPr algn="ctr"/>
                      <a:r>
                        <a:rPr lang="it-IT" sz="800" dirty="0"/>
                        <a:t>progettazione oggetto di cofinanziamento europeo a valere sul programma CEF</a:t>
                      </a:r>
                      <a:r>
                        <a:rPr lang="it-IT" sz="800" baseline="0" dirty="0"/>
                        <a:t> , per un ammontare </a:t>
                      </a:r>
                      <a:r>
                        <a:rPr lang="it-IT" sz="800" baseline="0" dirty="0" err="1"/>
                        <a:t>max</a:t>
                      </a:r>
                      <a:r>
                        <a:rPr lang="it-IT" sz="800" baseline="0" dirty="0"/>
                        <a:t> </a:t>
                      </a:r>
                      <a:r>
                        <a:rPr lang="it-IT" sz="800" dirty="0"/>
                        <a:t>di 1,20 M€, di cui 0,66 M€ per Anas</a:t>
                      </a:r>
                      <a:r>
                        <a:rPr lang="it-IT" sz="800" baseline="0" dirty="0"/>
                        <a:t> (</a:t>
                      </a:r>
                      <a:r>
                        <a:rPr lang="it-IT" sz="800" dirty="0"/>
                        <a:t>coordinatore del progetto)</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it-IT" sz="800" b="1" dirty="0">
                          <a:solidFill>
                            <a:schemeClr val="tx1"/>
                          </a:solidFill>
                        </a:rPr>
                        <a:t>2024</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just"/>
                      <a:r>
                        <a:rPr lang="it-IT" sz="800" dirty="0"/>
                        <a:t>Il progetto prevede la realizzazione delle complanari al GRA nel settore compreso tra l’Autostrada Roma- Fiumicino e la Via Ardeatina e il potenziamento degli svincoli esistenti dallo svincolo di Via Ostiense/Via del Mare allo svincolo con la Via Prenestina, la realizzazione di due nodi multimodali, uno in corrispondenza del terminale sud della linea metropolitana A (Anagnina) e uno in corrispondenza della stazione ferroviaria “Capannelle”, e lo sviluppo di due itinerari per il trasporto pubblico in sede riservata e protetta con annessa corsia ciclabile lungo Via Cristoforo Colombo e Via Pontina.</a:t>
                      </a:r>
                    </a:p>
                    <a:p>
                      <a:pPr marL="0" marR="0" indent="0" algn="just" defTabSz="914400" rtl="0" eaLnBrk="1" fontAlgn="auto" latinLnBrk="0" hangingPunct="1">
                        <a:lnSpc>
                          <a:spcPct val="100000"/>
                        </a:lnSpc>
                        <a:spcBef>
                          <a:spcPts val="0"/>
                        </a:spcBef>
                        <a:spcAft>
                          <a:spcPts val="0"/>
                        </a:spcAft>
                        <a:buClrTx/>
                        <a:buSzTx/>
                        <a:buFontTx/>
                        <a:buNone/>
                        <a:tabLst/>
                        <a:defRPr/>
                      </a:pPr>
                      <a:r>
                        <a:rPr lang="it-IT" sz="800" b="0" dirty="0"/>
                        <a:t>Il PFTE</a:t>
                      </a:r>
                      <a:r>
                        <a:rPr lang="it-IT" sz="800" b="0" baseline="0" dirty="0"/>
                        <a:t> redatto da Anas è stato approvato a marzo 2020 (p</a:t>
                      </a:r>
                      <a:r>
                        <a:rPr lang="it-IT" sz="800" b="0" dirty="0"/>
                        <a:t>rogettazione oggetto di cofinanziamento europeo a valere sul programma CEF).</a:t>
                      </a:r>
                    </a:p>
                    <a:p>
                      <a:pPr marL="0" marR="0" indent="0" algn="just" defTabSz="914400" rtl="0" eaLnBrk="1" fontAlgn="auto" latinLnBrk="0" hangingPunct="1">
                        <a:lnSpc>
                          <a:spcPct val="100000"/>
                        </a:lnSpc>
                        <a:spcBef>
                          <a:spcPts val="0"/>
                        </a:spcBef>
                        <a:spcAft>
                          <a:spcPts val="0"/>
                        </a:spcAft>
                        <a:buClrTx/>
                        <a:buSzTx/>
                        <a:buFontTx/>
                        <a:buNone/>
                        <a:tabLst/>
                        <a:defRPr/>
                      </a:pPr>
                      <a:r>
                        <a:rPr lang="it-IT" sz="800" b="0" baseline="0" dirty="0"/>
                        <a:t>Avviata a settembre 2020 la verifica preventiva archeologica.</a:t>
                      </a:r>
                    </a:p>
                    <a:p>
                      <a:pPr algn="just"/>
                      <a:r>
                        <a:rPr lang="it-IT" sz="800" b="0" baseline="0" dirty="0"/>
                        <a:t>In caso di ulteriore programmazione dell’intervento, si procederà nella successiva fase di Progettazione Definitiva.</a:t>
                      </a:r>
                      <a:endParaRPr lang="it-IT" sz="800" b="0" dirty="0"/>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8" name="Segnaposto data 4"/>
          <p:cNvSpPr txBox="1">
            <a:spLocks/>
          </p:cNvSpPr>
          <p:nvPr/>
        </p:nvSpPr>
        <p:spPr>
          <a:xfrm>
            <a:off x="8737056" y="5099586"/>
            <a:ext cx="65" cy="92333"/>
          </a:xfrm>
          <a:prstGeom prst="rect">
            <a:avLst/>
          </a:prstGeom>
          <a:solidFill>
            <a:schemeClr val="bg1"/>
          </a:solidFill>
          <a:effectLst/>
        </p:spPr>
        <p:txBody>
          <a:bodyPr wrap="none" lIns="0" tIns="0" rIns="0" bIns="0" rtlCol="0" anchor="ctr">
            <a:spAutoFit/>
          </a:bodyPr>
          <a:lstStyle>
            <a:defPPr>
              <a:defRPr lang="en-US"/>
            </a:defPPr>
            <a:lvl1pPr algn="r" defTabSz="1219170">
              <a:defRPr lang="it-IT" sz="800" smtClean="0">
                <a:solidFill>
                  <a:srgbClr val="DC002E"/>
                </a:solidFill>
                <a:effectLst/>
              </a:defRPr>
            </a:lvl1pPr>
          </a:lstStyle>
          <a:p>
            <a:endParaRPr sz="600" dirty="0"/>
          </a:p>
        </p:txBody>
      </p:sp>
      <p:sp>
        <p:nvSpPr>
          <p:cNvPr id="7" name="Segnaposto data 4"/>
          <p:cNvSpPr>
            <a:spLocks noGrp="1"/>
          </p:cNvSpPr>
          <p:nvPr>
            <p:ph type="dt" sz="half" idx="2"/>
          </p:nvPr>
        </p:nvSpPr>
        <p:spPr>
          <a:xfrm flipH="1">
            <a:off x="1139180" y="5335365"/>
            <a:ext cx="1791260" cy="184666"/>
          </a:xfrm>
          <a:ln w="6350">
            <a:solidFill>
              <a:schemeClr val="tx1"/>
            </a:solidFill>
          </a:ln>
        </p:spPr>
        <p:txBody>
          <a:bodyPr/>
          <a:lstStyle/>
          <a:p>
            <a:pPr defTabSz="914378">
              <a:defRPr/>
            </a:pPr>
            <a:r>
              <a:rPr lang="it-IT" sz="1200" dirty="0">
                <a:ln w="0"/>
                <a:solidFill>
                  <a:schemeClr val="tx1"/>
                </a:solidFill>
                <a:effectLst>
                  <a:outerShdw blurRad="38100" dist="19050" dir="2700000" algn="tl" rotWithShape="0">
                    <a:schemeClr val="dk1">
                      <a:alpha val="40000"/>
                    </a:schemeClr>
                  </a:outerShdw>
                </a:effectLst>
              </a:rPr>
              <a:t>(*) Intervento commissariale</a:t>
            </a:r>
            <a:endParaRPr sz="1200" dirty="0">
              <a:ln w="0"/>
              <a:solidFill>
                <a:schemeClr val="tx1"/>
              </a:solidFill>
              <a:effectLst>
                <a:outerShdw blurRad="38100" dist="19050" dir="2700000" algn="tl" rotWithShape="0">
                  <a:schemeClr val="dk1">
                    <a:alpha val="40000"/>
                  </a:schemeClr>
                </a:outerShdw>
              </a:effectLst>
            </a:endParaRPr>
          </a:p>
        </p:txBody>
      </p:sp>
      <p:graphicFrame>
        <p:nvGraphicFramePr>
          <p:cNvPr id="9" name="Diagramma 8"/>
          <p:cNvGraphicFramePr/>
          <p:nvPr>
            <p:extLst>
              <p:ext uri="{D42A27DB-BD31-4B8C-83A1-F6EECF244321}">
                <p14:modId xmlns:p14="http://schemas.microsoft.com/office/powerpoint/2010/main" val="1900822394"/>
              </p:ext>
            </p:extLst>
          </p:nvPr>
        </p:nvGraphicFramePr>
        <p:xfrm>
          <a:off x="134978" y="16679"/>
          <a:ext cx="8286246" cy="8116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86668542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ella 3"/>
          <p:cNvGraphicFramePr>
            <a:graphicFrameLocks noGrp="1"/>
          </p:cNvGraphicFramePr>
          <p:nvPr/>
        </p:nvGraphicFramePr>
        <p:xfrm>
          <a:off x="305526" y="908350"/>
          <a:ext cx="8152673" cy="1935480"/>
        </p:xfrm>
        <a:graphic>
          <a:graphicData uri="http://schemas.openxmlformats.org/drawingml/2006/table">
            <a:tbl>
              <a:tblPr firstRow="1" bandRow="1">
                <a:tableStyleId>{69012ECD-51FC-41F1-AA8D-1B2483CD663E}</a:tableStyleId>
              </a:tblPr>
              <a:tblGrid>
                <a:gridCol w="277404">
                  <a:extLst>
                    <a:ext uri="{9D8B030D-6E8A-4147-A177-3AD203B41FA5}">
                      <a16:colId xmlns:a16="http://schemas.microsoft.com/office/drawing/2014/main" val="1558833783"/>
                    </a:ext>
                  </a:extLst>
                </a:gridCol>
                <a:gridCol w="781812">
                  <a:extLst>
                    <a:ext uri="{9D8B030D-6E8A-4147-A177-3AD203B41FA5}">
                      <a16:colId xmlns:a16="http://schemas.microsoft.com/office/drawing/2014/main" val="1626167920"/>
                    </a:ext>
                  </a:extLst>
                </a:gridCol>
                <a:gridCol w="1090422">
                  <a:extLst>
                    <a:ext uri="{9D8B030D-6E8A-4147-A177-3AD203B41FA5}">
                      <a16:colId xmlns:a16="http://schemas.microsoft.com/office/drawing/2014/main" val="967363192"/>
                    </a:ext>
                  </a:extLst>
                </a:gridCol>
                <a:gridCol w="1057325">
                  <a:extLst>
                    <a:ext uri="{9D8B030D-6E8A-4147-A177-3AD203B41FA5}">
                      <a16:colId xmlns:a16="http://schemas.microsoft.com/office/drawing/2014/main" val="2536182727"/>
                    </a:ext>
                  </a:extLst>
                </a:gridCol>
                <a:gridCol w="856058">
                  <a:extLst>
                    <a:ext uri="{9D8B030D-6E8A-4147-A177-3AD203B41FA5}">
                      <a16:colId xmlns:a16="http://schemas.microsoft.com/office/drawing/2014/main" val="530699571"/>
                    </a:ext>
                  </a:extLst>
                </a:gridCol>
                <a:gridCol w="4089652">
                  <a:extLst>
                    <a:ext uri="{9D8B030D-6E8A-4147-A177-3AD203B41FA5}">
                      <a16:colId xmlns:a16="http://schemas.microsoft.com/office/drawing/2014/main" val="2040920020"/>
                    </a:ext>
                  </a:extLst>
                </a:gridCol>
              </a:tblGrid>
              <a:tr h="313420">
                <a:tc>
                  <a:txBody>
                    <a:bodyPr/>
                    <a:lstStyle/>
                    <a:p>
                      <a:r>
                        <a:rPr lang="it-IT" sz="1100" dirty="0"/>
                        <a:t>N°</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it-IT" sz="1100" dirty="0"/>
                        <a:t>Strada</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it-IT" sz="1100" dirty="0"/>
                        <a:t>Titolo intervento</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it-IT" sz="1100" dirty="0"/>
                        <a:t>Importo Mln€</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it-IT" sz="1100" dirty="0" err="1"/>
                        <a:t>Appaltabilità</a:t>
                      </a:r>
                      <a:endParaRPr lang="it-IT" sz="1100" dirty="0"/>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it-IT" sz="1100" dirty="0"/>
                        <a:t>Note</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80396517"/>
                  </a:ext>
                </a:extLst>
              </a:tr>
              <a:tr h="1211580">
                <a:tc>
                  <a:txBody>
                    <a:bodyPr/>
                    <a:lstStyle/>
                    <a:p>
                      <a:pPr algn="ctr"/>
                      <a:r>
                        <a:rPr lang="it-IT" sz="800" dirty="0"/>
                        <a:t>14</a:t>
                      </a:r>
                    </a:p>
                    <a:p>
                      <a:pPr algn="ctr"/>
                      <a:r>
                        <a:rPr lang="it-IT" sz="800" dirty="0"/>
                        <a:t>(*)</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000000"/>
                          </a:solidFill>
                          <a:effectLst/>
                          <a:uLnTx/>
                          <a:uFillTx/>
                          <a:latin typeface="+mn-lt"/>
                          <a:ea typeface="+mn-ea"/>
                          <a:cs typeface="+mn-cs"/>
                        </a:rPr>
                        <a:t>S.S.4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srgbClr val="000000"/>
                          </a:solidFill>
                          <a:effectLst/>
                          <a:uLnTx/>
                          <a:uFillTx/>
                          <a:latin typeface="+mn-lt"/>
                          <a:ea typeface="+mn-ea"/>
                          <a:cs typeface="+mn-cs"/>
                        </a:rPr>
                        <a:t>Via Salaria</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it-IT" sz="800" dirty="0"/>
                        <a:t>Realizzazione di strada a 4 corsie dal Km 36+000 al Km 54+000</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it-IT" sz="800" b="1" dirty="0"/>
                        <a:t>429,30 M€</a:t>
                      </a:r>
                    </a:p>
                    <a:p>
                      <a:pPr algn="ctr"/>
                      <a:r>
                        <a:rPr lang="it-IT" sz="800" dirty="0"/>
                        <a:t>finanziato per 18,5 M€ per la sola progettazione a valere sul Decreto Rilancio 34/2020</a:t>
                      </a:r>
                      <a:endParaRPr lang="it-IT" sz="800" i="1" dirty="0"/>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it-IT" sz="800" b="1" dirty="0">
                          <a:solidFill>
                            <a:schemeClr val="tx1"/>
                          </a:solidFill>
                        </a:rPr>
                        <a:t>2024 </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it-IT" sz="800" dirty="0"/>
                        <a:t>L’intervento</a:t>
                      </a:r>
                      <a:r>
                        <a:rPr lang="it-IT" sz="800" baseline="0" dirty="0"/>
                        <a:t> </a:t>
                      </a:r>
                      <a:r>
                        <a:rPr lang="it-IT" sz="800" dirty="0"/>
                        <a:t>realizza l'adeguamento da due a quattro corsie, del tratto di S.S.4 “Salaria” tra il  km 36 e il km 54, dallo svincolo di Passo Corese fino a Osteria Nuova, e la messa in sicurezza delle intersezioni ed eliminazione degli accessi,</a:t>
                      </a:r>
                      <a:r>
                        <a:rPr lang="it-IT" sz="800" baseline="0" dirty="0"/>
                        <a:t> analogamente ai successivi tratti (interventi n. 8 e 12). </a:t>
                      </a:r>
                    </a:p>
                    <a:p>
                      <a:pPr marL="0" marR="0" indent="0" algn="just" defTabSz="914400" rtl="0" eaLnBrk="1" fontAlgn="auto" latinLnBrk="0" hangingPunct="1">
                        <a:lnSpc>
                          <a:spcPct val="100000"/>
                        </a:lnSpc>
                        <a:spcBef>
                          <a:spcPts val="0"/>
                        </a:spcBef>
                        <a:spcAft>
                          <a:spcPts val="0"/>
                        </a:spcAft>
                        <a:buClrTx/>
                        <a:buSzTx/>
                        <a:buFontTx/>
                        <a:buNone/>
                        <a:tabLst/>
                        <a:defRPr/>
                      </a:pPr>
                      <a:r>
                        <a:rPr lang="it-IT" sz="800" dirty="0"/>
                        <a:t>L’intervento non è compreso tra gli interventi del </a:t>
                      </a:r>
                      <a:r>
                        <a:rPr lang="it-IT" sz="800" dirty="0" err="1"/>
                        <a:t>CdP</a:t>
                      </a:r>
                      <a:r>
                        <a:rPr lang="it-IT" sz="800" dirty="0"/>
                        <a:t> 2016-2020.</a:t>
                      </a:r>
                      <a:r>
                        <a:rPr lang="it-IT" sz="800" baseline="0" dirty="0"/>
                        <a:t> La progettazione dell’intervento è stata finanziata con il Decreto Rilancio 34/2020, con un importo stanziato di 18,5M€.</a:t>
                      </a:r>
                    </a:p>
                    <a:p>
                      <a:pPr marL="0" marR="0" indent="0" algn="just" defTabSz="914400" rtl="0" eaLnBrk="1" fontAlgn="auto" latinLnBrk="0" hangingPunct="1">
                        <a:lnSpc>
                          <a:spcPct val="100000"/>
                        </a:lnSpc>
                        <a:spcBef>
                          <a:spcPts val="0"/>
                        </a:spcBef>
                        <a:spcAft>
                          <a:spcPts val="0"/>
                        </a:spcAft>
                        <a:buClrTx/>
                        <a:buSzTx/>
                        <a:buFontTx/>
                        <a:buNone/>
                        <a:tabLst/>
                        <a:defRPr/>
                      </a:pPr>
                      <a:r>
                        <a:rPr lang="it-IT" sz="800" baseline="0" dirty="0"/>
                        <a:t>E’ in corso l’affidamento al progettista affidatario della progettazione definitiva, SIA e relazione archeologica. </a:t>
                      </a:r>
                    </a:p>
                    <a:p>
                      <a:pPr marL="0" marR="0" indent="0" algn="just" defTabSz="914400" rtl="0" eaLnBrk="1" fontAlgn="auto" latinLnBrk="0" hangingPunct="1">
                        <a:lnSpc>
                          <a:spcPct val="100000"/>
                        </a:lnSpc>
                        <a:spcBef>
                          <a:spcPts val="0"/>
                        </a:spcBef>
                        <a:spcAft>
                          <a:spcPts val="0"/>
                        </a:spcAft>
                        <a:buClrTx/>
                        <a:buSzTx/>
                        <a:buFontTx/>
                        <a:buNone/>
                        <a:tabLst/>
                        <a:defRPr/>
                      </a:pPr>
                      <a:r>
                        <a:rPr lang="it-IT" sz="800" dirty="0"/>
                        <a:t>L’intervento rientra nell’elenco delle opere infrastrutturali Anas per la cui realizzazione, ai sensi dell’art. 4 del D.L. 32/2019 convertito dalla Legge n.55 del 14.06.2019, è stata disposta con DPCM del 16.04.2021 la nomina di un Commissario Straordinario. </a:t>
                      </a: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8" name="Segnaposto data 4"/>
          <p:cNvSpPr txBox="1">
            <a:spLocks/>
          </p:cNvSpPr>
          <p:nvPr/>
        </p:nvSpPr>
        <p:spPr>
          <a:xfrm>
            <a:off x="8737056" y="5099586"/>
            <a:ext cx="65" cy="92333"/>
          </a:xfrm>
          <a:prstGeom prst="rect">
            <a:avLst/>
          </a:prstGeom>
          <a:solidFill>
            <a:schemeClr val="bg1"/>
          </a:solidFill>
          <a:effectLst/>
        </p:spPr>
        <p:txBody>
          <a:bodyPr wrap="none" lIns="0" tIns="0" rIns="0" bIns="0" rtlCol="0" anchor="ctr">
            <a:spAutoFit/>
          </a:bodyPr>
          <a:lstStyle>
            <a:defPPr>
              <a:defRPr lang="en-US"/>
            </a:defPPr>
            <a:lvl1pPr algn="r" defTabSz="1219170">
              <a:defRPr lang="it-IT" sz="800" smtClean="0">
                <a:solidFill>
                  <a:srgbClr val="DC002E"/>
                </a:solidFill>
                <a:effectLst/>
              </a:defRPr>
            </a:lvl1pPr>
          </a:lstStyle>
          <a:p>
            <a:endParaRPr sz="600" dirty="0"/>
          </a:p>
        </p:txBody>
      </p:sp>
      <p:sp>
        <p:nvSpPr>
          <p:cNvPr id="9" name="Segnaposto data 4"/>
          <p:cNvSpPr>
            <a:spLocks noGrp="1"/>
          </p:cNvSpPr>
          <p:nvPr>
            <p:ph type="dt" sz="half" idx="2"/>
          </p:nvPr>
        </p:nvSpPr>
        <p:spPr>
          <a:xfrm flipH="1">
            <a:off x="629316" y="2513991"/>
            <a:ext cx="1791260" cy="184666"/>
          </a:xfrm>
          <a:ln w="6350">
            <a:solidFill>
              <a:schemeClr val="tx1"/>
            </a:solidFill>
          </a:ln>
        </p:spPr>
        <p:txBody>
          <a:bodyPr/>
          <a:lstStyle/>
          <a:p>
            <a:pPr defTabSz="914378">
              <a:defRPr/>
            </a:pPr>
            <a:r>
              <a:rPr lang="it-IT" sz="1200" dirty="0">
                <a:ln w="0"/>
                <a:solidFill>
                  <a:schemeClr val="tx1"/>
                </a:solidFill>
                <a:effectLst>
                  <a:outerShdw blurRad="38100" dist="19050" dir="2700000" algn="tl" rotWithShape="0">
                    <a:schemeClr val="dk1">
                      <a:alpha val="40000"/>
                    </a:schemeClr>
                  </a:outerShdw>
                </a:effectLst>
              </a:rPr>
              <a:t>(*) Intervento commissariale</a:t>
            </a:r>
            <a:endParaRPr sz="1200" dirty="0">
              <a:ln w="0"/>
              <a:solidFill>
                <a:schemeClr val="tx1"/>
              </a:solidFill>
              <a:effectLst>
                <a:outerShdw blurRad="38100" dist="19050" dir="2700000" algn="tl" rotWithShape="0">
                  <a:schemeClr val="dk1">
                    <a:alpha val="40000"/>
                  </a:schemeClr>
                </a:outerShdw>
              </a:effectLst>
            </a:endParaRPr>
          </a:p>
        </p:txBody>
      </p:sp>
      <p:graphicFrame>
        <p:nvGraphicFramePr>
          <p:cNvPr id="7" name="Diagramma 6"/>
          <p:cNvGraphicFramePr/>
          <p:nvPr>
            <p:extLst>
              <p:ext uri="{D42A27DB-BD31-4B8C-83A1-F6EECF244321}">
                <p14:modId xmlns:p14="http://schemas.microsoft.com/office/powerpoint/2010/main" val="1900822394"/>
              </p:ext>
            </p:extLst>
          </p:nvPr>
        </p:nvGraphicFramePr>
        <p:xfrm>
          <a:off x="134978" y="16679"/>
          <a:ext cx="8286246" cy="8116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28313905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uppo 11"/>
          <p:cNvGrpSpPr/>
          <p:nvPr/>
        </p:nvGrpSpPr>
        <p:grpSpPr>
          <a:xfrm>
            <a:off x="3981303" y="1043872"/>
            <a:ext cx="2495697" cy="891618"/>
            <a:chOff x="403338" y="1216089"/>
            <a:chExt cx="2796255" cy="1094129"/>
          </a:xfrm>
        </p:grpSpPr>
        <p:sp>
          <p:nvSpPr>
            <p:cNvPr id="13" name="Rettangolo 12"/>
            <p:cNvSpPr/>
            <p:nvPr/>
          </p:nvSpPr>
          <p:spPr>
            <a:xfrm>
              <a:off x="599501" y="1462637"/>
              <a:ext cx="2600092" cy="601031"/>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it-IT" sz="2000" b="1" dirty="0">
                  <a:solidFill>
                    <a:srgbClr val="0039A5"/>
                  </a:solidFill>
                </a:rPr>
                <a:t>Totale Lavori</a:t>
              </a:r>
            </a:p>
          </p:txBody>
        </p:sp>
        <p:sp>
          <p:nvSpPr>
            <p:cNvPr id="14" name="Shape 455"/>
            <p:cNvSpPr/>
            <p:nvPr/>
          </p:nvSpPr>
          <p:spPr>
            <a:xfrm>
              <a:off x="403338" y="1216089"/>
              <a:ext cx="1059597" cy="1094129"/>
            </a:xfrm>
            <a:prstGeom prst="ellipse">
              <a:avLst/>
            </a:prstGeom>
            <a:solidFill>
              <a:srgbClr val="DC002E"/>
            </a:solidFill>
            <a:ln w="57150" cap="flat">
              <a:solidFill>
                <a:schemeClr val="bg1"/>
              </a:solidFill>
              <a:prstDash val="solid"/>
              <a:miter lim="400000"/>
            </a:ln>
            <a:effectLst>
              <a:outerShdw blurRad="50800" dist="38100" dir="2700000" algn="tl" rotWithShape="0">
                <a:prstClr val="black">
                  <a:alpha val="40000"/>
                </a:prstClr>
              </a:outerShdw>
            </a:effectLst>
          </p:spPr>
          <p:txBody>
            <a:bodyPr wrap="none" lIns="0" tIns="72000" rIns="0" bIns="0" numCol="1" anchor="ctr">
              <a:noAutofit/>
            </a:bodyPr>
            <a:lstStyle/>
            <a:p>
              <a:pPr algn="ctr">
                <a:lnSpc>
                  <a:spcPts val="2200"/>
                </a:lnSpc>
                <a:defRPr sz="3000" b="1">
                  <a:solidFill>
                    <a:srgbClr val="1C4598"/>
                  </a:solidFill>
                  <a:latin typeface="Arial"/>
                  <a:ea typeface="Arial"/>
                  <a:cs typeface="Arial"/>
                  <a:sym typeface="Arial"/>
                </a:defRPr>
              </a:pPr>
              <a:r>
                <a:rPr lang="it-IT" sz="3200" spc="180" dirty="0">
                  <a:solidFill>
                    <a:schemeClr val="bg1"/>
                  </a:solidFill>
                  <a:latin typeface="Calibri" panose="020F0502020204030204" pitchFamily="34" charset="0"/>
                </a:rPr>
                <a:t>69</a:t>
              </a:r>
            </a:p>
            <a:p>
              <a:pPr algn="ctr">
                <a:lnSpc>
                  <a:spcPts val="2200"/>
                </a:lnSpc>
                <a:defRPr sz="3000" b="1">
                  <a:solidFill>
                    <a:srgbClr val="1C4598"/>
                  </a:solidFill>
                  <a:latin typeface="Arial"/>
                  <a:ea typeface="Arial"/>
                  <a:cs typeface="Arial"/>
                  <a:sym typeface="Arial"/>
                </a:defRPr>
              </a:pPr>
              <a:r>
                <a:rPr lang="it-IT" sz="2000" spc="180" dirty="0">
                  <a:solidFill>
                    <a:schemeClr val="bg1"/>
                  </a:solidFill>
                  <a:latin typeface="Calibri" panose="020F0502020204030204" pitchFamily="34" charset="0"/>
                </a:rPr>
                <a:t>MLN€</a:t>
              </a:r>
              <a:endParaRPr sz="2000" spc="180" dirty="0">
                <a:solidFill>
                  <a:schemeClr val="bg1"/>
                </a:solidFill>
                <a:latin typeface="Calibri" panose="020F0502020204030204" pitchFamily="34" charset="0"/>
              </a:endParaRPr>
            </a:p>
          </p:txBody>
        </p:sp>
      </p:grpSp>
      <p:sp>
        <p:nvSpPr>
          <p:cNvPr id="9" name="Rettangolo arrotondato 8"/>
          <p:cNvSpPr/>
          <p:nvPr/>
        </p:nvSpPr>
        <p:spPr>
          <a:xfrm>
            <a:off x="2729651" y="2112788"/>
            <a:ext cx="4968316" cy="50969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r>
              <a:rPr lang="it-IT" dirty="0">
                <a:solidFill>
                  <a:srgbClr val="0033A0"/>
                </a:solidFill>
              </a:rPr>
              <a:t>S.S. n. 79 </a:t>
            </a:r>
            <a:r>
              <a:rPr lang="it-IT" dirty="0" err="1">
                <a:solidFill>
                  <a:srgbClr val="0033A0"/>
                </a:solidFill>
              </a:rPr>
              <a:t>ˮTERNANAˮ</a:t>
            </a:r>
            <a:r>
              <a:rPr lang="it-IT" dirty="0">
                <a:solidFill>
                  <a:srgbClr val="0033A0"/>
                </a:solidFill>
              </a:rPr>
              <a:t>. DIRETTRICE </a:t>
            </a:r>
            <a:r>
              <a:rPr lang="it-IT" dirty="0" err="1">
                <a:solidFill>
                  <a:srgbClr val="0033A0"/>
                </a:solidFill>
              </a:rPr>
              <a:t>ˮTERNI</a:t>
            </a:r>
            <a:r>
              <a:rPr lang="it-IT" dirty="0">
                <a:solidFill>
                  <a:srgbClr val="0033A0"/>
                </a:solidFill>
              </a:rPr>
              <a:t> - </a:t>
            </a:r>
            <a:r>
              <a:rPr lang="it-IT" dirty="0" err="1">
                <a:solidFill>
                  <a:srgbClr val="0033A0"/>
                </a:solidFill>
              </a:rPr>
              <a:t>RIETIˮ</a:t>
            </a:r>
            <a:r>
              <a:rPr lang="it-IT" dirty="0">
                <a:solidFill>
                  <a:srgbClr val="0033A0"/>
                </a:solidFill>
              </a:rPr>
              <a:t>.</a:t>
            </a:r>
          </a:p>
        </p:txBody>
      </p:sp>
      <p:sp>
        <p:nvSpPr>
          <p:cNvPr id="10" name="Shape 455"/>
          <p:cNvSpPr>
            <a:spLocks noChangeAspect="1"/>
          </p:cNvSpPr>
          <p:nvPr/>
        </p:nvSpPr>
        <p:spPr>
          <a:xfrm>
            <a:off x="1706421" y="1864050"/>
            <a:ext cx="1023230" cy="1007171"/>
          </a:xfrm>
          <a:prstGeom prst="ellipse">
            <a:avLst/>
          </a:prstGeom>
          <a:ln w="57150"/>
        </p:spPr>
        <p:style>
          <a:lnRef idx="2">
            <a:schemeClr val="accent2"/>
          </a:lnRef>
          <a:fillRef idx="1">
            <a:schemeClr val="lt1"/>
          </a:fillRef>
          <a:effectRef idx="0">
            <a:schemeClr val="accent2"/>
          </a:effectRef>
          <a:fontRef idx="minor">
            <a:schemeClr val="dk1"/>
          </a:fontRef>
        </p:style>
        <p:txBody>
          <a:bodyPr wrap="square" lIns="0" tIns="108000" rIns="0" bIns="0" numCol="1" anchor="t" anchorCtr="0">
            <a:noAutofit/>
          </a:bodyPr>
          <a:lstStyle/>
          <a:p>
            <a:pPr algn="ctr">
              <a:lnSpc>
                <a:spcPts val="1500"/>
              </a:lnSpc>
              <a:defRPr sz="3000" b="1">
                <a:solidFill>
                  <a:srgbClr val="1C4598"/>
                </a:solidFill>
                <a:latin typeface="Arial"/>
                <a:ea typeface="Arial"/>
                <a:cs typeface="Arial"/>
                <a:sym typeface="Arial"/>
              </a:defRPr>
            </a:pPr>
            <a:endParaRPr lang="it-IT" dirty="0">
              <a:ln w="0"/>
              <a:solidFill>
                <a:schemeClr val="accent1"/>
              </a:solidFill>
              <a:effectLst>
                <a:outerShdw blurRad="38100" dist="25400" dir="5400000" algn="ctr" rotWithShape="0">
                  <a:srgbClr val="6E747A">
                    <a:alpha val="43000"/>
                  </a:srgbClr>
                </a:outerShdw>
              </a:effectLst>
              <a:latin typeface="+mj-lt"/>
            </a:endParaRPr>
          </a:p>
          <a:p>
            <a:pPr algn="ctr">
              <a:lnSpc>
                <a:spcPts val="1500"/>
              </a:lnSpc>
              <a:defRPr sz="3000" b="1">
                <a:solidFill>
                  <a:srgbClr val="1C4598"/>
                </a:solidFill>
                <a:latin typeface="Arial"/>
                <a:ea typeface="Arial"/>
                <a:cs typeface="Arial"/>
                <a:sym typeface="Arial"/>
              </a:defRPr>
            </a:pPr>
            <a:r>
              <a:rPr lang="it-IT" dirty="0">
                <a:ln w="0"/>
                <a:solidFill>
                  <a:schemeClr val="accent1"/>
                </a:solidFill>
                <a:effectLst>
                  <a:outerShdw blurRad="38100" dist="25400" dir="5400000" algn="ctr" rotWithShape="0">
                    <a:srgbClr val="6E747A">
                      <a:alpha val="43000"/>
                    </a:srgbClr>
                  </a:outerShdw>
                </a:effectLst>
                <a:latin typeface="+mj-lt"/>
              </a:rPr>
              <a:t>19,8</a:t>
            </a:r>
            <a:endParaRPr dirty="0">
              <a:ln w="0"/>
              <a:solidFill>
                <a:schemeClr val="accent1"/>
              </a:solidFill>
              <a:effectLst>
                <a:outerShdw blurRad="38100" dist="25400" dir="5400000" algn="ctr" rotWithShape="0">
                  <a:srgbClr val="6E747A">
                    <a:alpha val="43000"/>
                  </a:srgbClr>
                </a:outerShdw>
              </a:effectLst>
              <a:latin typeface="+mj-lt"/>
            </a:endParaRPr>
          </a:p>
        </p:txBody>
      </p:sp>
      <p:sp>
        <p:nvSpPr>
          <p:cNvPr id="11" name="Rettangolo 10"/>
          <p:cNvSpPr/>
          <p:nvPr/>
        </p:nvSpPr>
        <p:spPr>
          <a:xfrm>
            <a:off x="296609" y="1138194"/>
            <a:ext cx="3307509" cy="369332"/>
          </a:xfrm>
          <a:prstGeom prst="rect">
            <a:avLst/>
          </a:prstGeom>
        </p:spPr>
        <p:txBody>
          <a:bodyPr wrap="none">
            <a:spAutoFit/>
          </a:bodyPr>
          <a:lstStyle/>
          <a:p>
            <a:r>
              <a:rPr lang="it-IT" dirty="0">
                <a:solidFill>
                  <a:srgbClr val="D90000"/>
                </a:solidFill>
              </a:rPr>
              <a:t>Interventi Nuove Opere - in corso</a:t>
            </a:r>
          </a:p>
        </p:txBody>
      </p:sp>
      <p:sp>
        <p:nvSpPr>
          <p:cNvPr id="16" name="Rettangolo arrotondato 15"/>
          <p:cNvSpPr/>
          <p:nvPr/>
        </p:nvSpPr>
        <p:spPr>
          <a:xfrm>
            <a:off x="1823271" y="2954819"/>
            <a:ext cx="5273297" cy="50969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r>
              <a:rPr lang="it-IT" dirty="0">
                <a:solidFill>
                  <a:srgbClr val="0033A0"/>
                </a:solidFill>
              </a:rPr>
              <a:t>S.S. n. 4 </a:t>
            </a:r>
            <a:r>
              <a:rPr lang="it-IT" dirty="0" err="1">
                <a:solidFill>
                  <a:srgbClr val="0033A0"/>
                </a:solidFill>
              </a:rPr>
              <a:t>ˮSALARIAˮ</a:t>
            </a:r>
            <a:r>
              <a:rPr lang="it-IT" dirty="0">
                <a:solidFill>
                  <a:srgbClr val="0033A0"/>
                </a:solidFill>
              </a:rPr>
              <a:t>. SVINCOLI DI RIETI</a:t>
            </a:r>
          </a:p>
        </p:txBody>
      </p:sp>
      <p:sp>
        <p:nvSpPr>
          <p:cNvPr id="17" name="Shape 455"/>
          <p:cNvSpPr>
            <a:spLocks noChangeAspect="1"/>
          </p:cNvSpPr>
          <p:nvPr/>
        </p:nvSpPr>
        <p:spPr>
          <a:xfrm>
            <a:off x="800042" y="2706081"/>
            <a:ext cx="1023230" cy="1007171"/>
          </a:xfrm>
          <a:prstGeom prst="ellipse">
            <a:avLst/>
          </a:prstGeom>
          <a:ln w="57150"/>
        </p:spPr>
        <p:style>
          <a:lnRef idx="2">
            <a:schemeClr val="accent2"/>
          </a:lnRef>
          <a:fillRef idx="1">
            <a:schemeClr val="lt1"/>
          </a:fillRef>
          <a:effectRef idx="0">
            <a:schemeClr val="accent2"/>
          </a:effectRef>
          <a:fontRef idx="minor">
            <a:schemeClr val="dk1"/>
          </a:fontRef>
        </p:style>
        <p:txBody>
          <a:bodyPr wrap="square" lIns="0" tIns="108000" rIns="0" bIns="0" numCol="1" anchor="t" anchorCtr="0">
            <a:noAutofit/>
          </a:bodyPr>
          <a:lstStyle/>
          <a:p>
            <a:pPr algn="ctr">
              <a:lnSpc>
                <a:spcPts val="1500"/>
              </a:lnSpc>
              <a:defRPr sz="3000" b="1">
                <a:solidFill>
                  <a:srgbClr val="1C4598"/>
                </a:solidFill>
                <a:latin typeface="Arial"/>
                <a:ea typeface="Arial"/>
                <a:cs typeface="Arial"/>
                <a:sym typeface="Arial"/>
              </a:defRPr>
            </a:pPr>
            <a:endParaRPr lang="it-IT" dirty="0">
              <a:ln w="0"/>
              <a:solidFill>
                <a:schemeClr val="accent1"/>
              </a:solidFill>
              <a:effectLst>
                <a:outerShdw blurRad="38100" dist="25400" dir="5400000" algn="ctr" rotWithShape="0">
                  <a:srgbClr val="6E747A">
                    <a:alpha val="43000"/>
                  </a:srgbClr>
                </a:outerShdw>
              </a:effectLst>
              <a:latin typeface="+mj-lt"/>
            </a:endParaRPr>
          </a:p>
          <a:p>
            <a:pPr algn="ctr">
              <a:lnSpc>
                <a:spcPts val="1500"/>
              </a:lnSpc>
              <a:defRPr sz="3000" b="1">
                <a:solidFill>
                  <a:srgbClr val="1C4598"/>
                </a:solidFill>
                <a:latin typeface="Arial"/>
                <a:ea typeface="Arial"/>
                <a:cs typeface="Arial"/>
                <a:sym typeface="Arial"/>
              </a:defRPr>
            </a:pPr>
            <a:r>
              <a:rPr lang="it-IT" dirty="0">
                <a:ln w="0"/>
                <a:solidFill>
                  <a:schemeClr val="accent1"/>
                </a:solidFill>
                <a:effectLst>
                  <a:outerShdw blurRad="38100" dist="25400" dir="5400000" algn="ctr" rotWithShape="0">
                    <a:srgbClr val="6E747A">
                      <a:alpha val="43000"/>
                    </a:srgbClr>
                  </a:outerShdw>
                </a:effectLst>
                <a:latin typeface="+mj-lt"/>
              </a:rPr>
              <a:t>28,4</a:t>
            </a:r>
            <a:endParaRPr dirty="0">
              <a:ln w="0"/>
              <a:solidFill>
                <a:schemeClr val="accent1"/>
              </a:solidFill>
              <a:effectLst>
                <a:outerShdw blurRad="38100" dist="25400" dir="5400000" algn="ctr" rotWithShape="0">
                  <a:srgbClr val="6E747A">
                    <a:alpha val="43000"/>
                  </a:srgbClr>
                </a:outerShdw>
              </a:effectLst>
              <a:latin typeface="+mj-lt"/>
            </a:endParaRPr>
          </a:p>
        </p:txBody>
      </p:sp>
      <p:sp>
        <p:nvSpPr>
          <p:cNvPr id="18" name="Rettangolo arrotondato 17"/>
          <p:cNvSpPr/>
          <p:nvPr/>
        </p:nvSpPr>
        <p:spPr>
          <a:xfrm>
            <a:off x="2729650" y="3838231"/>
            <a:ext cx="5273297" cy="50969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r>
              <a:rPr lang="it-IT" dirty="0">
                <a:solidFill>
                  <a:srgbClr val="0033A0"/>
                </a:solidFill>
              </a:rPr>
              <a:t>S.S. n. 4 </a:t>
            </a:r>
            <a:r>
              <a:rPr lang="it-IT" dirty="0" err="1">
                <a:solidFill>
                  <a:srgbClr val="0033A0"/>
                </a:solidFill>
              </a:rPr>
              <a:t>ˮSALARIAˮ</a:t>
            </a:r>
            <a:r>
              <a:rPr lang="it-IT" dirty="0">
                <a:solidFill>
                  <a:srgbClr val="0033A0"/>
                </a:solidFill>
              </a:rPr>
              <a:t>. MONTEROTONDO 1° STRALCIO.</a:t>
            </a:r>
          </a:p>
        </p:txBody>
      </p:sp>
      <p:sp>
        <p:nvSpPr>
          <p:cNvPr id="19" name="Shape 455"/>
          <p:cNvSpPr>
            <a:spLocks noChangeAspect="1"/>
          </p:cNvSpPr>
          <p:nvPr/>
        </p:nvSpPr>
        <p:spPr>
          <a:xfrm>
            <a:off x="1706421" y="3589493"/>
            <a:ext cx="1023230" cy="1007171"/>
          </a:xfrm>
          <a:prstGeom prst="ellipse">
            <a:avLst/>
          </a:prstGeom>
          <a:ln w="57150"/>
        </p:spPr>
        <p:style>
          <a:lnRef idx="2">
            <a:schemeClr val="accent2"/>
          </a:lnRef>
          <a:fillRef idx="1">
            <a:schemeClr val="lt1"/>
          </a:fillRef>
          <a:effectRef idx="0">
            <a:schemeClr val="accent2"/>
          </a:effectRef>
          <a:fontRef idx="minor">
            <a:schemeClr val="dk1"/>
          </a:fontRef>
        </p:style>
        <p:txBody>
          <a:bodyPr wrap="square" lIns="0" tIns="108000" rIns="0" bIns="0" numCol="1" anchor="t" anchorCtr="0">
            <a:noAutofit/>
          </a:bodyPr>
          <a:lstStyle/>
          <a:p>
            <a:pPr algn="ctr">
              <a:lnSpc>
                <a:spcPts val="1500"/>
              </a:lnSpc>
              <a:defRPr sz="3000" b="1">
                <a:solidFill>
                  <a:srgbClr val="1C4598"/>
                </a:solidFill>
                <a:latin typeface="Arial"/>
                <a:ea typeface="Arial"/>
                <a:cs typeface="Arial"/>
                <a:sym typeface="Arial"/>
              </a:defRPr>
            </a:pPr>
            <a:endParaRPr lang="it-IT" dirty="0">
              <a:ln w="0"/>
              <a:solidFill>
                <a:schemeClr val="accent1"/>
              </a:solidFill>
              <a:effectLst>
                <a:outerShdw blurRad="38100" dist="25400" dir="5400000" algn="ctr" rotWithShape="0">
                  <a:srgbClr val="6E747A">
                    <a:alpha val="43000"/>
                  </a:srgbClr>
                </a:outerShdw>
              </a:effectLst>
              <a:latin typeface="+mj-lt"/>
            </a:endParaRPr>
          </a:p>
          <a:p>
            <a:pPr algn="ctr">
              <a:lnSpc>
                <a:spcPts val="1500"/>
              </a:lnSpc>
              <a:defRPr sz="3000" b="1">
                <a:solidFill>
                  <a:srgbClr val="1C4598"/>
                </a:solidFill>
                <a:latin typeface="Arial"/>
                <a:ea typeface="Arial"/>
                <a:cs typeface="Arial"/>
                <a:sym typeface="Arial"/>
              </a:defRPr>
            </a:pPr>
            <a:r>
              <a:rPr lang="it-IT" dirty="0">
                <a:ln w="0"/>
                <a:solidFill>
                  <a:schemeClr val="accent1"/>
                </a:solidFill>
                <a:effectLst>
                  <a:outerShdw blurRad="38100" dist="25400" dir="5400000" algn="ctr" rotWithShape="0">
                    <a:srgbClr val="6E747A">
                      <a:alpha val="43000"/>
                    </a:srgbClr>
                  </a:outerShdw>
                </a:effectLst>
                <a:latin typeface="+mj-lt"/>
              </a:rPr>
              <a:t>20,5</a:t>
            </a:r>
            <a:endParaRPr dirty="0">
              <a:ln w="0"/>
              <a:solidFill>
                <a:schemeClr val="accent1"/>
              </a:solidFill>
              <a:effectLst>
                <a:outerShdw blurRad="38100" dist="25400" dir="5400000" algn="ctr" rotWithShape="0">
                  <a:srgbClr val="6E747A">
                    <a:alpha val="43000"/>
                  </a:srgbClr>
                </a:outerShdw>
              </a:effectLst>
              <a:latin typeface="+mj-lt"/>
            </a:endParaRPr>
          </a:p>
        </p:txBody>
      </p:sp>
      <p:sp>
        <p:nvSpPr>
          <p:cNvPr id="2" name="Rettangolo arrotondato 1"/>
          <p:cNvSpPr/>
          <p:nvPr/>
        </p:nvSpPr>
        <p:spPr>
          <a:xfrm>
            <a:off x="7583576" y="1928846"/>
            <a:ext cx="983152" cy="466639"/>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it-IT" sz="1200" dirty="0"/>
              <a:t>Ultimazione 2022</a:t>
            </a:r>
          </a:p>
        </p:txBody>
      </p:sp>
      <p:sp>
        <p:nvSpPr>
          <p:cNvPr id="23" name="Rettangolo arrotondato 22"/>
          <p:cNvSpPr/>
          <p:nvPr/>
        </p:nvSpPr>
        <p:spPr>
          <a:xfrm>
            <a:off x="7019795" y="2743027"/>
            <a:ext cx="983152" cy="466639"/>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it-IT" sz="1200" dirty="0"/>
              <a:t>Ultimazione 2022</a:t>
            </a:r>
          </a:p>
        </p:txBody>
      </p:sp>
      <p:sp>
        <p:nvSpPr>
          <p:cNvPr id="24" name="Rettangolo arrotondato 23"/>
          <p:cNvSpPr/>
          <p:nvPr/>
        </p:nvSpPr>
        <p:spPr>
          <a:xfrm>
            <a:off x="7697967" y="3480543"/>
            <a:ext cx="983152" cy="466639"/>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it-IT" sz="1200" dirty="0"/>
              <a:t>Ultimazione 2022</a:t>
            </a:r>
          </a:p>
        </p:txBody>
      </p:sp>
      <p:graphicFrame>
        <p:nvGraphicFramePr>
          <p:cNvPr id="21" name="Diagramma 20"/>
          <p:cNvGraphicFramePr/>
          <p:nvPr>
            <p:extLst>
              <p:ext uri="{D42A27DB-BD31-4B8C-83A1-F6EECF244321}">
                <p14:modId xmlns:p14="http://schemas.microsoft.com/office/powerpoint/2010/main" val="3823710478"/>
              </p:ext>
            </p:extLst>
          </p:nvPr>
        </p:nvGraphicFramePr>
        <p:xfrm>
          <a:off x="134978" y="16679"/>
          <a:ext cx="8286246" cy="8116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865309157"/>
      </p:ext>
    </p:extLst>
  </p:cSld>
  <p:clrMapOvr>
    <a:masterClrMapping/>
  </p:clrMapOvr>
  <p:transition spd="slow">
    <p:wip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p:cNvSpPr>
            <a:spLocks noGrp="1"/>
          </p:cNvSpPr>
          <p:nvPr>
            <p:ph idx="13"/>
          </p:nvPr>
        </p:nvSpPr>
        <p:spPr>
          <a:xfrm>
            <a:off x="305529" y="1065639"/>
            <a:ext cx="8382465" cy="325778"/>
          </a:xfrm>
        </p:spPr>
        <p:txBody>
          <a:bodyPr>
            <a:normAutofit fontScale="77500" lnSpcReduction="20000"/>
          </a:bodyPr>
          <a:lstStyle/>
          <a:p>
            <a:r>
              <a:rPr lang="it-IT" dirty="0"/>
              <a:t>CAMPAGNA 2021 - PIANIFICAZIONE DEGLI INTERVENTI SULLE OPERE D’ARTE – PONTI E VIADOTTI</a:t>
            </a:r>
          </a:p>
          <a:p>
            <a:endParaRPr lang="it-IT" dirty="0"/>
          </a:p>
        </p:txBody>
      </p:sp>
      <p:sp>
        <p:nvSpPr>
          <p:cNvPr id="4" name="Titolo 3"/>
          <p:cNvSpPr>
            <a:spLocks noGrp="1"/>
          </p:cNvSpPr>
          <p:nvPr>
            <p:ph type="title"/>
          </p:nvPr>
        </p:nvSpPr>
        <p:spPr>
          <a:xfrm>
            <a:off x="305529" y="358160"/>
            <a:ext cx="8382465" cy="721973"/>
          </a:xfrm>
        </p:spPr>
        <p:txBody>
          <a:bodyPr/>
          <a:lstStyle/>
          <a:p>
            <a:r>
              <a:rPr lang="it-IT" altLang="it-IT" sz="2000" dirty="0"/>
              <a:t>ATTIVITÀ UNITÀ OPERATIVA ISPEZIONE OPERE D’ARTE</a:t>
            </a:r>
            <a:endParaRPr lang="it-IT" sz="2000" dirty="0"/>
          </a:p>
        </p:txBody>
      </p:sp>
      <p:graphicFrame>
        <p:nvGraphicFramePr>
          <p:cNvPr id="9" name="Content Placeholder 6">
            <a:extLst>
              <a:ext uri="{FF2B5EF4-FFF2-40B4-BE49-F238E27FC236}">
                <a16:creationId xmlns:a16="http://schemas.microsoft.com/office/drawing/2014/main" id="{70DCCB8C-0828-4D07-B60F-A3D15EF39CFA}"/>
              </a:ext>
            </a:extLst>
          </p:cNvPr>
          <p:cNvGraphicFramePr>
            <a:graphicFrameLocks noGrp="1"/>
          </p:cNvGraphicFramePr>
          <p:nvPr>
            <p:ph idx="1"/>
          </p:nvPr>
        </p:nvGraphicFramePr>
        <p:xfrm>
          <a:off x="413538" y="1669368"/>
          <a:ext cx="2025000" cy="1371732"/>
        </p:xfrm>
        <a:graphic>
          <a:graphicData uri="http://schemas.openxmlformats.org/drawingml/2006/table">
            <a:tbl>
              <a:tblPr firstRow="1" bandRow="1">
                <a:tableStyleId>{5C22544A-7EE6-4342-B048-85BDC9FD1C3A}</a:tableStyleId>
              </a:tblPr>
              <a:tblGrid>
                <a:gridCol w="1012500">
                  <a:extLst>
                    <a:ext uri="{9D8B030D-6E8A-4147-A177-3AD203B41FA5}">
                      <a16:colId xmlns:a16="http://schemas.microsoft.com/office/drawing/2014/main" val="20000"/>
                    </a:ext>
                  </a:extLst>
                </a:gridCol>
                <a:gridCol w="1012500">
                  <a:extLst>
                    <a:ext uri="{9D8B030D-6E8A-4147-A177-3AD203B41FA5}">
                      <a16:colId xmlns:a16="http://schemas.microsoft.com/office/drawing/2014/main" val="20001"/>
                    </a:ext>
                  </a:extLst>
                </a:gridCol>
              </a:tblGrid>
              <a:tr h="228621">
                <a:tc>
                  <a:txBody>
                    <a:bodyPr/>
                    <a:lstStyle/>
                    <a:p>
                      <a:endParaRPr lang="en-US" sz="900" b="0" dirty="0">
                        <a:solidFill>
                          <a:schemeClr val="tx1"/>
                        </a:solidFill>
                        <a:latin typeface="+mj-lt"/>
                      </a:endParaRPr>
                    </a:p>
                  </a:txBody>
                  <a:tcPr marT="45731" marB="45731">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r"/>
                      <a:r>
                        <a:rPr lang="en-US" sz="900" b="0" dirty="0" err="1">
                          <a:solidFill>
                            <a:schemeClr val="bg1"/>
                          </a:solidFill>
                          <a:latin typeface="+mj-lt"/>
                        </a:rPr>
                        <a:t>Opere</a:t>
                      </a:r>
                      <a:r>
                        <a:rPr lang="en-US" sz="900" b="0" dirty="0">
                          <a:solidFill>
                            <a:schemeClr val="bg1"/>
                          </a:solidFill>
                          <a:latin typeface="+mj-lt"/>
                        </a:rPr>
                        <a:t> </a:t>
                      </a:r>
                      <a:r>
                        <a:rPr lang="en-US" sz="900" b="0" dirty="0" err="1">
                          <a:solidFill>
                            <a:schemeClr val="bg1"/>
                          </a:solidFill>
                          <a:latin typeface="+mj-lt"/>
                        </a:rPr>
                        <a:t>d’arte</a:t>
                      </a:r>
                      <a:endParaRPr lang="en-US" sz="900" b="0" dirty="0">
                        <a:solidFill>
                          <a:schemeClr val="bg1"/>
                        </a:solidFill>
                        <a:latin typeface="+mj-lt"/>
                      </a:endParaRPr>
                    </a:p>
                  </a:txBody>
                  <a:tcPr marT="45731" marB="45731" anchor="ctr">
                    <a:lnL w="3175" cap="flat" cmpd="sng" algn="ctr">
                      <a:solidFill>
                        <a:schemeClr val="bg1">
                          <a:lumMod val="7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10000"/>
                  </a:ext>
                </a:extLst>
              </a:tr>
              <a:tr h="228621">
                <a:tc>
                  <a:txBody>
                    <a:bodyPr/>
                    <a:lstStyle/>
                    <a:p>
                      <a:r>
                        <a:rPr lang="en-US" sz="900" dirty="0">
                          <a:solidFill>
                            <a:schemeClr val="tx1"/>
                          </a:solidFill>
                          <a:latin typeface="+mj-lt"/>
                        </a:rPr>
                        <a:t>100 ≤ IRD ≤ 70</a:t>
                      </a:r>
                    </a:p>
                  </a:txBody>
                  <a:tcPr marT="45731" marB="45731">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50000"/>
                        <a:alpha val="20000"/>
                      </a:schemeClr>
                    </a:solidFill>
                  </a:tcPr>
                </a:tc>
                <a:tc>
                  <a:txBody>
                    <a:bodyPr/>
                    <a:lstStyle/>
                    <a:p>
                      <a:pPr algn="r"/>
                      <a:r>
                        <a:rPr lang="en-US" sz="900" dirty="0">
                          <a:solidFill>
                            <a:schemeClr val="tx1"/>
                          </a:solidFill>
                          <a:latin typeface="+mj-lt"/>
                        </a:rPr>
                        <a:t>68</a:t>
                      </a:r>
                    </a:p>
                  </a:txBody>
                  <a:tcPr marT="45731" marB="45731">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1"/>
                  </a:ext>
                </a:extLst>
              </a:tr>
              <a:tr h="228621">
                <a:tc>
                  <a:txBody>
                    <a:bodyPr/>
                    <a:lstStyle/>
                    <a:p>
                      <a:r>
                        <a:rPr lang="en-US" sz="900" kern="1200" dirty="0">
                          <a:solidFill>
                            <a:schemeClr val="tx1"/>
                          </a:solidFill>
                          <a:latin typeface="+mn-lt"/>
                          <a:ea typeface="+mn-ea"/>
                          <a:cs typeface="+mn-cs"/>
                        </a:rPr>
                        <a:t>70 &lt; IRD ≤ 63</a:t>
                      </a:r>
                    </a:p>
                  </a:txBody>
                  <a:tcPr marT="45731" marB="45731">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50000"/>
                        <a:alpha val="20000"/>
                      </a:schemeClr>
                    </a:solidFill>
                  </a:tcPr>
                </a:tc>
                <a:tc>
                  <a:txBody>
                    <a:bodyPr/>
                    <a:lstStyle/>
                    <a:p>
                      <a:pPr algn="r"/>
                      <a:r>
                        <a:rPr lang="en-US" sz="900" dirty="0">
                          <a:solidFill>
                            <a:schemeClr val="tx1"/>
                          </a:solidFill>
                          <a:latin typeface="+mj-lt"/>
                        </a:rPr>
                        <a:t>38</a:t>
                      </a:r>
                    </a:p>
                  </a:txBody>
                  <a:tcPr marT="45731" marB="45731">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3"/>
                  </a:ext>
                </a:extLst>
              </a:tr>
              <a:tr h="228621">
                <a:tc>
                  <a:txBody>
                    <a:bodyPr/>
                    <a:lstStyle/>
                    <a:p>
                      <a:r>
                        <a:rPr lang="en-US" sz="900" kern="1200" dirty="0">
                          <a:solidFill>
                            <a:schemeClr val="tx1"/>
                          </a:solidFill>
                          <a:latin typeface="+mn-lt"/>
                          <a:ea typeface="+mn-ea"/>
                          <a:cs typeface="+mn-cs"/>
                        </a:rPr>
                        <a:t>63 &lt; IRD ≤ 37</a:t>
                      </a:r>
                    </a:p>
                  </a:txBody>
                  <a:tcPr marT="45731" marB="45731">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50000"/>
                        <a:alpha val="20000"/>
                      </a:schemeClr>
                    </a:solidFill>
                  </a:tcPr>
                </a:tc>
                <a:tc>
                  <a:txBody>
                    <a:bodyPr/>
                    <a:lstStyle/>
                    <a:p>
                      <a:pPr algn="r"/>
                      <a:r>
                        <a:rPr lang="en-US" sz="900" dirty="0">
                          <a:solidFill>
                            <a:schemeClr val="tx1"/>
                          </a:solidFill>
                          <a:latin typeface="+mj-lt"/>
                        </a:rPr>
                        <a:t>453</a:t>
                      </a:r>
                    </a:p>
                  </a:txBody>
                  <a:tcPr marT="45731" marB="45731">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4"/>
                  </a:ext>
                </a:extLst>
              </a:tr>
              <a:tr h="228621">
                <a:tc>
                  <a:txBody>
                    <a:bodyPr/>
                    <a:lstStyle/>
                    <a:p>
                      <a:r>
                        <a:rPr lang="en-US" sz="900" kern="1200" dirty="0">
                          <a:solidFill>
                            <a:schemeClr val="tx1"/>
                          </a:solidFill>
                          <a:latin typeface="+mn-lt"/>
                          <a:ea typeface="+mn-ea"/>
                          <a:cs typeface="+mn-cs"/>
                        </a:rPr>
                        <a:t>IRD &lt; 37</a:t>
                      </a:r>
                    </a:p>
                  </a:txBody>
                  <a:tcPr marT="45731" marB="45731">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50000"/>
                        <a:alpha val="20000"/>
                      </a:schemeClr>
                    </a:solidFill>
                  </a:tcPr>
                </a:tc>
                <a:tc>
                  <a:txBody>
                    <a:bodyPr/>
                    <a:lstStyle/>
                    <a:p>
                      <a:pPr algn="r"/>
                      <a:r>
                        <a:rPr lang="en-US" sz="900" dirty="0">
                          <a:solidFill>
                            <a:schemeClr val="tx1"/>
                          </a:solidFill>
                          <a:latin typeface="+mj-lt"/>
                        </a:rPr>
                        <a:t>251</a:t>
                      </a:r>
                    </a:p>
                  </a:txBody>
                  <a:tcPr marT="45731" marB="45731">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228621">
                <a:tc>
                  <a:txBody>
                    <a:bodyPr/>
                    <a:lstStyle/>
                    <a:p>
                      <a:r>
                        <a:rPr lang="en-US" sz="900" dirty="0" err="1">
                          <a:solidFill>
                            <a:schemeClr val="bg1"/>
                          </a:solidFill>
                          <a:latin typeface="+mj-lt"/>
                        </a:rPr>
                        <a:t>Totale</a:t>
                      </a:r>
                      <a:endParaRPr lang="en-US" sz="900" dirty="0">
                        <a:solidFill>
                          <a:schemeClr val="bg1"/>
                        </a:solidFill>
                        <a:latin typeface="+mj-lt"/>
                      </a:endParaRPr>
                    </a:p>
                  </a:txBody>
                  <a:tcPr marT="45731" marB="45731">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50000"/>
                        <a:alpha val="81000"/>
                      </a:schemeClr>
                    </a:solidFill>
                  </a:tcPr>
                </a:tc>
                <a:tc>
                  <a:txBody>
                    <a:bodyPr/>
                    <a:lstStyle/>
                    <a:p>
                      <a:pPr algn="r"/>
                      <a:r>
                        <a:rPr lang="en-US" sz="900" dirty="0">
                          <a:solidFill>
                            <a:schemeClr val="bg1"/>
                          </a:solidFill>
                          <a:latin typeface="+mj-lt"/>
                        </a:rPr>
                        <a:t>810</a:t>
                      </a:r>
                    </a:p>
                  </a:txBody>
                  <a:tcPr marT="45731" marB="45731">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50000"/>
                        <a:alpha val="81000"/>
                      </a:schemeClr>
                    </a:solidFill>
                  </a:tcPr>
                </a:tc>
                <a:extLst>
                  <a:ext uri="{0D108BD9-81ED-4DB2-BD59-A6C34878D82A}">
                    <a16:rowId xmlns:a16="http://schemas.microsoft.com/office/drawing/2014/main" val="10010"/>
                  </a:ext>
                </a:extLst>
              </a:tr>
            </a:tbl>
          </a:graphicData>
        </a:graphic>
      </p:graphicFrame>
      <p:graphicFrame>
        <p:nvGraphicFramePr>
          <p:cNvPr id="14" name="Grafico 13"/>
          <p:cNvGraphicFramePr/>
          <p:nvPr/>
        </p:nvGraphicFramePr>
        <p:xfrm>
          <a:off x="2684248" y="1286881"/>
          <a:ext cx="3240000" cy="290522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8" name="Grafico 17"/>
          <p:cNvGraphicFramePr/>
          <p:nvPr/>
        </p:nvGraphicFramePr>
        <p:xfrm>
          <a:off x="5814138" y="1286881"/>
          <a:ext cx="3240000" cy="3400755"/>
        </p:xfrm>
        <a:graphic>
          <a:graphicData uri="http://schemas.openxmlformats.org/drawingml/2006/chart">
            <c:chart xmlns:c="http://schemas.openxmlformats.org/drawingml/2006/chart" xmlns:r="http://schemas.openxmlformats.org/officeDocument/2006/relationships" r:id="rId3"/>
          </a:graphicData>
        </a:graphic>
      </p:graphicFrame>
      <p:sp>
        <p:nvSpPr>
          <p:cNvPr id="23" name="Freccia a destra 22"/>
          <p:cNvSpPr/>
          <p:nvPr/>
        </p:nvSpPr>
        <p:spPr>
          <a:xfrm>
            <a:off x="5760132" y="2425452"/>
            <a:ext cx="270030" cy="486054"/>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0">
              <a:solidFill>
                <a:schemeClr val="tx2"/>
              </a:solidFill>
            </a:endParaRPr>
          </a:p>
        </p:txBody>
      </p:sp>
      <p:sp>
        <p:nvSpPr>
          <p:cNvPr id="24" name="Rettangolo 23"/>
          <p:cNvSpPr/>
          <p:nvPr/>
        </p:nvSpPr>
        <p:spPr>
          <a:xfrm>
            <a:off x="351774" y="3291860"/>
            <a:ext cx="2571560" cy="1084912"/>
          </a:xfrm>
          <a:prstGeom prst="rect">
            <a:avLst/>
          </a:prstGeom>
        </p:spPr>
        <p:txBody>
          <a:bodyPr wrap="square">
            <a:spAutoFit/>
          </a:bodyPr>
          <a:lstStyle/>
          <a:p>
            <a:r>
              <a:rPr lang="it-IT" sz="1200" b="1" dirty="0">
                <a:solidFill>
                  <a:srgbClr val="0E6B69"/>
                </a:solidFill>
              </a:rPr>
              <a:t>Strategia di intervento</a:t>
            </a:r>
          </a:p>
          <a:p>
            <a:pPr marL="128588" indent="-128588">
              <a:buFont typeface="Arial" panose="020B0604020202020204" pitchFamily="34" charset="0"/>
              <a:buChar char="•"/>
            </a:pPr>
            <a:r>
              <a:rPr lang="it-IT" sz="1050" b="1" dirty="0">
                <a:solidFill>
                  <a:srgbClr val="0E6B69"/>
                </a:solidFill>
              </a:rPr>
              <a:t>AZIONE URGENTE IRD ≥ 70;</a:t>
            </a:r>
          </a:p>
          <a:p>
            <a:pPr marL="128588" indent="-128588">
              <a:buFont typeface="Arial" panose="020B0604020202020204" pitchFamily="34" charset="0"/>
              <a:buChar char="•"/>
            </a:pPr>
            <a:r>
              <a:rPr lang="it-IT" sz="1050" b="1" dirty="0">
                <a:solidFill>
                  <a:srgbClr val="0E6B69"/>
                </a:solidFill>
              </a:rPr>
              <a:t>AZIONE A BREVE TERMINE 63 ≤ IRD &lt; 70;</a:t>
            </a:r>
          </a:p>
          <a:p>
            <a:pPr marL="128588" indent="-128588">
              <a:buFont typeface="Arial" panose="020B0604020202020204" pitchFamily="34" charset="0"/>
              <a:buChar char="•"/>
            </a:pPr>
            <a:r>
              <a:rPr lang="it-IT" sz="1050" b="1" dirty="0">
                <a:solidFill>
                  <a:srgbClr val="0E6B69"/>
                </a:solidFill>
              </a:rPr>
              <a:t>AZIONE A MEDIO TERMINE 37 ≤ IRD &lt; 63;</a:t>
            </a:r>
          </a:p>
          <a:p>
            <a:pPr marL="128588" indent="-128588">
              <a:buFont typeface="Arial" panose="020B0604020202020204" pitchFamily="34" charset="0"/>
              <a:buChar char="•"/>
            </a:pPr>
            <a:r>
              <a:rPr lang="it-IT" sz="1050" b="1" dirty="0">
                <a:solidFill>
                  <a:srgbClr val="0E6B69"/>
                </a:solidFill>
              </a:rPr>
              <a:t>AZIONE A LUNGO TERMINE IRD &lt; 37.</a:t>
            </a:r>
            <a:endParaRPr lang="it-IT" sz="1050" dirty="0">
              <a:solidFill>
                <a:srgbClr val="0E6B69"/>
              </a:solidFill>
            </a:endParaRPr>
          </a:p>
        </p:txBody>
      </p:sp>
      <p:sp>
        <p:nvSpPr>
          <p:cNvPr id="26" name="CasellaDiTesto 25"/>
          <p:cNvSpPr txBox="1"/>
          <p:nvPr/>
        </p:nvSpPr>
        <p:spPr>
          <a:xfrm>
            <a:off x="326254" y="1345333"/>
            <a:ext cx="2025000" cy="276999"/>
          </a:xfrm>
          <a:prstGeom prst="rect">
            <a:avLst/>
          </a:prstGeom>
          <a:noFill/>
        </p:spPr>
        <p:txBody>
          <a:bodyPr wrap="square" rtlCol="0">
            <a:spAutoFit/>
          </a:bodyPr>
          <a:lstStyle/>
          <a:p>
            <a:r>
              <a:rPr lang="it-IT" sz="1200" b="1" dirty="0">
                <a:solidFill>
                  <a:srgbClr val="0E6B69"/>
                </a:solidFill>
              </a:rPr>
              <a:t>Risultati ispezioni principali</a:t>
            </a:r>
          </a:p>
        </p:txBody>
      </p:sp>
      <p:sp>
        <p:nvSpPr>
          <p:cNvPr id="2" name="Rettangolo 1"/>
          <p:cNvSpPr/>
          <p:nvPr/>
        </p:nvSpPr>
        <p:spPr>
          <a:xfrm>
            <a:off x="351773" y="4308714"/>
            <a:ext cx="6156684" cy="600164"/>
          </a:xfrm>
          <a:prstGeom prst="rect">
            <a:avLst/>
          </a:prstGeom>
        </p:spPr>
        <p:txBody>
          <a:bodyPr wrap="square">
            <a:spAutoFit/>
          </a:bodyPr>
          <a:lstStyle/>
          <a:p>
            <a:r>
              <a:rPr lang="it-IT" sz="1200" b="1" dirty="0">
                <a:solidFill>
                  <a:srgbClr val="0E6B69"/>
                </a:solidFill>
              </a:rPr>
              <a:t>IRD - Indice di Rilevanza del Degrado</a:t>
            </a:r>
          </a:p>
          <a:p>
            <a:pPr algn="just"/>
            <a:r>
              <a:rPr lang="it-IT" sz="1050" dirty="0">
                <a:solidFill>
                  <a:schemeClr val="accent2"/>
                </a:solidFill>
              </a:rPr>
              <a:t>Espressione di un giudizio di insieme sullo stato di conservazione generale della struttura in forma normalizzata</a:t>
            </a:r>
          </a:p>
        </p:txBody>
      </p:sp>
      <p:graphicFrame>
        <p:nvGraphicFramePr>
          <p:cNvPr id="13" name="Diagramma 12"/>
          <p:cNvGraphicFramePr/>
          <p:nvPr>
            <p:extLst>
              <p:ext uri="{D42A27DB-BD31-4B8C-83A1-F6EECF244321}">
                <p14:modId xmlns:p14="http://schemas.microsoft.com/office/powerpoint/2010/main" val="1366178563"/>
              </p:ext>
            </p:extLst>
          </p:nvPr>
        </p:nvGraphicFramePr>
        <p:xfrm>
          <a:off x="134978" y="16679"/>
          <a:ext cx="8286246" cy="81167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310447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object 1"/>
          <p:cNvSpPr>
            <a:spLocks noChangeArrowheads="1"/>
          </p:cNvSpPr>
          <p:nvPr>
            <p:custDataLst>
              <p:tags r:id="rId1"/>
            </p:custDataLst>
          </p:nvPr>
        </p:nvSpPr>
        <p:spPr bwMode="auto">
          <a:xfrm>
            <a:off x="5873427" y="1913214"/>
            <a:ext cx="2633010" cy="2902067"/>
          </a:xfrm>
          <a:prstGeom prst="rect">
            <a:avLst/>
          </a:prstGeom>
          <a:blipFill dpi="0" rotWithShape="0">
            <a:blip r:embed="rId4">
              <a:alphaModFix/>
            </a:blip>
            <a:srcRect/>
            <a:stretch>
              <a:fillRect l="-198837" t="-32" r="-255" b="-1935"/>
            </a:stretch>
          </a:blipFill>
          <a:ln>
            <a:noFill/>
          </a:ln>
        </p:spPr>
        <p:txBody>
          <a:bodyPr wrap="square" lIns="0" tIns="0" rIns="0" bIns="0">
            <a:spAutoFit/>
          </a:bodyPr>
          <a:lstStyle>
            <a:lvl1pPr>
              <a:buSzPct val="100000"/>
              <a:buFont typeface="Calibri" panose="020F0502020204030204" pitchFamily="34" charset="0"/>
              <a:defRPr>
                <a:solidFill>
                  <a:schemeClr val="tx1"/>
                </a:solidFill>
                <a:latin typeface="Calibri" panose="020F0502020204030204" pitchFamily="34" charset="0"/>
                <a:cs typeface="Arial" panose="020B0604020202020204" pitchFamily="34" charset="0"/>
              </a:defRPr>
            </a:lvl1pPr>
            <a:lvl2pPr marL="742950" indent="-285750">
              <a:buSzPct val="100000"/>
              <a:buFont typeface="Calibri" panose="020F0502020204030204" pitchFamily="34" charset="0"/>
              <a:defRPr>
                <a:solidFill>
                  <a:schemeClr val="tx1"/>
                </a:solidFill>
                <a:latin typeface="Calibri" panose="020F0502020204030204" pitchFamily="34" charset="0"/>
                <a:cs typeface="Arial" panose="020B0604020202020204" pitchFamily="34" charset="0"/>
              </a:defRPr>
            </a:lvl2pPr>
            <a:lvl3pPr marL="1143000" indent="-228600">
              <a:buSzPct val="100000"/>
              <a:buFont typeface="Calibri" panose="020F0502020204030204" pitchFamily="34" charset="0"/>
              <a:defRPr>
                <a:solidFill>
                  <a:schemeClr val="tx1"/>
                </a:solidFill>
                <a:latin typeface="Calibri" panose="020F0502020204030204" pitchFamily="34" charset="0"/>
                <a:cs typeface="Arial" panose="020B0604020202020204" pitchFamily="34" charset="0"/>
              </a:defRPr>
            </a:lvl3pPr>
            <a:lvl4pPr marL="1600200" indent="-228600">
              <a:buSzPct val="100000"/>
              <a:buFont typeface="Calibri" panose="020F0502020204030204" pitchFamily="34" charset="0"/>
              <a:defRPr>
                <a:solidFill>
                  <a:schemeClr val="tx1"/>
                </a:solidFill>
                <a:latin typeface="Calibri" panose="020F0502020204030204" pitchFamily="34" charset="0"/>
                <a:cs typeface="Arial" panose="020B0604020202020204" pitchFamily="34" charset="0"/>
              </a:defRPr>
            </a:lvl4pPr>
            <a:lvl5pPr marL="2057400" indent="-228600">
              <a:buSzPct val="100000"/>
              <a:buFont typeface="Calibri" panose="020F0502020204030204" pitchFamily="34" charse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buSzPct val="100000"/>
              <a:buFont typeface="Calibri" panose="020F0502020204030204" pitchFamily="34" charset="0"/>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buSzPct val="100000"/>
              <a:buFont typeface="Calibri" panose="020F0502020204030204" pitchFamily="34" charset="0"/>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buSzPct val="100000"/>
              <a:buFont typeface="Calibri" panose="020F0502020204030204" pitchFamily="34" charset="0"/>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buSzPct val="100000"/>
              <a:buFont typeface="Calibri" panose="020F0502020204030204" pitchFamily="34" charset="0"/>
              <a:defRPr>
                <a:solidFill>
                  <a:schemeClr val="tx1"/>
                </a:solidFill>
                <a:latin typeface="Calibri" panose="020F0502020204030204" pitchFamily="34" charset="0"/>
                <a:cs typeface="Arial" panose="020B0604020202020204" pitchFamily="34" charset="0"/>
              </a:defRPr>
            </a:lvl9pPr>
          </a:lstStyle>
          <a:p>
            <a:pPr eaLnBrk="1" hangingPunct="1">
              <a:defRPr/>
            </a:pPr>
            <a:endParaRPr lang="it-IT" altLang="it-IT" sz="1350" dirty="0"/>
          </a:p>
        </p:txBody>
      </p:sp>
      <p:sp>
        <p:nvSpPr>
          <p:cNvPr id="3" name="object 3"/>
          <p:cNvSpPr txBox="1"/>
          <p:nvPr>
            <p:custDataLst>
              <p:tags r:id="rId2"/>
            </p:custDataLst>
          </p:nvPr>
        </p:nvSpPr>
        <p:spPr>
          <a:xfrm>
            <a:off x="251223" y="535781"/>
            <a:ext cx="5455444" cy="4442242"/>
          </a:xfrm>
          <a:prstGeom prst="rect">
            <a:avLst/>
          </a:prstGeom>
          <a:noFill/>
          <a:ln w="9525" cap="flat" cmpd="sng" algn="ctr">
            <a:noFill/>
            <a:prstDash val="solid"/>
            <a:round/>
            <a:headEnd type="none" w="med" len="med"/>
            <a:tailEnd type="none" w="med" len="med"/>
          </a:ln>
        </p:spPr>
        <p:txBody>
          <a:bodyPr lIns="0" tIns="0" rIns="0" bIns="0">
            <a:spAutoFit/>
          </a:bodyPr>
          <a:lstStyle/>
          <a:p>
            <a:pPr>
              <a:lnSpc>
                <a:spcPts val="2197"/>
              </a:lnSpc>
              <a:defRPr/>
            </a:pPr>
            <a:endParaRPr lang="it-IT" b="1" dirty="0">
              <a:ln w="9525" cap="flat" cmpd="sng" algn="ctr">
                <a:noFill/>
                <a:prstDash val="solid"/>
                <a:round/>
                <a:headEnd type="none" w="med" len="med"/>
                <a:tailEnd type="none" w="med" len="med"/>
              </a:ln>
              <a:solidFill>
                <a:srgbClr val="DC002E"/>
              </a:solidFill>
              <a:latin typeface="Calibri"/>
              <a:cs typeface="Calibri"/>
              <a:sym typeface="Wingdings"/>
            </a:endParaRPr>
          </a:p>
          <a:p>
            <a:pPr>
              <a:lnSpc>
                <a:spcPts val="2197"/>
              </a:lnSpc>
              <a:defRPr/>
            </a:pPr>
            <a:r>
              <a:rPr b="1" dirty="0">
                <a:ln w="9525" cap="flat" cmpd="sng" algn="ctr">
                  <a:noFill/>
                  <a:prstDash val="solid"/>
                  <a:round/>
                  <a:headEnd type="none" w="med" len="med"/>
                  <a:tailEnd type="none" w="med" len="med"/>
                </a:ln>
                <a:solidFill>
                  <a:srgbClr val="DC002E"/>
                </a:solidFill>
                <a:latin typeface="Calibri"/>
                <a:cs typeface="Calibri"/>
                <a:sym typeface="Wingdings"/>
              </a:rPr>
              <a:t>Smart Road</a:t>
            </a:r>
            <a:r>
              <a:rPr b="1" spc="-16" dirty="0">
                <a:ln w="9525" cap="flat" cmpd="sng" algn="ctr">
                  <a:noFill/>
                  <a:prstDash val="solid"/>
                  <a:round/>
                  <a:headEnd type="none" w="med" len="med"/>
                  <a:tailEnd type="none" w="med" len="med"/>
                </a:ln>
                <a:solidFill>
                  <a:srgbClr val="DC002E"/>
                </a:solidFill>
                <a:latin typeface="Calibri"/>
                <a:cs typeface="Calibri"/>
                <a:sym typeface="Wingdings"/>
              </a:rPr>
              <a:t> </a:t>
            </a:r>
            <a:r>
              <a:rPr lang="it-IT" b="1" spc="-16" dirty="0">
                <a:ln w="9525" cap="flat" cmpd="sng" algn="ctr">
                  <a:noFill/>
                  <a:prstDash val="solid"/>
                  <a:round/>
                  <a:headEnd type="none" w="med" len="med"/>
                  <a:tailEnd type="none" w="med" len="med"/>
                </a:ln>
                <a:solidFill>
                  <a:srgbClr val="DC002E"/>
                </a:solidFill>
                <a:latin typeface="Calibri"/>
                <a:cs typeface="Calibri"/>
                <a:sym typeface="Wingdings"/>
              </a:rPr>
              <a:t>A90 - </a:t>
            </a:r>
            <a:r>
              <a:rPr b="1" dirty="0">
                <a:ln w="9525" cap="flat" cmpd="sng" algn="ctr">
                  <a:noFill/>
                  <a:prstDash val="solid"/>
                  <a:round/>
                  <a:headEnd type="none" w="med" len="med"/>
                  <a:tailEnd type="none" w="med" len="med"/>
                </a:ln>
                <a:solidFill>
                  <a:srgbClr val="DC002E"/>
                </a:solidFill>
                <a:latin typeface="Calibri"/>
                <a:cs typeface="Calibri"/>
                <a:sym typeface="Wingdings"/>
              </a:rPr>
              <a:t>A91</a:t>
            </a:r>
            <a:endParaRPr lang="it-IT" b="1" dirty="0">
              <a:ln w="9525" cap="flat" cmpd="sng" algn="ctr">
                <a:noFill/>
                <a:prstDash val="solid"/>
                <a:round/>
                <a:headEnd type="none" w="med" len="med"/>
                <a:tailEnd type="none" w="med" len="med"/>
              </a:ln>
              <a:solidFill>
                <a:srgbClr val="DC002E"/>
              </a:solidFill>
              <a:latin typeface="Calibri"/>
              <a:cs typeface="Calibri"/>
              <a:sym typeface="Wingdings"/>
            </a:endParaRPr>
          </a:p>
          <a:p>
            <a:pPr>
              <a:lnSpc>
                <a:spcPts val="2197"/>
              </a:lnSpc>
              <a:defRPr/>
            </a:pPr>
            <a:endParaRPr lang="it-IT" b="1" dirty="0">
              <a:ln w="9525" cap="flat" cmpd="sng" algn="ctr">
                <a:noFill/>
                <a:prstDash val="solid"/>
                <a:round/>
                <a:headEnd type="none" w="med" len="med"/>
                <a:tailEnd type="none" w="med" len="med"/>
              </a:ln>
              <a:solidFill>
                <a:srgbClr val="DC002E"/>
              </a:solidFill>
              <a:latin typeface="Calibri"/>
              <a:cs typeface="Calibri"/>
              <a:sym typeface="Wingdings"/>
            </a:endParaRPr>
          </a:p>
          <a:p>
            <a:pPr algn="just">
              <a:lnSpc>
                <a:spcPct val="150000"/>
              </a:lnSpc>
              <a:defRPr/>
            </a:pPr>
            <a:r>
              <a:rPr lang="it-IT" sz="1200" dirty="0">
                <a:latin typeface="+mj-lt"/>
                <a:ea typeface="Times New Roman" panose="02020603050405020304" pitchFamily="18" charset="0"/>
              </a:rPr>
              <a:t>La Struttura Territoriale Lazio è attualmente responsabile della realizzazione </a:t>
            </a:r>
          </a:p>
          <a:p>
            <a:pPr algn="just">
              <a:lnSpc>
                <a:spcPct val="150000"/>
              </a:lnSpc>
              <a:defRPr/>
            </a:pPr>
            <a:r>
              <a:rPr lang="it-IT" sz="1200" dirty="0">
                <a:latin typeface="+mj-lt"/>
                <a:ea typeface="Times New Roman" panose="02020603050405020304" pitchFamily="18" charset="0"/>
              </a:rPr>
              <a:t>di due itinerari “</a:t>
            </a:r>
            <a:r>
              <a:rPr lang="it-IT" sz="1200" i="1" dirty="0">
                <a:latin typeface="+mj-lt"/>
                <a:ea typeface="Times New Roman" panose="02020603050405020304" pitchFamily="18" charset="0"/>
              </a:rPr>
              <a:t>Anas Smart Road</a:t>
            </a:r>
            <a:r>
              <a:rPr lang="it-IT" sz="1200" dirty="0">
                <a:latin typeface="+mj-lt"/>
                <a:ea typeface="Times New Roman" panose="02020603050405020304" pitchFamily="18" charset="0"/>
              </a:rPr>
              <a:t>”</a:t>
            </a:r>
          </a:p>
          <a:p>
            <a:pPr algn="just">
              <a:spcAft>
                <a:spcPts val="450"/>
              </a:spcAft>
              <a:defRPr/>
            </a:pPr>
            <a:endParaRPr lang="it-IT" sz="1200" dirty="0">
              <a:latin typeface="+mj-lt"/>
              <a:ea typeface="Times New Roman" panose="02020603050405020304" pitchFamily="18" charset="0"/>
            </a:endParaRPr>
          </a:p>
          <a:p>
            <a:pPr algn="just">
              <a:spcAft>
                <a:spcPts val="450"/>
              </a:spcAft>
              <a:defRPr/>
            </a:pPr>
            <a:r>
              <a:rPr lang="it-IT" sz="1200" b="1" dirty="0">
                <a:latin typeface="+mj-lt"/>
                <a:ea typeface="Times New Roman" panose="02020603050405020304" pitchFamily="18" charset="0"/>
              </a:rPr>
              <a:t>Grande Raccordo Anulare A90 ed Autostrada Roma – Fiumicino A91</a:t>
            </a:r>
          </a:p>
          <a:p>
            <a:pPr marL="557213" lvl="1" indent="-214313" algn="just">
              <a:spcAft>
                <a:spcPts val="450"/>
              </a:spcAft>
              <a:buFont typeface="Courier New" panose="02070309020205020404" pitchFamily="49" charset="0"/>
              <a:buChar char="o"/>
              <a:defRPr/>
            </a:pPr>
            <a:r>
              <a:rPr lang="it-IT" sz="1200" dirty="0">
                <a:latin typeface="+mj-lt"/>
                <a:ea typeface="Times New Roman" panose="02020603050405020304" pitchFamily="18" charset="0"/>
              </a:rPr>
              <a:t>Investimento attuale: € </a:t>
            </a:r>
            <a:r>
              <a:rPr lang="it-IT" sz="1200" b="1" dirty="0">
                <a:latin typeface="+mj-lt"/>
                <a:ea typeface="Times New Roman" panose="02020603050405020304" pitchFamily="18" charset="0"/>
              </a:rPr>
              <a:t>54,5 Mln</a:t>
            </a:r>
          </a:p>
          <a:p>
            <a:pPr marL="557213" lvl="1" indent="-214313" algn="just">
              <a:spcAft>
                <a:spcPts val="450"/>
              </a:spcAft>
              <a:buFont typeface="Courier New" panose="02070309020205020404" pitchFamily="49" charset="0"/>
              <a:buChar char="o"/>
              <a:defRPr/>
            </a:pPr>
            <a:r>
              <a:rPr lang="it-IT" sz="1200" dirty="0">
                <a:latin typeface="+mj-lt"/>
                <a:ea typeface="Times New Roman" panose="02020603050405020304" pitchFamily="18" charset="0"/>
              </a:rPr>
              <a:t>Estensione: 85,6 km</a:t>
            </a:r>
          </a:p>
          <a:p>
            <a:pPr marL="557213" lvl="1" indent="-214313" algn="just">
              <a:spcAft>
                <a:spcPts val="450"/>
              </a:spcAft>
              <a:buFont typeface="Courier New" panose="02070309020205020404" pitchFamily="49" charset="0"/>
              <a:buChar char="o"/>
              <a:defRPr/>
            </a:pPr>
            <a:r>
              <a:rPr lang="it-IT" sz="1200" dirty="0">
                <a:latin typeface="+mj-lt"/>
                <a:ea typeface="Times New Roman" panose="02020603050405020304" pitchFamily="18" charset="0"/>
              </a:rPr>
              <a:t>Numero Green Island: 2</a:t>
            </a:r>
          </a:p>
          <a:p>
            <a:pPr marL="557213" lvl="1" indent="-214313" algn="just">
              <a:spcAft>
                <a:spcPts val="450"/>
              </a:spcAft>
              <a:buFont typeface="Courier New" panose="02070309020205020404" pitchFamily="49" charset="0"/>
              <a:buChar char="o"/>
              <a:defRPr/>
            </a:pPr>
            <a:r>
              <a:rPr lang="it-IT" sz="1200" dirty="0">
                <a:latin typeface="+mj-lt"/>
                <a:ea typeface="Times New Roman" panose="02020603050405020304" pitchFamily="18" charset="0"/>
              </a:rPr>
              <a:t>Numero Control Room / SMART ROAD CENTER: 1</a:t>
            </a:r>
          </a:p>
          <a:p>
            <a:pPr marL="557213" lvl="1" indent="-214313" algn="just">
              <a:spcAft>
                <a:spcPts val="450"/>
              </a:spcAft>
              <a:buFont typeface="Courier New" panose="02070309020205020404" pitchFamily="49" charset="0"/>
              <a:buChar char="o"/>
              <a:defRPr/>
            </a:pPr>
            <a:r>
              <a:rPr lang="it-IT" sz="1200" dirty="0">
                <a:latin typeface="+mj-lt"/>
                <a:ea typeface="Times New Roman" panose="02020603050405020304" pitchFamily="18" charset="0"/>
              </a:rPr>
              <a:t>Fine prevista: 2023</a:t>
            </a:r>
          </a:p>
          <a:p>
            <a:pPr marL="557213" lvl="1" indent="-214313" algn="just">
              <a:lnSpc>
                <a:spcPct val="150000"/>
              </a:lnSpc>
              <a:spcAft>
                <a:spcPts val="450"/>
              </a:spcAft>
              <a:buFont typeface="Courier New" panose="02070309020205020404" pitchFamily="49" charset="0"/>
              <a:buChar char="o"/>
              <a:defRPr/>
            </a:pPr>
            <a:r>
              <a:rPr lang="it-IT" sz="1200" dirty="0">
                <a:latin typeface="+mj-lt"/>
                <a:ea typeface="Times New Roman" panose="02020603050405020304" pitchFamily="18" charset="0"/>
              </a:rPr>
              <a:t>Stato dell’arte: sono attualmente in esercizio circa 13 km della A91;</a:t>
            </a:r>
          </a:p>
          <a:p>
            <a:pPr marL="557213" lvl="1" indent="-214313" algn="just">
              <a:lnSpc>
                <a:spcPct val="150000"/>
              </a:lnSpc>
              <a:spcAft>
                <a:spcPts val="450"/>
              </a:spcAft>
              <a:buFont typeface="Courier New" panose="02070309020205020404" pitchFamily="49" charset="0"/>
              <a:buChar char="o"/>
              <a:defRPr/>
            </a:pPr>
            <a:r>
              <a:rPr lang="it-IT" sz="1200" dirty="0">
                <a:latin typeface="+mj-lt"/>
                <a:ea typeface="Times New Roman" panose="02020603050405020304" pitchFamily="18" charset="0"/>
              </a:rPr>
              <a:t>Installati 43 pali polifunzionali sulla A91</a:t>
            </a:r>
          </a:p>
          <a:p>
            <a:pPr marL="557213" lvl="1" indent="-214313" algn="just">
              <a:lnSpc>
                <a:spcPct val="150000"/>
              </a:lnSpc>
              <a:spcAft>
                <a:spcPts val="450"/>
              </a:spcAft>
              <a:buFont typeface="Courier New" panose="02070309020205020404" pitchFamily="49" charset="0"/>
              <a:buChar char="o"/>
              <a:defRPr/>
            </a:pPr>
            <a:r>
              <a:rPr lang="it-IT" sz="1200" dirty="0">
                <a:latin typeface="+mj-lt"/>
                <a:ea typeface="Times New Roman" panose="02020603050405020304" pitchFamily="18" charset="0"/>
              </a:rPr>
              <a:t>sono state invece avviate le prime lavorazioni sulla A90 con l’installazione</a:t>
            </a:r>
          </a:p>
          <a:p>
            <a:pPr lvl="1" algn="just">
              <a:lnSpc>
                <a:spcPct val="150000"/>
              </a:lnSpc>
              <a:spcAft>
                <a:spcPts val="450"/>
              </a:spcAft>
              <a:defRPr/>
            </a:pPr>
            <a:r>
              <a:rPr lang="it-IT" sz="1200" dirty="0">
                <a:latin typeface="+mj-lt"/>
                <a:ea typeface="Times New Roman" panose="02020603050405020304" pitchFamily="18" charset="0"/>
              </a:rPr>
              <a:t> 4 pali polifunzionali</a:t>
            </a:r>
          </a:p>
        </p:txBody>
      </p:sp>
      <p:graphicFrame>
        <p:nvGraphicFramePr>
          <p:cNvPr id="5" name="Diagramma 4"/>
          <p:cNvGraphicFramePr/>
          <p:nvPr>
            <p:extLst>
              <p:ext uri="{D42A27DB-BD31-4B8C-83A1-F6EECF244321}">
                <p14:modId xmlns:p14="http://schemas.microsoft.com/office/powerpoint/2010/main" val="2582039387"/>
              </p:ext>
            </p:extLst>
          </p:nvPr>
        </p:nvGraphicFramePr>
        <p:xfrm>
          <a:off x="134978" y="16679"/>
          <a:ext cx="8286246" cy="81167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4257753019"/>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Segnaposto contenuto 6"/>
          <p:cNvGraphicFramePr>
            <a:graphicFrameLocks/>
          </p:cNvGraphicFramePr>
          <p:nvPr/>
        </p:nvGraphicFramePr>
        <p:xfrm>
          <a:off x="674224" y="986031"/>
          <a:ext cx="7747000" cy="25654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Segnaposto contenuto 7"/>
          <p:cNvGraphicFramePr>
            <a:graphicFrameLocks/>
          </p:cNvGraphicFramePr>
          <p:nvPr/>
        </p:nvGraphicFramePr>
        <p:xfrm>
          <a:off x="429270" y="2753737"/>
          <a:ext cx="4363409" cy="290340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Segnaposto contenuto 7"/>
          <p:cNvGraphicFramePr>
            <a:graphicFrameLocks/>
          </p:cNvGraphicFramePr>
          <p:nvPr/>
        </p:nvGraphicFramePr>
        <p:xfrm>
          <a:off x="4547724" y="3228445"/>
          <a:ext cx="4232002" cy="2187468"/>
        </p:xfrm>
        <a:graphic>
          <a:graphicData uri="http://schemas.openxmlformats.org/drawingml/2006/chart">
            <c:chart xmlns:c="http://schemas.openxmlformats.org/drawingml/2006/chart" xmlns:r="http://schemas.openxmlformats.org/officeDocument/2006/relationships" r:id="rId5"/>
          </a:graphicData>
        </a:graphic>
      </p:graphicFrame>
      <p:sp>
        <p:nvSpPr>
          <p:cNvPr id="8" name="Freccia in giù 7"/>
          <p:cNvSpPr/>
          <p:nvPr/>
        </p:nvSpPr>
        <p:spPr>
          <a:xfrm rot="18569004">
            <a:off x="4702276" y="2463643"/>
            <a:ext cx="440536" cy="60766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9" name="Freccia in giù 8"/>
          <p:cNvSpPr/>
          <p:nvPr/>
        </p:nvSpPr>
        <p:spPr>
          <a:xfrm rot="823523">
            <a:off x="2516969" y="2552930"/>
            <a:ext cx="485396" cy="429094"/>
          </a:xfrm>
          <a:prstGeom prst="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it-IT"/>
          </a:p>
        </p:txBody>
      </p:sp>
      <p:graphicFrame>
        <p:nvGraphicFramePr>
          <p:cNvPr id="10" name="Diagramma 9"/>
          <p:cNvGraphicFramePr/>
          <p:nvPr>
            <p:extLst>
              <p:ext uri="{D42A27DB-BD31-4B8C-83A1-F6EECF244321}">
                <p14:modId xmlns:p14="http://schemas.microsoft.com/office/powerpoint/2010/main" val="3885586255"/>
              </p:ext>
            </p:extLst>
          </p:nvPr>
        </p:nvGraphicFramePr>
        <p:xfrm>
          <a:off x="259299" y="76591"/>
          <a:ext cx="8286246" cy="81167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graphicFrame>
        <p:nvGraphicFramePr>
          <p:cNvPr id="12" name="Diagramma 11"/>
          <p:cNvGraphicFramePr/>
          <p:nvPr>
            <p:extLst>
              <p:ext uri="{D42A27DB-BD31-4B8C-83A1-F6EECF244321}">
                <p14:modId xmlns:p14="http://schemas.microsoft.com/office/powerpoint/2010/main" val="82231726"/>
              </p:ext>
            </p:extLst>
          </p:nvPr>
        </p:nvGraphicFramePr>
        <p:xfrm>
          <a:off x="134978" y="16679"/>
          <a:ext cx="8286246" cy="811672"/>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spTree>
    <p:extLst>
      <p:ext uri="{BB962C8B-B14F-4D97-AF65-F5344CB8AC3E}">
        <p14:creationId xmlns:p14="http://schemas.microsoft.com/office/powerpoint/2010/main" val="253356427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Graphic spid="6" grpId="0">
        <p:bldAsOne/>
      </p:bldGraphic>
      <p:bldGraphic spid="7" grpId="0">
        <p:bldAsOne/>
      </p:bldGraphic>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object 1"/>
          <p:cNvSpPr>
            <a:spLocks noChangeArrowheads="1"/>
          </p:cNvSpPr>
          <p:nvPr>
            <p:custDataLst>
              <p:tags r:id="rId1"/>
            </p:custDataLst>
          </p:nvPr>
        </p:nvSpPr>
        <p:spPr bwMode="auto">
          <a:xfrm>
            <a:off x="0" y="16679"/>
            <a:ext cx="9144000" cy="5629112"/>
          </a:xfrm>
          <a:prstGeom prst="rect">
            <a:avLst/>
          </a:prstGeom>
          <a:blipFill dpi="0" rotWithShape="0">
            <a:blip r:embed="rId6"/>
            <a:srcRect/>
            <a:stretch>
              <a:fillRect/>
            </a:stretch>
          </a:blipFill>
          <a:ln>
            <a:noFill/>
          </a:ln>
          <a:extLst>
            <a:ext uri="{91240B29-F687-4F45-9708-019B960494DF}">
              <a14:hiddenLine xmlns:a14="http://schemas.microsoft.com/office/drawing/2010/main" w="9525" algn="ctr">
                <a:solidFill>
                  <a:srgbClr val="000000"/>
                </a:solidFill>
                <a:round/>
                <a:headEnd/>
                <a:tailEnd/>
              </a14:hiddenLine>
            </a:ext>
          </a:extLst>
        </p:spPr>
        <p:txBody>
          <a:bodyPr wrap="square" lIns="0" tIns="0" rIns="0" bIns="0">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buSzPct val="100000"/>
              <a:buFont typeface="Calibri" panose="020F0502020204030204" pitchFamily="34" charset="0"/>
              <a:buNone/>
            </a:pPr>
            <a:endParaRPr lang="it-IT" altLang="it-IT" sz="1350"/>
          </a:p>
        </p:txBody>
      </p:sp>
      <p:sp>
        <p:nvSpPr>
          <p:cNvPr id="3" name="object 3"/>
          <p:cNvSpPr txBox="1"/>
          <p:nvPr>
            <p:custDataLst>
              <p:tags r:id="rId2"/>
            </p:custDataLst>
          </p:nvPr>
        </p:nvSpPr>
        <p:spPr>
          <a:xfrm>
            <a:off x="353616" y="556023"/>
            <a:ext cx="2886075" cy="564257"/>
          </a:xfrm>
          <a:prstGeom prst="rect">
            <a:avLst/>
          </a:prstGeom>
          <a:noFill/>
          <a:ln w="9525" cap="flat" cmpd="sng" algn="ctr">
            <a:noFill/>
            <a:prstDash val="solid"/>
            <a:round/>
            <a:headEnd type="none" w="med" len="med"/>
            <a:tailEnd type="none" w="med" len="med"/>
          </a:ln>
        </p:spPr>
        <p:txBody>
          <a:bodyPr lIns="0" tIns="0" rIns="0" bIns="0">
            <a:spAutoFit/>
          </a:bodyPr>
          <a:lstStyle/>
          <a:p>
            <a:pPr>
              <a:lnSpc>
                <a:spcPts val="2197"/>
              </a:lnSpc>
              <a:defRPr/>
            </a:pPr>
            <a:r>
              <a:rPr lang="it-IT" b="1" dirty="0">
                <a:ln w="9525" cap="flat" cmpd="sng" algn="ctr">
                  <a:noFill/>
                  <a:prstDash val="solid"/>
                  <a:round/>
                  <a:headEnd type="none" w="med" len="med"/>
                  <a:tailEnd type="none" w="med" len="med"/>
                </a:ln>
                <a:solidFill>
                  <a:srgbClr val="DC002E"/>
                </a:solidFill>
                <a:latin typeface="Calibri"/>
                <a:cs typeface="Calibri"/>
                <a:sym typeface="Wingdings"/>
              </a:rPr>
              <a:t>Smart Road: </a:t>
            </a:r>
            <a:r>
              <a:rPr b="1" dirty="0">
                <a:ln w="9525" cap="flat" cmpd="sng" algn="ctr">
                  <a:noFill/>
                  <a:prstDash val="solid"/>
                  <a:round/>
                  <a:headEnd type="none" w="med" len="med"/>
                  <a:tailEnd type="none" w="med" len="med"/>
                </a:ln>
                <a:solidFill>
                  <a:srgbClr val="DC002E"/>
                </a:solidFill>
                <a:latin typeface="Calibri"/>
                <a:cs typeface="Calibri"/>
                <a:sym typeface="Wingdings"/>
              </a:rPr>
              <a:t>Sistema di</a:t>
            </a:r>
            <a:r>
              <a:rPr b="1" spc="-8" dirty="0">
                <a:ln w="9525" cap="flat" cmpd="sng" algn="ctr">
                  <a:noFill/>
                  <a:prstDash val="solid"/>
                  <a:round/>
                  <a:headEnd type="none" w="med" len="med"/>
                  <a:tailEnd type="none" w="med" len="med"/>
                </a:ln>
                <a:solidFill>
                  <a:srgbClr val="DC002E"/>
                </a:solidFill>
                <a:latin typeface="Calibri"/>
                <a:cs typeface="Calibri"/>
                <a:sym typeface="Wingdings"/>
              </a:rPr>
              <a:t> </a:t>
            </a:r>
            <a:r>
              <a:rPr b="1" dirty="0" err="1">
                <a:ln w="9525" cap="flat" cmpd="sng" algn="ctr">
                  <a:noFill/>
                  <a:prstDash val="solid"/>
                  <a:round/>
                  <a:headEnd type="none" w="med" len="med"/>
                  <a:tailEnd type="none" w="med" len="med"/>
                </a:ln>
                <a:solidFill>
                  <a:srgbClr val="DC002E"/>
                </a:solidFill>
                <a:latin typeface="Calibri"/>
                <a:cs typeface="Calibri"/>
                <a:sym typeface="Wingdings"/>
              </a:rPr>
              <a:t>connettività</a:t>
            </a:r>
            <a:endParaRPr b="1" dirty="0">
              <a:ln w="9525" cap="flat" cmpd="sng" algn="ctr">
                <a:noFill/>
                <a:prstDash val="solid"/>
                <a:round/>
                <a:headEnd type="none" w="med" len="med"/>
                <a:tailEnd type="none" w="med" len="med"/>
              </a:ln>
              <a:solidFill>
                <a:srgbClr val="DC002E"/>
              </a:solidFill>
              <a:latin typeface="Calibri"/>
              <a:cs typeface="Calibri"/>
              <a:sym typeface="Wingdings"/>
            </a:endParaRPr>
          </a:p>
        </p:txBody>
      </p:sp>
      <p:sp>
        <p:nvSpPr>
          <p:cNvPr id="4" name="object 4"/>
          <p:cNvSpPr txBox="1"/>
          <p:nvPr>
            <p:custDataLst>
              <p:tags r:id="rId3"/>
            </p:custDataLst>
          </p:nvPr>
        </p:nvSpPr>
        <p:spPr>
          <a:xfrm>
            <a:off x="577454" y="1254919"/>
            <a:ext cx="4015978" cy="1038746"/>
          </a:xfrm>
          <a:prstGeom prst="rect">
            <a:avLst/>
          </a:prstGeom>
          <a:noFill/>
          <a:ln w="9525" cap="flat" cmpd="sng" algn="ctr">
            <a:noFill/>
            <a:prstDash val="solid"/>
            <a:round/>
            <a:headEnd type="none" w="med" len="med"/>
            <a:tailEnd type="none" w="med" len="med"/>
          </a:ln>
        </p:spPr>
        <p:txBody>
          <a:bodyPr lIns="0" tIns="0" rIns="0" bIns="0">
            <a:spAutoFit/>
          </a:bodyPr>
          <a:lstStyle/>
          <a:p>
            <a:pPr>
              <a:lnSpc>
                <a:spcPts val="1650"/>
              </a:lnSpc>
              <a:defRPr/>
            </a:pPr>
            <a:r>
              <a:rPr sz="1350" dirty="0">
                <a:ln w="9525" cap="flat" cmpd="sng" algn="ctr">
                  <a:noFill/>
                  <a:prstDash val="solid"/>
                  <a:round/>
                  <a:headEnd type="none" w="med" len="med"/>
                  <a:tailEnd type="none" w="med" len="med"/>
                </a:ln>
                <a:solidFill>
                  <a:srgbClr val="000000"/>
                </a:solidFill>
                <a:latin typeface="Arial"/>
                <a:sym typeface="Wingdings"/>
              </a:rPr>
              <a:t>•</a:t>
            </a:r>
            <a:r>
              <a:rPr sz="1350" spc="1215" dirty="0">
                <a:ln w="9525" cap="flat" cmpd="sng" algn="ctr">
                  <a:noFill/>
                  <a:prstDash val="solid"/>
                  <a:round/>
                  <a:headEnd type="none" w="med" len="med"/>
                  <a:tailEnd type="none" w="med" len="med"/>
                </a:ln>
                <a:solidFill>
                  <a:srgbClr val="000000"/>
                </a:solidFill>
                <a:latin typeface="Times New Roman"/>
                <a:cs typeface="Times New Roman"/>
                <a:sym typeface="Wingdings"/>
              </a:rPr>
              <a:t> </a:t>
            </a:r>
            <a:r>
              <a:rPr sz="1350" b="1" dirty="0">
                <a:ln w="9525" cap="flat" cmpd="sng" algn="ctr">
                  <a:noFill/>
                  <a:prstDash val="solid"/>
                  <a:round/>
                  <a:headEnd type="none" w="med" len="med"/>
                  <a:tailEnd type="none" w="med" len="med"/>
                </a:ln>
                <a:solidFill>
                  <a:srgbClr val="000000"/>
                </a:solidFill>
                <a:latin typeface="Calibri"/>
                <a:cs typeface="Calibri"/>
                <a:sym typeface="Wingdings"/>
              </a:rPr>
              <a:t>Sistema</a:t>
            </a:r>
            <a:r>
              <a:rPr sz="1350" b="1" spc="-8" dirty="0">
                <a:ln w="9525" cap="flat" cmpd="sng" algn="ctr">
                  <a:noFill/>
                  <a:prstDash val="solid"/>
                  <a:round/>
                  <a:headEnd type="none" w="med" len="med"/>
                  <a:tailEnd type="none" w="med" len="med"/>
                </a:ln>
                <a:solidFill>
                  <a:srgbClr val="000000"/>
                </a:solidFill>
                <a:latin typeface="Calibri"/>
                <a:cs typeface="Calibri"/>
                <a:sym typeface="Wingdings"/>
              </a:rPr>
              <a:t> </a:t>
            </a:r>
            <a:r>
              <a:rPr sz="1350" b="1" spc="-9" dirty="0" err="1">
                <a:ln w="9525" cap="flat" cmpd="sng" algn="ctr">
                  <a:noFill/>
                  <a:prstDash val="solid"/>
                  <a:round/>
                  <a:headEnd type="none" w="med" len="med"/>
                  <a:tailEnd type="none" w="med" len="med"/>
                </a:ln>
                <a:solidFill>
                  <a:srgbClr val="000000"/>
                </a:solidFill>
                <a:latin typeface="Calibri"/>
                <a:cs typeface="Calibri"/>
                <a:sym typeface="Wingdings"/>
              </a:rPr>
              <a:t>avanzato</a:t>
            </a:r>
            <a:r>
              <a:rPr sz="1350" b="1" spc="-14" dirty="0">
                <a:ln w="9525" cap="flat" cmpd="sng" algn="ctr">
                  <a:noFill/>
                  <a:prstDash val="solid"/>
                  <a:round/>
                  <a:headEnd type="none" w="med" len="med"/>
                  <a:tailEnd type="none" w="med" len="med"/>
                </a:ln>
                <a:solidFill>
                  <a:srgbClr val="000000"/>
                </a:solidFill>
                <a:latin typeface="Calibri"/>
                <a:cs typeface="Calibri"/>
                <a:sym typeface="Wingdings"/>
              </a:rPr>
              <a:t> </a:t>
            </a:r>
            <a:r>
              <a:rPr sz="1350" b="1" dirty="0">
                <a:ln w="9525" cap="flat" cmpd="sng" algn="ctr">
                  <a:noFill/>
                  <a:prstDash val="solid"/>
                  <a:round/>
                  <a:headEnd type="none" w="med" len="med"/>
                  <a:tailEnd type="none" w="med" len="med"/>
                </a:ln>
                <a:solidFill>
                  <a:srgbClr val="000000"/>
                </a:solidFill>
                <a:latin typeface="Calibri"/>
                <a:cs typeface="Calibri"/>
                <a:sym typeface="Wingdings"/>
              </a:rPr>
              <a:t>di </a:t>
            </a:r>
            <a:r>
              <a:rPr sz="1350" b="1" dirty="0" err="1">
                <a:ln w="9525" cap="flat" cmpd="sng" algn="ctr">
                  <a:noFill/>
                  <a:prstDash val="solid"/>
                  <a:round/>
                  <a:headEnd type="none" w="med" len="med"/>
                  <a:tailEnd type="none" w="med" len="med"/>
                </a:ln>
                <a:solidFill>
                  <a:srgbClr val="000000"/>
                </a:solidFill>
                <a:latin typeface="Calibri"/>
                <a:cs typeface="Calibri"/>
                <a:sym typeface="Wingdings"/>
              </a:rPr>
              <a:t>connettività</a:t>
            </a:r>
            <a:r>
              <a:rPr sz="1350" b="1" dirty="0">
                <a:ln w="9525" cap="flat" cmpd="sng" algn="ctr">
                  <a:noFill/>
                  <a:prstDash val="solid"/>
                  <a:round/>
                  <a:headEnd type="none" w="med" len="med"/>
                  <a:tailEnd type="none" w="med" len="med"/>
                </a:ln>
                <a:solidFill>
                  <a:srgbClr val="000000"/>
                </a:solidFill>
                <a:latin typeface="Calibri"/>
                <a:cs typeface="Calibri"/>
                <a:sym typeface="Wingdings"/>
              </a:rPr>
              <a:t> </a:t>
            </a:r>
            <a:r>
              <a:rPr sz="1350" b="1" dirty="0" err="1">
                <a:ln w="9525" cap="flat" cmpd="sng" algn="ctr">
                  <a:noFill/>
                  <a:prstDash val="solid"/>
                  <a:round/>
                  <a:headEnd type="none" w="med" len="med"/>
                  <a:tailEnd type="none" w="med" len="med"/>
                </a:ln>
                <a:solidFill>
                  <a:srgbClr val="000000"/>
                </a:solidFill>
                <a:latin typeface="Calibri"/>
                <a:cs typeface="Calibri"/>
                <a:sym typeface="Wingdings"/>
              </a:rPr>
              <a:t>veicolare</a:t>
            </a:r>
            <a:r>
              <a:rPr sz="1350" b="1" spc="-15" dirty="0">
                <a:ln w="9525" cap="flat" cmpd="sng" algn="ctr">
                  <a:noFill/>
                  <a:prstDash val="solid"/>
                  <a:round/>
                  <a:headEnd type="none" w="med" len="med"/>
                  <a:tailEnd type="none" w="med" len="med"/>
                </a:ln>
                <a:solidFill>
                  <a:srgbClr val="000000"/>
                </a:solidFill>
                <a:latin typeface="Calibri"/>
                <a:cs typeface="Calibri"/>
                <a:sym typeface="Wingdings"/>
              </a:rPr>
              <a:t> </a:t>
            </a:r>
            <a:r>
              <a:rPr sz="1350" b="1" dirty="0">
                <a:ln w="9525" cap="flat" cmpd="sng" algn="ctr">
                  <a:noFill/>
                  <a:prstDash val="solid"/>
                  <a:round/>
                  <a:headEnd type="none" w="med" len="med"/>
                  <a:tailEnd type="none" w="med" len="med"/>
                </a:ln>
                <a:solidFill>
                  <a:srgbClr val="000000"/>
                </a:solidFill>
                <a:latin typeface="Calibri"/>
                <a:cs typeface="Calibri"/>
                <a:sym typeface="Wingdings"/>
              </a:rPr>
              <a:t>(RSU);</a:t>
            </a:r>
          </a:p>
          <a:p>
            <a:pPr>
              <a:lnSpc>
                <a:spcPts val="1648"/>
              </a:lnSpc>
              <a:spcBef>
                <a:spcPts val="1593"/>
              </a:spcBef>
              <a:defRPr/>
            </a:pPr>
            <a:r>
              <a:rPr sz="1350" dirty="0">
                <a:ln w="9525" cap="flat" cmpd="sng" algn="ctr">
                  <a:noFill/>
                  <a:prstDash val="solid"/>
                  <a:round/>
                  <a:headEnd type="none" w="med" len="med"/>
                  <a:tailEnd type="none" w="med" len="med"/>
                </a:ln>
                <a:solidFill>
                  <a:srgbClr val="000000"/>
                </a:solidFill>
                <a:latin typeface="Arial"/>
                <a:sym typeface="Wingdings"/>
              </a:rPr>
              <a:t>•</a:t>
            </a:r>
            <a:r>
              <a:rPr sz="1350" spc="1215" dirty="0">
                <a:ln w="9525" cap="flat" cmpd="sng" algn="ctr">
                  <a:noFill/>
                  <a:prstDash val="solid"/>
                  <a:round/>
                  <a:headEnd type="none" w="med" len="med"/>
                  <a:tailEnd type="none" w="med" len="med"/>
                </a:ln>
                <a:solidFill>
                  <a:srgbClr val="000000"/>
                </a:solidFill>
                <a:latin typeface="Times New Roman"/>
                <a:cs typeface="Times New Roman"/>
                <a:sym typeface="Wingdings"/>
              </a:rPr>
              <a:t> </a:t>
            </a:r>
            <a:r>
              <a:rPr sz="1350" b="1" dirty="0" err="1">
                <a:ln w="9525" cap="flat" cmpd="sng" algn="ctr">
                  <a:noFill/>
                  <a:prstDash val="solid"/>
                  <a:round/>
                  <a:headEnd type="none" w="med" len="med"/>
                  <a:tailEnd type="none" w="med" len="med"/>
                </a:ln>
                <a:solidFill>
                  <a:srgbClr val="000000"/>
                </a:solidFill>
                <a:latin typeface="Calibri"/>
                <a:cs typeface="Calibri"/>
                <a:sym typeface="Wingdings"/>
              </a:rPr>
              <a:t>Compatibile</a:t>
            </a:r>
            <a:r>
              <a:rPr sz="1350" b="1" spc="-28" dirty="0">
                <a:ln w="9525" cap="flat" cmpd="sng" algn="ctr">
                  <a:noFill/>
                  <a:prstDash val="solid"/>
                  <a:round/>
                  <a:headEnd type="none" w="med" len="med"/>
                  <a:tailEnd type="none" w="med" len="med"/>
                </a:ln>
                <a:solidFill>
                  <a:srgbClr val="000000"/>
                </a:solidFill>
                <a:latin typeface="Calibri"/>
                <a:cs typeface="Calibri"/>
                <a:sym typeface="Wingdings"/>
              </a:rPr>
              <a:t> </a:t>
            </a:r>
            <a:r>
              <a:rPr sz="1350" b="1" dirty="0">
                <a:ln w="9525" cap="flat" cmpd="sng" algn="ctr">
                  <a:noFill/>
                  <a:prstDash val="solid"/>
                  <a:round/>
                  <a:headEnd type="none" w="med" len="med"/>
                  <a:tailEnd type="none" w="med" len="med"/>
                </a:ln>
                <a:solidFill>
                  <a:srgbClr val="000000"/>
                </a:solidFill>
                <a:latin typeface="Calibri"/>
                <a:cs typeface="Calibri"/>
                <a:sym typeface="Wingdings"/>
              </a:rPr>
              <a:t>con OBU standard</a:t>
            </a:r>
            <a:r>
              <a:rPr sz="1350" b="1" spc="-8" dirty="0">
                <a:ln w="9525" cap="flat" cmpd="sng" algn="ctr">
                  <a:noFill/>
                  <a:prstDash val="solid"/>
                  <a:round/>
                  <a:headEnd type="none" w="med" len="med"/>
                  <a:tailEnd type="none" w="med" len="med"/>
                </a:ln>
                <a:solidFill>
                  <a:srgbClr val="000000"/>
                </a:solidFill>
                <a:latin typeface="Calibri"/>
                <a:cs typeface="Calibri"/>
                <a:sym typeface="Wingdings"/>
              </a:rPr>
              <a:t> </a:t>
            </a:r>
            <a:r>
              <a:rPr sz="1350" b="1" dirty="0">
                <a:ln w="9525" cap="flat" cmpd="sng" algn="ctr">
                  <a:noFill/>
                  <a:prstDash val="solid"/>
                  <a:round/>
                  <a:headEnd type="none" w="med" len="med"/>
                  <a:tailEnd type="none" w="med" len="med"/>
                </a:ln>
                <a:solidFill>
                  <a:srgbClr val="000000"/>
                </a:solidFill>
                <a:latin typeface="Calibri"/>
                <a:cs typeface="Calibri"/>
                <a:sym typeface="Wingdings"/>
              </a:rPr>
              <a:t>e smartphone;</a:t>
            </a:r>
          </a:p>
          <a:p>
            <a:pPr>
              <a:lnSpc>
                <a:spcPts val="1648"/>
              </a:lnSpc>
              <a:spcBef>
                <a:spcPts val="1592"/>
              </a:spcBef>
              <a:defRPr/>
            </a:pPr>
            <a:r>
              <a:rPr sz="1350" dirty="0">
                <a:ln w="9525" cap="flat" cmpd="sng" algn="ctr">
                  <a:noFill/>
                  <a:prstDash val="solid"/>
                  <a:round/>
                  <a:headEnd type="none" w="med" len="med"/>
                  <a:tailEnd type="none" w="med" len="med"/>
                </a:ln>
                <a:solidFill>
                  <a:srgbClr val="000000"/>
                </a:solidFill>
                <a:latin typeface="Arial"/>
                <a:sym typeface="Wingdings"/>
              </a:rPr>
              <a:t>•</a:t>
            </a:r>
            <a:r>
              <a:rPr sz="1350" spc="1215" dirty="0">
                <a:ln w="9525" cap="flat" cmpd="sng" algn="ctr">
                  <a:noFill/>
                  <a:prstDash val="solid"/>
                  <a:round/>
                  <a:headEnd type="none" w="med" len="med"/>
                  <a:tailEnd type="none" w="med" len="med"/>
                </a:ln>
                <a:solidFill>
                  <a:srgbClr val="000000"/>
                </a:solidFill>
                <a:latin typeface="Times New Roman"/>
                <a:cs typeface="Times New Roman"/>
                <a:sym typeface="Wingdings"/>
              </a:rPr>
              <a:t> </a:t>
            </a:r>
            <a:r>
              <a:rPr sz="1350" b="1" dirty="0" err="1">
                <a:ln w="9525" cap="flat" cmpd="sng" algn="ctr">
                  <a:noFill/>
                  <a:prstDash val="solid"/>
                  <a:round/>
                  <a:headEnd type="none" w="med" len="med"/>
                  <a:tailEnd type="none" w="med" len="med"/>
                </a:ln>
                <a:solidFill>
                  <a:srgbClr val="000000"/>
                </a:solidFill>
                <a:latin typeface="Calibri"/>
                <a:cs typeface="Calibri"/>
                <a:sym typeface="Wingdings"/>
              </a:rPr>
              <a:t>Adatto</a:t>
            </a:r>
            <a:r>
              <a:rPr sz="1350" b="1" dirty="0">
                <a:ln w="9525" cap="flat" cmpd="sng" algn="ctr">
                  <a:noFill/>
                  <a:prstDash val="solid"/>
                  <a:round/>
                  <a:headEnd type="none" w="med" len="med"/>
                  <a:tailEnd type="none" w="med" len="med"/>
                </a:ln>
                <a:solidFill>
                  <a:srgbClr val="000000"/>
                </a:solidFill>
                <a:latin typeface="Calibri"/>
                <a:cs typeface="Calibri"/>
                <a:sym typeface="Wingdings"/>
              </a:rPr>
              <a:t> per</a:t>
            </a:r>
            <a:r>
              <a:rPr sz="1350" b="1" spc="-15" dirty="0">
                <a:ln w="9525" cap="flat" cmpd="sng" algn="ctr">
                  <a:noFill/>
                  <a:prstDash val="solid"/>
                  <a:round/>
                  <a:headEnd type="none" w="med" len="med"/>
                  <a:tailEnd type="none" w="med" len="med"/>
                </a:ln>
                <a:solidFill>
                  <a:srgbClr val="000000"/>
                </a:solidFill>
                <a:latin typeface="Calibri"/>
                <a:cs typeface="Calibri"/>
                <a:sym typeface="Wingdings"/>
              </a:rPr>
              <a:t> </a:t>
            </a:r>
            <a:r>
              <a:rPr sz="1350" b="1" dirty="0" err="1">
                <a:ln w="9525" cap="flat" cmpd="sng" algn="ctr">
                  <a:noFill/>
                  <a:prstDash val="solid"/>
                  <a:round/>
                  <a:headEnd type="none" w="med" len="med"/>
                  <a:tailEnd type="none" w="med" len="med"/>
                </a:ln>
                <a:solidFill>
                  <a:srgbClr val="000000"/>
                </a:solidFill>
                <a:latin typeface="Calibri"/>
                <a:cs typeface="Calibri"/>
                <a:sym typeface="Wingdings"/>
              </a:rPr>
              <a:t>sistemi</a:t>
            </a:r>
            <a:r>
              <a:rPr sz="1350" b="1" spc="-19" dirty="0">
                <a:ln w="9525" cap="flat" cmpd="sng" algn="ctr">
                  <a:noFill/>
                  <a:prstDash val="solid"/>
                  <a:round/>
                  <a:headEnd type="none" w="med" len="med"/>
                  <a:tailEnd type="none" w="med" len="med"/>
                </a:ln>
                <a:solidFill>
                  <a:srgbClr val="000000"/>
                </a:solidFill>
                <a:latin typeface="Calibri"/>
                <a:cs typeface="Calibri"/>
                <a:sym typeface="Wingdings"/>
              </a:rPr>
              <a:t> </a:t>
            </a:r>
            <a:r>
              <a:rPr sz="1350" b="1" dirty="0">
                <a:ln w="9525" cap="flat" cmpd="sng" algn="ctr">
                  <a:noFill/>
                  <a:prstDash val="solid"/>
                  <a:round/>
                  <a:headEnd type="none" w="med" len="med"/>
                  <a:tailEnd type="none" w="med" len="med"/>
                </a:ln>
                <a:solidFill>
                  <a:srgbClr val="000000"/>
                </a:solidFill>
                <a:latin typeface="Calibri"/>
                <a:cs typeface="Calibri"/>
                <a:sym typeface="Wingdings"/>
              </a:rPr>
              <a:t>di</a:t>
            </a:r>
            <a:r>
              <a:rPr sz="1350" b="1" spc="-9" dirty="0">
                <a:ln w="9525" cap="flat" cmpd="sng" algn="ctr">
                  <a:noFill/>
                  <a:prstDash val="solid"/>
                  <a:round/>
                  <a:headEnd type="none" w="med" len="med"/>
                  <a:tailEnd type="none" w="med" len="med"/>
                </a:ln>
                <a:solidFill>
                  <a:srgbClr val="000000"/>
                </a:solidFill>
                <a:latin typeface="Calibri"/>
                <a:cs typeface="Calibri"/>
                <a:sym typeface="Wingdings"/>
              </a:rPr>
              <a:t> </a:t>
            </a:r>
            <a:r>
              <a:rPr sz="1350" b="1" dirty="0" err="1">
                <a:ln w="9525" cap="flat" cmpd="sng" algn="ctr">
                  <a:noFill/>
                  <a:prstDash val="solid"/>
                  <a:round/>
                  <a:headEnd type="none" w="med" len="med"/>
                  <a:tailEnd type="none" w="med" len="med"/>
                </a:ln>
                <a:solidFill>
                  <a:srgbClr val="000000"/>
                </a:solidFill>
                <a:latin typeface="Calibri"/>
                <a:cs typeface="Calibri"/>
                <a:sym typeface="Wingdings"/>
              </a:rPr>
              <a:t>sicurezza</a:t>
            </a:r>
            <a:r>
              <a:rPr sz="1350" b="1" spc="-21" dirty="0">
                <a:ln w="9525" cap="flat" cmpd="sng" algn="ctr">
                  <a:noFill/>
                  <a:prstDash val="solid"/>
                  <a:round/>
                  <a:headEnd type="none" w="med" len="med"/>
                  <a:tailEnd type="none" w="med" len="med"/>
                </a:ln>
                <a:solidFill>
                  <a:srgbClr val="000000"/>
                </a:solidFill>
                <a:latin typeface="Calibri"/>
                <a:cs typeface="Calibri"/>
                <a:sym typeface="Wingdings"/>
              </a:rPr>
              <a:t> </a:t>
            </a:r>
            <a:r>
              <a:rPr sz="1350" b="1" dirty="0" err="1">
                <a:ln w="9525" cap="flat" cmpd="sng" algn="ctr">
                  <a:noFill/>
                  <a:prstDash val="solid"/>
                  <a:round/>
                  <a:headEnd type="none" w="med" len="med"/>
                  <a:tailEnd type="none" w="med" len="med"/>
                </a:ln>
                <a:solidFill>
                  <a:srgbClr val="000000"/>
                </a:solidFill>
                <a:latin typeface="Calibri"/>
                <a:cs typeface="Calibri"/>
                <a:sym typeface="Wingdings"/>
              </a:rPr>
              <a:t>stradale</a:t>
            </a:r>
            <a:r>
              <a:rPr sz="1350" b="1" dirty="0">
                <a:ln w="9525" cap="flat" cmpd="sng" algn="ctr">
                  <a:noFill/>
                  <a:prstDash val="solid"/>
                  <a:round/>
                  <a:headEnd type="none" w="med" len="med"/>
                  <a:tailEnd type="none" w="med" len="med"/>
                </a:ln>
                <a:solidFill>
                  <a:srgbClr val="000000"/>
                </a:solidFill>
                <a:latin typeface="Calibri"/>
                <a:cs typeface="Calibri"/>
                <a:sym typeface="Wingdings"/>
              </a:rPr>
              <a:t> </a:t>
            </a:r>
            <a:r>
              <a:rPr sz="1350" b="1" dirty="0" err="1">
                <a:ln w="9525" cap="flat" cmpd="sng" algn="ctr">
                  <a:noFill/>
                  <a:prstDash val="solid"/>
                  <a:round/>
                  <a:headEnd type="none" w="med" len="med"/>
                  <a:tailEnd type="none" w="med" len="med"/>
                </a:ln>
                <a:solidFill>
                  <a:srgbClr val="000000"/>
                </a:solidFill>
                <a:latin typeface="Calibri"/>
                <a:cs typeface="Calibri"/>
                <a:sym typeface="Wingdings"/>
              </a:rPr>
              <a:t>intelligente</a:t>
            </a:r>
            <a:r>
              <a:rPr sz="1350" b="1" dirty="0">
                <a:ln w="9525" cap="flat" cmpd="sng" algn="ctr">
                  <a:noFill/>
                  <a:prstDash val="solid"/>
                  <a:round/>
                  <a:headEnd type="none" w="med" len="med"/>
                  <a:tailEnd type="none" w="med" len="med"/>
                </a:ln>
                <a:solidFill>
                  <a:srgbClr val="000000"/>
                </a:solidFill>
                <a:latin typeface="Calibri"/>
                <a:cs typeface="Calibri"/>
                <a:sym typeface="Wingdings"/>
              </a:rPr>
              <a:t>;</a:t>
            </a:r>
          </a:p>
        </p:txBody>
      </p:sp>
      <p:sp>
        <p:nvSpPr>
          <p:cNvPr id="7" name="object 7"/>
          <p:cNvSpPr txBox="1"/>
          <p:nvPr>
            <p:custDataLst>
              <p:tags r:id="rId4"/>
            </p:custDataLst>
          </p:nvPr>
        </p:nvSpPr>
        <p:spPr>
          <a:xfrm>
            <a:off x="577453" y="3107531"/>
            <a:ext cx="1081088" cy="205184"/>
          </a:xfrm>
          <a:prstGeom prst="rect">
            <a:avLst/>
          </a:prstGeom>
          <a:noFill/>
          <a:ln w="9525" cap="flat" cmpd="sng" algn="ctr">
            <a:noFill/>
            <a:prstDash val="solid"/>
            <a:round/>
            <a:headEnd type="none" w="med" len="med"/>
            <a:tailEnd type="none" w="med" len="med"/>
          </a:ln>
        </p:spPr>
        <p:txBody>
          <a:bodyPr lIns="0" tIns="0" rIns="0" bIns="0">
            <a:spAutoFit/>
          </a:bodyPr>
          <a:lstStyle/>
          <a:p>
            <a:pPr>
              <a:lnSpc>
                <a:spcPts val="1648"/>
              </a:lnSpc>
              <a:defRPr/>
            </a:pPr>
            <a:r>
              <a:rPr sz="1350">
                <a:ln w="9525" cap="flat" cmpd="sng" algn="ctr">
                  <a:noFill/>
                  <a:prstDash val="solid"/>
                  <a:round/>
                  <a:headEnd type="none" w="med" len="med"/>
                  <a:tailEnd type="none" w="med" len="med"/>
                </a:ln>
                <a:solidFill>
                  <a:srgbClr val="000000"/>
                </a:solidFill>
                <a:latin typeface="Arial"/>
                <a:sym typeface="Wingdings"/>
              </a:rPr>
              <a:t>•</a:t>
            </a:r>
            <a:r>
              <a:rPr sz="1350" spc="1215">
                <a:ln w="9525" cap="flat" cmpd="sng" algn="ctr">
                  <a:noFill/>
                  <a:prstDash val="solid"/>
                  <a:round/>
                  <a:headEnd type="none" w="med" len="med"/>
                  <a:tailEnd type="none" w="med" len="med"/>
                </a:ln>
                <a:solidFill>
                  <a:srgbClr val="000000"/>
                </a:solidFill>
                <a:latin typeface="Times New Roman"/>
                <a:cs typeface="Times New Roman"/>
                <a:sym typeface="Wingdings"/>
              </a:rPr>
              <a:t> </a:t>
            </a:r>
            <a:r>
              <a:rPr sz="1350" b="1">
                <a:ln w="9525" cap="flat" cmpd="sng" algn="ctr">
                  <a:noFill/>
                  <a:prstDash val="solid"/>
                  <a:round/>
                  <a:headEnd type="none" w="med" len="med"/>
                  <a:tailEnd type="none" w="med" len="med"/>
                </a:ln>
                <a:solidFill>
                  <a:srgbClr val="000000"/>
                </a:solidFill>
                <a:latin typeface="Calibri"/>
                <a:cs typeface="Calibri"/>
                <a:sym typeface="Wingdings"/>
              </a:rPr>
              <a:t>5G </a:t>
            </a:r>
            <a:r>
              <a:rPr sz="1350" b="1" spc="-19">
                <a:ln w="9525" cap="flat" cmpd="sng" algn="ctr">
                  <a:noFill/>
                  <a:prstDash val="solid"/>
                  <a:round/>
                  <a:headEnd type="none" w="med" len="med"/>
                  <a:tailEnd type="none" w="med" len="med"/>
                </a:ln>
                <a:solidFill>
                  <a:srgbClr val="000000"/>
                </a:solidFill>
                <a:latin typeface="Calibri"/>
                <a:cs typeface="Calibri"/>
                <a:sym typeface="Wingdings"/>
              </a:rPr>
              <a:t>Ready.</a:t>
            </a:r>
          </a:p>
        </p:txBody>
      </p:sp>
      <p:graphicFrame>
        <p:nvGraphicFramePr>
          <p:cNvPr id="8" name="Diagramma 7"/>
          <p:cNvGraphicFramePr/>
          <p:nvPr>
            <p:extLst>
              <p:ext uri="{D42A27DB-BD31-4B8C-83A1-F6EECF244321}">
                <p14:modId xmlns:p14="http://schemas.microsoft.com/office/powerpoint/2010/main" val="2582039387"/>
              </p:ext>
            </p:extLst>
          </p:nvPr>
        </p:nvGraphicFramePr>
        <p:xfrm>
          <a:off x="134978" y="16679"/>
          <a:ext cx="8286246" cy="81167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651905771"/>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object 1"/>
          <p:cNvSpPr>
            <a:spLocks noChangeArrowheads="1"/>
          </p:cNvSpPr>
          <p:nvPr>
            <p:custDataLst>
              <p:tags r:id="rId1"/>
            </p:custDataLst>
          </p:nvPr>
        </p:nvSpPr>
        <p:spPr bwMode="auto">
          <a:xfrm>
            <a:off x="1" y="16679"/>
            <a:ext cx="9143999" cy="5698321"/>
          </a:xfrm>
          <a:prstGeom prst="rect">
            <a:avLst/>
          </a:prstGeom>
          <a:blipFill dpi="0" rotWithShape="0">
            <a:blip r:embed="rId8"/>
            <a:srcRect/>
            <a:stretch>
              <a:fillRect/>
            </a:stretch>
          </a:blipFill>
          <a:ln>
            <a:noFill/>
          </a:ln>
          <a:extLst>
            <a:ext uri="{91240B29-F687-4F45-9708-019B960494DF}">
              <a14:hiddenLine xmlns:a14="http://schemas.microsoft.com/office/drawing/2010/main" w="9525" algn="ctr">
                <a:solidFill>
                  <a:srgbClr val="000000"/>
                </a:solidFill>
                <a:round/>
                <a:headEnd/>
                <a:tailEnd/>
              </a14:hiddenLine>
            </a:ext>
          </a:extLst>
        </p:spPr>
        <p:txBody>
          <a:bodyPr wrap="square" lIns="0" tIns="0" rIns="0" bIns="0">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buSzPct val="100000"/>
              <a:buFont typeface="Calibri" panose="020F0502020204030204" pitchFamily="34" charset="0"/>
              <a:buNone/>
            </a:pPr>
            <a:endParaRPr lang="it-IT" altLang="it-IT" sz="1350"/>
          </a:p>
        </p:txBody>
      </p:sp>
      <p:sp>
        <p:nvSpPr>
          <p:cNvPr id="3" name="object 3"/>
          <p:cNvSpPr txBox="1"/>
          <p:nvPr>
            <p:custDataLst>
              <p:tags r:id="rId2"/>
            </p:custDataLst>
          </p:nvPr>
        </p:nvSpPr>
        <p:spPr>
          <a:xfrm>
            <a:off x="353617" y="506487"/>
            <a:ext cx="8192690" cy="1141338"/>
          </a:xfrm>
          <a:prstGeom prst="rect">
            <a:avLst/>
          </a:prstGeom>
          <a:noFill/>
          <a:ln w="9525" cap="flat" cmpd="sng" algn="ctr">
            <a:noFill/>
            <a:prstDash val="solid"/>
            <a:round/>
            <a:headEnd type="none" w="med" len="med"/>
            <a:tailEnd type="none" w="med" len="med"/>
          </a:ln>
        </p:spPr>
        <p:txBody>
          <a:bodyPr lIns="0" tIns="0" rIns="0" bIns="0">
            <a:spAutoFit/>
          </a:bodyPr>
          <a:lstStyle/>
          <a:p>
            <a:pPr algn="ctr">
              <a:lnSpc>
                <a:spcPts val="2197"/>
              </a:lnSpc>
              <a:defRPr/>
            </a:pPr>
            <a:r>
              <a:rPr lang="it-IT" b="1" dirty="0">
                <a:ln w="9525" cap="flat" cmpd="sng" algn="ctr">
                  <a:noFill/>
                  <a:prstDash val="solid"/>
                  <a:round/>
                  <a:headEnd type="none" w="med" len="med"/>
                  <a:tailEnd type="none" w="med" len="med"/>
                </a:ln>
                <a:solidFill>
                  <a:srgbClr val="DC002E"/>
                </a:solidFill>
                <a:latin typeface="Calibri"/>
                <a:cs typeface="Calibri"/>
                <a:sym typeface="Wingdings"/>
              </a:rPr>
              <a:t>«</a:t>
            </a:r>
            <a:r>
              <a:rPr lang="it-IT" b="1" i="1" dirty="0">
                <a:ln w="9525" cap="flat" cmpd="sng" algn="ctr">
                  <a:noFill/>
                  <a:prstDash val="solid"/>
                  <a:round/>
                  <a:headEnd type="none" w="med" len="med"/>
                  <a:tailEnd type="none" w="med" len="med"/>
                </a:ln>
                <a:solidFill>
                  <a:srgbClr val="DC002E"/>
                </a:solidFill>
                <a:latin typeface="Calibri"/>
                <a:cs typeface="Calibri"/>
                <a:sym typeface="Wingdings"/>
              </a:rPr>
              <a:t>Anas</a:t>
            </a:r>
            <a:r>
              <a:rPr lang="it-IT" b="1" i="1" spc="-13" dirty="0">
                <a:ln w="9525" cap="flat" cmpd="sng" algn="ctr">
                  <a:noFill/>
                  <a:prstDash val="solid"/>
                  <a:round/>
                  <a:headEnd type="none" w="med" len="med"/>
                  <a:tailEnd type="none" w="med" len="med"/>
                </a:ln>
                <a:solidFill>
                  <a:srgbClr val="DC002E"/>
                </a:solidFill>
                <a:latin typeface="Calibri"/>
                <a:cs typeface="Calibri"/>
                <a:sym typeface="Wingdings"/>
              </a:rPr>
              <a:t> </a:t>
            </a:r>
            <a:r>
              <a:rPr lang="it-IT" b="1" i="1" dirty="0">
                <a:ln w="9525" cap="flat" cmpd="sng" algn="ctr">
                  <a:noFill/>
                  <a:prstDash val="solid"/>
                  <a:round/>
                  <a:headEnd type="none" w="med" len="med"/>
                  <a:tailEnd type="none" w="med" len="med"/>
                </a:ln>
                <a:solidFill>
                  <a:srgbClr val="DC002E"/>
                </a:solidFill>
                <a:latin typeface="Calibri"/>
                <a:cs typeface="Calibri"/>
                <a:sym typeface="Wingdings"/>
              </a:rPr>
              <a:t>Smart</a:t>
            </a:r>
            <a:r>
              <a:rPr lang="it-IT" b="1" i="1" spc="-8" dirty="0">
                <a:ln w="9525" cap="flat" cmpd="sng" algn="ctr">
                  <a:noFill/>
                  <a:prstDash val="solid"/>
                  <a:round/>
                  <a:headEnd type="none" w="med" len="med"/>
                  <a:tailEnd type="none" w="med" len="med"/>
                </a:ln>
                <a:solidFill>
                  <a:srgbClr val="DC002E"/>
                </a:solidFill>
                <a:latin typeface="Calibri"/>
                <a:cs typeface="Calibri"/>
                <a:sym typeface="Wingdings"/>
              </a:rPr>
              <a:t> Road</a:t>
            </a:r>
            <a:r>
              <a:rPr lang="it-IT" b="1" i="1" dirty="0">
                <a:ln w="9525" cap="flat" cmpd="sng" algn="ctr">
                  <a:noFill/>
                  <a:prstDash val="solid"/>
                  <a:round/>
                  <a:headEnd type="none" w="med" len="med"/>
                  <a:tailEnd type="none" w="med" len="med"/>
                </a:ln>
                <a:solidFill>
                  <a:srgbClr val="DC002E"/>
                </a:solidFill>
                <a:latin typeface="Calibri"/>
                <a:cs typeface="Calibri"/>
                <a:sym typeface="Wingdings"/>
              </a:rPr>
              <a:t> </a:t>
            </a:r>
            <a:r>
              <a:rPr lang="it-IT" b="1" i="1" spc="-8" dirty="0">
                <a:ln w="9525" cap="flat" cmpd="sng" algn="ctr">
                  <a:noFill/>
                  <a:prstDash val="solid"/>
                  <a:round/>
                  <a:headEnd type="none" w="med" len="med"/>
                  <a:tailEnd type="none" w="med" len="med"/>
                </a:ln>
                <a:solidFill>
                  <a:srgbClr val="DC002E"/>
                </a:solidFill>
                <a:latin typeface="Calibri"/>
                <a:cs typeface="Calibri"/>
                <a:sym typeface="Wingdings"/>
              </a:rPr>
              <a:t>Center</a:t>
            </a:r>
            <a:r>
              <a:rPr lang="it-IT" b="1" dirty="0">
                <a:ln w="9525" cap="flat" cmpd="sng" algn="ctr">
                  <a:noFill/>
                  <a:prstDash val="solid"/>
                  <a:round/>
                  <a:headEnd type="none" w="med" len="med"/>
                  <a:tailEnd type="none" w="med" len="med"/>
                </a:ln>
                <a:solidFill>
                  <a:srgbClr val="DC002E"/>
                </a:solidFill>
                <a:latin typeface="Calibri"/>
                <a:cs typeface="Calibri"/>
                <a:sym typeface="Wingdings"/>
              </a:rPr>
              <a:t>»</a:t>
            </a:r>
          </a:p>
          <a:p>
            <a:pPr marL="66065">
              <a:lnSpc>
                <a:spcPts val="1648"/>
              </a:lnSpc>
              <a:spcBef>
                <a:spcPts val="269"/>
              </a:spcBef>
              <a:defRPr/>
            </a:pPr>
            <a:r>
              <a:rPr lang="it-IT" sz="1350" dirty="0">
                <a:ln w="9525" cap="flat" cmpd="sng" algn="ctr">
                  <a:noFill/>
                  <a:prstDash val="solid"/>
                  <a:round/>
                  <a:headEnd type="none" w="med" len="med"/>
                  <a:tailEnd type="none" w="med" len="med"/>
                </a:ln>
                <a:solidFill>
                  <a:srgbClr val="222A35"/>
                </a:solidFill>
                <a:latin typeface="Calibri"/>
                <a:cs typeface="Calibri"/>
                <a:sym typeface="Wingdings"/>
              </a:rPr>
              <a:t>Il</a:t>
            </a:r>
            <a:r>
              <a:rPr lang="it-IT" sz="1350" spc="13" dirty="0">
                <a:ln w="9525" cap="flat" cmpd="sng" algn="ctr">
                  <a:noFill/>
                  <a:prstDash val="solid"/>
                  <a:round/>
                  <a:headEnd type="none" w="med" len="med"/>
                  <a:tailEnd type="none" w="med" len="med"/>
                </a:ln>
                <a:solidFill>
                  <a:srgbClr val="222A35"/>
                </a:solidFill>
                <a:latin typeface="Calibri"/>
                <a:cs typeface="Calibri"/>
                <a:sym typeface="Wingdings"/>
              </a:rPr>
              <a:t> </a:t>
            </a:r>
            <a:r>
              <a:rPr lang="it-IT" sz="1350" dirty="0">
                <a:ln w="9525" cap="flat" cmpd="sng" algn="ctr">
                  <a:noFill/>
                  <a:prstDash val="solid"/>
                  <a:round/>
                  <a:headEnd type="none" w="med" len="med"/>
                  <a:tailEnd type="none" w="med" len="med"/>
                </a:ln>
                <a:solidFill>
                  <a:srgbClr val="222A35"/>
                </a:solidFill>
                <a:latin typeface="Calibri"/>
                <a:cs typeface="Calibri"/>
                <a:sym typeface="Wingdings"/>
              </a:rPr>
              <a:t>«</a:t>
            </a:r>
            <a:r>
              <a:rPr lang="it-IT" sz="1350" i="1" dirty="0">
                <a:ln w="9525" cap="flat" cmpd="sng" algn="ctr">
                  <a:noFill/>
                  <a:prstDash val="solid"/>
                  <a:round/>
                  <a:headEnd type="none" w="med" len="med"/>
                  <a:tailEnd type="none" w="med" len="med"/>
                </a:ln>
                <a:solidFill>
                  <a:srgbClr val="222A35"/>
                </a:solidFill>
                <a:latin typeface="Calibri"/>
                <a:cs typeface="Calibri"/>
                <a:sym typeface="Wingdings"/>
              </a:rPr>
              <a:t>Centro</a:t>
            </a:r>
            <a:r>
              <a:rPr lang="it-IT" sz="1350" i="1" spc="23" dirty="0">
                <a:ln w="9525" cap="flat" cmpd="sng" algn="ctr">
                  <a:noFill/>
                  <a:prstDash val="solid"/>
                  <a:round/>
                  <a:headEnd type="none" w="med" len="med"/>
                  <a:tailEnd type="none" w="med" len="med"/>
                </a:ln>
                <a:solidFill>
                  <a:srgbClr val="222A35"/>
                </a:solidFill>
                <a:latin typeface="Calibri"/>
                <a:cs typeface="Calibri"/>
                <a:sym typeface="Wingdings"/>
              </a:rPr>
              <a:t> </a:t>
            </a:r>
            <a:r>
              <a:rPr lang="it-IT" sz="1350" i="1" dirty="0">
                <a:ln w="9525" cap="flat" cmpd="sng" algn="ctr">
                  <a:noFill/>
                  <a:prstDash val="solid"/>
                  <a:round/>
                  <a:headEnd type="none" w="med" len="med"/>
                  <a:tailEnd type="none" w="med" len="med"/>
                </a:ln>
                <a:solidFill>
                  <a:srgbClr val="222A35"/>
                </a:solidFill>
                <a:latin typeface="Calibri"/>
                <a:cs typeface="Calibri"/>
                <a:sym typeface="Wingdings"/>
              </a:rPr>
              <a:t>Anas</a:t>
            </a:r>
            <a:r>
              <a:rPr lang="it-IT" sz="1350" i="1" spc="15" dirty="0">
                <a:ln w="9525" cap="flat" cmpd="sng" algn="ctr">
                  <a:noFill/>
                  <a:prstDash val="solid"/>
                  <a:round/>
                  <a:headEnd type="none" w="med" len="med"/>
                  <a:tailEnd type="none" w="med" len="med"/>
                </a:ln>
                <a:solidFill>
                  <a:srgbClr val="222A35"/>
                </a:solidFill>
                <a:latin typeface="Calibri"/>
                <a:cs typeface="Calibri"/>
                <a:sym typeface="Wingdings"/>
              </a:rPr>
              <a:t> </a:t>
            </a:r>
            <a:r>
              <a:rPr lang="it-IT" sz="1350" i="1" dirty="0">
                <a:ln w="9525" cap="flat" cmpd="sng" algn="ctr">
                  <a:noFill/>
                  <a:prstDash val="solid"/>
                  <a:round/>
                  <a:headEnd type="none" w="med" len="med"/>
                  <a:tailEnd type="none" w="med" len="med"/>
                </a:ln>
                <a:solidFill>
                  <a:srgbClr val="222A35"/>
                </a:solidFill>
                <a:latin typeface="Calibri"/>
                <a:cs typeface="Calibri"/>
                <a:sym typeface="Wingdings"/>
              </a:rPr>
              <a:t>Smart</a:t>
            </a:r>
            <a:r>
              <a:rPr lang="it-IT" sz="1350" i="1" spc="17" dirty="0">
                <a:ln w="9525" cap="flat" cmpd="sng" algn="ctr">
                  <a:noFill/>
                  <a:prstDash val="solid"/>
                  <a:round/>
                  <a:headEnd type="none" w="med" len="med"/>
                  <a:tailEnd type="none" w="med" len="med"/>
                </a:ln>
                <a:solidFill>
                  <a:srgbClr val="222A35"/>
                </a:solidFill>
                <a:latin typeface="Calibri"/>
                <a:cs typeface="Calibri"/>
                <a:sym typeface="Wingdings"/>
              </a:rPr>
              <a:t> </a:t>
            </a:r>
            <a:r>
              <a:rPr lang="it-IT" sz="1350" i="1" spc="-8" dirty="0">
                <a:ln w="9525" cap="flat" cmpd="sng" algn="ctr">
                  <a:noFill/>
                  <a:prstDash val="solid"/>
                  <a:round/>
                  <a:headEnd type="none" w="med" len="med"/>
                  <a:tailEnd type="none" w="med" len="med"/>
                </a:ln>
                <a:solidFill>
                  <a:srgbClr val="222A35"/>
                </a:solidFill>
                <a:latin typeface="Calibri"/>
                <a:cs typeface="Calibri"/>
                <a:sym typeface="Wingdings"/>
              </a:rPr>
              <a:t>Road</a:t>
            </a:r>
            <a:r>
              <a:rPr lang="it-IT" sz="1350" dirty="0">
                <a:ln w="9525" cap="flat" cmpd="sng" algn="ctr">
                  <a:noFill/>
                  <a:prstDash val="solid"/>
                  <a:round/>
                  <a:headEnd type="none" w="med" len="med"/>
                  <a:tailEnd type="none" w="med" len="med"/>
                </a:ln>
                <a:solidFill>
                  <a:srgbClr val="222A35"/>
                </a:solidFill>
                <a:latin typeface="Calibri"/>
                <a:cs typeface="Calibri"/>
                <a:sym typeface="Wingdings"/>
              </a:rPr>
              <a:t>»,</a:t>
            </a:r>
            <a:r>
              <a:rPr lang="it-IT" sz="1350" spc="15" dirty="0">
                <a:ln w="9525" cap="flat" cmpd="sng" algn="ctr">
                  <a:noFill/>
                  <a:prstDash val="solid"/>
                  <a:round/>
                  <a:headEnd type="none" w="med" len="med"/>
                  <a:tailEnd type="none" w="med" len="med"/>
                </a:ln>
                <a:solidFill>
                  <a:srgbClr val="222A35"/>
                </a:solidFill>
                <a:latin typeface="Calibri"/>
                <a:cs typeface="Calibri"/>
                <a:sym typeface="Wingdings"/>
              </a:rPr>
              <a:t> </a:t>
            </a:r>
            <a:r>
              <a:rPr lang="it-IT" sz="1350" dirty="0">
                <a:ln w="9525" cap="flat" cmpd="sng" algn="ctr">
                  <a:noFill/>
                  <a:prstDash val="solid"/>
                  <a:round/>
                  <a:headEnd type="none" w="med" len="med"/>
                  <a:tailEnd type="none" w="med" len="med"/>
                </a:ln>
                <a:solidFill>
                  <a:srgbClr val="222A35"/>
                </a:solidFill>
                <a:latin typeface="Calibri"/>
                <a:cs typeface="Calibri"/>
                <a:sym typeface="Wingdings"/>
              </a:rPr>
              <a:t>ottenuto</a:t>
            </a:r>
            <a:r>
              <a:rPr lang="it-IT" sz="1350" spc="26" dirty="0">
                <a:ln w="9525" cap="flat" cmpd="sng" algn="ctr">
                  <a:noFill/>
                  <a:prstDash val="solid"/>
                  <a:round/>
                  <a:headEnd type="none" w="med" len="med"/>
                  <a:tailEnd type="none" w="med" len="med"/>
                </a:ln>
                <a:solidFill>
                  <a:srgbClr val="222A35"/>
                </a:solidFill>
                <a:latin typeface="Calibri"/>
                <a:cs typeface="Calibri"/>
                <a:sym typeface="Wingdings"/>
              </a:rPr>
              <a:t> </a:t>
            </a:r>
            <a:r>
              <a:rPr lang="it-IT" sz="1350" dirty="0">
                <a:ln w="9525" cap="flat" cmpd="sng" algn="ctr">
                  <a:noFill/>
                  <a:prstDash val="solid"/>
                  <a:round/>
                  <a:headEnd type="none" w="med" len="med"/>
                  <a:tailEnd type="none" w="med" len="med"/>
                </a:ln>
                <a:solidFill>
                  <a:srgbClr val="222A35"/>
                </a:solidFill>
                <a:latin typeface="Calibri"/>
                <a:cs typeface="Calibri"/>
                <a:sym typeface="Wingdings"/>
              </a:rPr>
              <a:t>grazie</a:t>
            </a:r>
            <a:r>
              <a:rPr lang="it-IT" sz="1350" spc="28" dirty="0">
                <a:ln w="9525" cap="flat" cmpd="sng" algn="ctr">
                  <a:noFill/>
                  <a:prstDash val="solid"/>
                  <a:round/>
                  <a:headEnd type="none" w="med" len="med"/>
                  <a:tailEnd type="none" w="med" len="med"/>
                </a:ln>
                <a:solidFill>
                  <a:srgbClr val="222A35"/>
                </a:solidFill>
                <a:latin typeface="Calibri"/>
                <a:cs typeface="Calibri"/>
                <a:sym typeface="Wingdings"/>
              </a:rPr>
              <a:t> </a:t>
            </a:r>
            <a:r>
              <a:rPr lang="it-IT" sz="1350" dirty="0">
                <a:ln w="9525" cap="flat" cmpd="sng" algn="ctr">
                  <a:noFill/>
                  <a:prstDash val="solid"/>
                  <a:round/>
                  <a:headEnd type="none" w="med" len="med"/>
                  <a:tailEnd type="none" w="med" len="med"/>
                </a:ln>
                <a:solidFill>
                  <a:srgbClr val="222A35"/>
                </a:solidFill>
                <a:latin typeface="Calibri"/>
                <a:cs typeface="Calibri"/>
                <a:sym typeface="Wingdings"/>
              </a:rPr>
              <a:t>alla</a:t>
            </a:r>
            <a:r>
              <a:rPr lang="it-IT" sz="1350" spc="21" dirty="0">
                <a:ln w="9525" cap="flat" cmpd="sng" algn="ctr">
                  <a:noFill/>
                  <a:prstDash val="solid"/>
                  <a:round/>
                  <a:headEnd type="none" w="med" len="med"/>
                  <a:tailEnd type="none" w="med" len="med"/>
                </a:ln>
                <a:solidFill>
                  <a:srgbClr val="222A35"/>
                </a:solidFill>
                <a:latin typeface="Calibri"/>
                <a:cs typeface="Calibri"/>
                <a:sym typeface="Wingdings"/>
              </a:rPr>
              <a:t> </a:t>
            </a:r>
            <a:r>
              <a:rPr lang="it-IT" sz="1350" dirty="0">
                <a:ln w="9525" cap="flat" cmpd="sng" algn="ctr">
                  <a:noFill/>
                  <a:prstDash val="solid"/>
                  <a:round/>
                  <a:headEnd type="none" w="med" len="med"/>
                  <a:tailEnd type="none" w="med" len="med"/>
                </a:ln>
                <a:solidFill>
                  <a:srgbClr val="222A35"/>
                </a:solidFill>
                <a:latin typeface="Calibri"/>
                <a:cs typeface="Calibri"/>
                <a:sym typeface="Wingdings"/>
              </a:rPr>
              <a:t>rivalutazione</a:t>
            </a:r>
            <a:r>
              <a:rPr lang="it-IT" sz="1350" spc="41" dirty="0">
                <a:ln w="9525" cap="flat" cmpd="sng" algn="ctr">
                  <a:noFill/>
                  <a:prstDash val="solid"/>
                  <a:round/>
                  <a:headEnd type="none" w="med" len="med"/>
                  <a:tailEnd type="none" w="med" len="med"/>
                </a:ln>
                <a:solidFill>
                  <a:srgbClr val="222A35"/>
                </a:solidFill>
                <a:latin typeface="Calibri"/>
                <a:cs typeface="Calibri"/>
                <a:sym typeface="Wingdings"/>
              </a:rPr>
              <a:t> </a:t>
            </a:r>
            <a:r>
              <a:rPr lang="it-IT" sz="1350" dirty="0">
                <a:ln w="9525" cap="flat" cmpd="sng" algn="ctr">
                  <a:noFill/>
                  <a:prstDash val="solid"/>
                  <a:round/>
                  <a:headEnd type="none" w="med" len="med"/>
                  <a:tailEnd type="none" w="med" len="med"/>
                </a:ln>
                <a:solidFill>
                  <a:srgbClr val="222A35"/>
                </a:solidFill>
                <a:latin typeface="Calibri"/>
                <a:cs typeface="Calibri"/>
                <a:sym typeface="Wingdings"/>
              </a:rPr>
              <a:t>dei</a:t>
            </a:r>
            <a:r>
              <a:rPr lang="it-IT" sz="1350" spc="15" dirty="0">
                <a:ln w="9525" cap="flat" cmpd="sng" algn="ctr">
                  <a:noFill/>
                  <a:prstDash val="solid"/>
                  <a:round/>
                  <a:headEnd type="none" w="med" len="med"/>
                  <a:tailEnd type="none" w="med" len="med"/>
                </a:ln>
                <a:solidFill>
                  <a:srgbClr val="222A35"/>
                </a:solidFill>
                <a:latin typeface="Calibri"/>
                <a:cs typeface="Calibri"/>
                <a:sym typeface="Wingdings"/>
              </a:rPr>
              <a:t> </a:t>
            </a:r>
            <a:r>
              <a:rPr lang="it-IT" sz="1350" dirty="0">
                <a:ln w="9525" cap="flat" cmpd="sng" algn="ctr">
                  <a:noFill/>
                  <a:prstDash val="solid"/>
                  <a:round/>
                  <a:headEnd type="none" w="med" len="med"/>
                  <a:tailEnd type="none" w="med" len="med"/>
                </a:ln>
                <a:solidFill>
                  <a:srgbClr val="222A35"/>
                </a:solidFill>
                <a:latin typeface="Calibri"/>
                <a:cs typeface="Calibri"/>
                <a:sym typeface="Wingdings"/>
              </a:rPr>
              <a:t>locali</a:t>
            </a:r>
            <a:r>
              <a:rPr lang="it-IT" sz="1350" spc="19" dirty="0">
                <a:ln w="9525" cap="flat" cmpd="sng" algn="ctr">
                  <a:noFill/>
                  <a:prstDash val="solid"/>
                  <a:round/>
                  <a:headEnd type="none" w="med" len="med"/>
                  <a:tailEnd type="none" w="med" len="med"/>
                </a:ln>
                <a:solidFill>
                  <a:srgbClr val="222A35"/>
                </a:solidFill>
                <a:latin typeface="Calibri"/>
                <a:cs typeface="Calibri"/>
                <a:sym typeface="Wingdings"/>
              </a:rPr>
              <a:t> </a:t>
            </a:r>
            <a:r>
              <a:rPr lang="it-IT" sz="1350" dirty="0">
                <a:ln w="9525" cap="flat" cmpd="sng" algn="ctr">
                  <a:noFill/>
                  <a:prstDash val="solid"/>
                  <a:round/>
                  <a:headEnd type="none" w="med" len="med"/>
                  <a:tailEnd type="none" w="med" len="med"/>
                </a:ln>
                <a:solidFill>
                  <a:srgbClr val="222A35"/>
                </a:solidFill>
                <a:latin typeface="Calibri"/>
                <a:cs typeface="Calibri"/>
                <a:sym typeface="Wingdings"/>
              </a:rPr>
              <a:t>di</a:t>
            </a:r>
            <a:r>
              <a:rPr lang="it-IT" sz="1350" spc="23" dirty="0">
                <a:ln w="9525" cap="flat" cmpd="sng" algn="ctr">
                  <a:noFill/>
                  <a:prstDash val="solid"/>
                  <a:round/>
                  <a:headEnd type="none" w="med" len="med"/>
                  <a:tailEnd type="none" w="med" len="med"/>
                </a:ln>
                <a:solidFill>
                  <a:srgbClr val="222A35"/>
                </a:solidFill>
                <a:latin typeface="Calibri"/>
                <a:cs typeface="Calibri"/>
                <a:sym typeface="Wingdings"/>
              </a:rPr>
              <a:t> </a:t>
            </a:r>
            <a:r>
              <a:rPr lang="it-IT" sz="1350" dirty="0">
                <a:ln w="9525" cap="flat" cmpd="sng" algn="ctr">
                  <a:noFill/>
                  <a:prstDash val="solid"/>
                  <a:round/>
                  <a:headEnd type="none" w="med" len="med"/>
                  <a:tailEnd type="none" w="med" len="med"/>
                </a:ln>
                <a:solidFill>
                  <a:srgbClr val="222A35"/>
                </a:solidFill>
                <a:latin typeface="Calibri"/>
                <a:cs typeface="Calibri"/>
                <a:sym typeface="Wingdings"/>
              </a:rPr>
              <a:t>proprietà</a:t>
            </a:r>
            <a:r>
              <a:rPr lang="it-IT" sz="1350" spc="26" dirty="0">
                <a:ln w="9525" cap="flat" cmpd="sng" algn="ctr">
                  <a:noFill/>
                  <a:prstDash val="solid"/>
                  <a:round/>
                  <a:headEnd type="none" w="med" len="med"/>
                  <a:tailEnd type="none" w="med" len="med"/>
                </a:ln>
                <a:solidFill>
                  <a:srgbClr val="222A35"/>
                </a:solidFill>
                <a:latin typeface="Calibri"/>
                <a:cs typeface="Calibri"/>
                <a:sym typeface="Wingdings"/>
              </a:rPr>
              <a:t> </a:t>
            </a:r>
            <a:r>
              <a:rPr lang="it-IT" sz="1350" dirty="0">
                <a:ln w="9525" cap="flat" cmpd="sng" algn="ctr">
                  <a:noFill/>
                  <a:prstDash val="solid"/>
                  <a:round/>
                  <a:headEnd type="none" w="med" len="med"/>
                  <a:tailEnd type="none" w="med" len="med"/>
                </a:ln>
                <a:solidFill>
                  <a:srgbClr val="222A35"/>
                </a:solidFill>
                <a:latin typeface="Calibri"/>
                <a:cs typeface="Calibri"/>
                <a:sym typeface="Wingdings"/>
              </a:rPr>
              <a:t>Anas</a:t>
            </a:r>
            <a:r>
              <a:rPr lang="it-IT" sz="1350" spc="21" dirty="0">
                <a:ln w="9525" cap="flat" cmpd="sng" algn="ctr">
                  <a:noFill/>
                  <a:prstDash val="solid"/>
                  <a:round/>
                  <a:headEnd type="none" w="med" len="med"/>
                  <a:tailEnd type="none" w="med" len="med"/>
                </a:ln>
                <a:solidFill>
                  <a:srgbClr val="222A35"/>
                </a:solidFill>
                <a:latin typeface="Calibri"/>
                <a:cs typeface="Calibri"/>
                <a:sym typeface="Wingdings"/>
              </a:rPr>
              <a:t> </a:t>
            </a:r>
            <a:r>
              <a:rPr lang="it-IT" sz="1350" dirty="0">
                <a:ln w="9525" cap="flat" cmpd="sng" algn="ctr">
                  <a:noFill/>
                  <a:prstDash val="solid"/>
                  <a:round/>
                  <a:headEnd type="none" w="med" len="med"/>
                  <a:tailEnd type="none" w="med" len="med"/>
                </a:ln>
                <a:solidFill>
                  <a:srgbClr val="222A35"/>
                </a:solidFill>
                <a:latin typeface="Calibri"/>
                <a:cs typeface="Calibri"/>
                <a:sym typeface="Wingdings"/>
              </a:rPr>
              <a:t>di</a:t>
            </a:r>
            <a:r>
              <a:rPr lang="it-IT" sz="1350" spc="14" dirty="0">
                <a:ln w="9525" cap="flat" cmpd="sng" algn="ctr">
                  <a:noFill/>
                  <a:prstDash val="solid"/>
                  <a:round/>
                  <a:headEnd type="none" w="med" len="med"/>
                  <a:tailEnd type="none" w="med" len="med"/>
                </a:ln>
                <a:solidFill>
                  <a:srgbClr val="222A35"/>
                </a:solidFill>
                <a:latin typeface="Calibri"/>
                <a:cs typeface="Calibri"/>
                <a:sym typeface="Wingdings"/>
              </a:rPr>
              <a:t> </a:t>
            </a:r>
            <a:r>
              <a:rPr lang="it-IT" sz="1350" dirty="0">
                <a:ln w="9525" cap="flat" cmpd="sng" algn="ctr">
                  <a:noFill/>
                  <a:prstDash val="solid"/>
                  <a:round/>
                  <a:headEnd type="none" w="med" len="med"/>
                  <a:tailEnd type="none" w="med" len="med"/>
                </a:ln>
                <a:solidFill>
                  <a:srgbClr val="222A35"/>
                </a:solidFill>
                <a:latin typeface="Calibri"/>
                <a:cs typeface="Calibri"/>
                <a:sym typeface="Wingdings"/>
              </a:rPr>
              <a:t>Via</a:t>
            </a:r>
            <a:r>
              <a:rPr lang="it-IT" sz="1350" spc="23" dirty="0">
                <a:ln w="9525" cap="flat" cmpd="sng" algn="ctr">
                  <a:noFill/>
                  <a:prstDash val="solid"/>
                  <a:round/>
                  <a:headEnd type="none" w="med" len="med"/>
                  <a:tailEnd type="none" w="med" len="med"/>
                </a:ln>
                <a:solidFill>
                  <a:srgbClr val="222A35"/>
                </a:solidFill>
                <a:latin typeface="Calibri"/>
                <a:cs typeface="Calibri"/>
                <a:sym typeface="Wingdings"/>
              </a:rPr>
              <a:t> </a:t>
            </a:r>
            <a:r>
              <a:rPr lang="it-IT" sz="1350" dirty="0">
                <a:ln w="9525" cap="flat" cmpd="sng" algn="ctr">
                  <a:noFill/>
                  <a:prstDash val="solid"/>
                  <a:round/>
                  <a:headEnd type="none" w="med" len="med"/>
                  <a:tailEnd type="none" w="med" len="med"/>
                </a:ln>
                <a:solidFill>
                  <a:srgbClr val="222A35"/>
                </a:solidFill>
                <a:latin typeface="Calibri"/>
                <a:cs typeface="Calibri"/>
                <a:sym typeface="Wingdings"/>
              </a:rPr>
              <a:t>Portuense</a:t>
            </a:r>
            <a:r>
              <a:rPr lang="it-IT" sz="1350" spc="28" dirty="0">
                <a:ln w="9525" cap="flat" cmpd="sng" algn="ctr">
                  <a:noFill/>
                  <a:prstDash val="solid"/>
                  <a:round/>
                  <a:headEnd type="none" w="med" len="med"/>
                  <a:tailEnd type="none" w="med" len="med"/>
                </a:ln>
                <a:solidFill>
                  <a:srgbClr val="222A35"/>
                </a:solidFill>
                <a:latin typeface="Calibri"/>
                <a:cs typeface="Calibri"/>
                <a:sym typeface="Wingdings"/>
              </a:rPr>
              <a:t> </a:t>
            </a:r>
            <a:r>
              <a:rPr lang="it-IT" sz="1350" dirty="0">
                <a:ln w="9525" cap="flat" cmpd="sng" algn="ctr">
                  <a:noFill/>
                  <a:prstDash val="solid"/>
                  <a:round/>
                  <a:headEnd type="none" w="med" len="med"/>
                  <a:tailEnd type="none" w="med" len="med"/>
                </a:ln>
                <a:solidFill>
                  <a:srgbClr val="222A35"/>
                </a:solidFill>
                <a:latin typeface="Calibri"/>
                <a:cs typeface="Calibri"/>
                <a:sym typeface="Wingdings"/>
              </a:rPr>
              <a:t>1531,</a:t>
            </a:r>
            <a:r>
              <a:rPr lang="it-IT" sz="1350" spc="23" dirty="0">
                <a:ln w="9525" cap="flat" cmpd="sng" algn="ctr">
                  <a:noFill/>
                  <a:prstDash val="solid"/>
                  <a:round/>
                  <a:headEnd type="none" w="med" len="med"/>
                  <a:tailEnd type="none" w="med" len="med"/>
                </a:ln>
                <a:solidFill>
                  <a:srgbClr val="222A35"/>
                </a:solidFill>
                <a:latin typeface="Calibri"/>
                <a:cs typeface="Calibri"/>
                <a:sym typeface="Wingdings"/>
              </a:rPr>
              <a:t> </a:t>
            </a:r>
            <a:r>
              <a:rPr lang="it-IT" sz="1350" dirty="0">
                <a:ln w="9525" cap="flat" cmpd="sng" algn="ctr">
                  <a:noFill/>
                  <a:prstDash val="solid"/>
                  <a:round/>
                  <a:headEnd type="none" w="med" len="med"/>
                  <a:tailEnd type="none" w="med" len="med"/>
                </a:ln>
                <a:solidFill>
                  <a:srgbClr val="222A35"/>
                </a:solidFill>
                <a:latin typeface="Calibri"/>
                <a:cs typeface="Calibri"/>
                <a:sym typeface="Wingdings"/>
              </a:rPr>
              <a:t>è</a:t>
            </a:r>
          </a:p>
          <a:p>
            <a:pPr marL="66065">
              <a:lnSpc>
                <a:spcPts val="1620"/>
              </a:lnSpc>
              <a:defRPr/>
            </a:pPr>
            <a:r>
              <a:rPr lang="it-IT" sz="1350" spc="-14" dirty="0">
                <a:ln w="9525" cap="flat" cmpd="sng" algn="ctr">
                  <a:noFill/>
                  <a:prstDash val="solid"/>
                  <a:round/>
                  <a:headEnd type="none" w="med" len="med"/>
                  <a:tailEnd type="none" w="med" len="med"/>
                </a:ln>
                <a:solidFill>
                  <a:srgbClr val="222A35"/>
                </a:solidFill>
                <a:latin typeface="Calibri"/>
                <a:cs typeface="Calibri"/>
                <a:sym typeface="Wingdings"/>
              </a:rPr>
              <a:t>st</a:t>
            </a:r>
            <a:r>
              <a:rPr lang="it-IT" sz="1350" dirty="0">
                <a:ln w="9525" cap="flat" cmpd="sng" algn="ctr">
                  <a:noFill/>
                  <a:prstDash val="solid"/>
                  <a:round/>
                  <a:headEnd type="none" w="med" len="med"/>
                  <a:tailEnd type="none" w="med" len="med"/>
                </a:ln>
                <a:solidFill>
                  <a:srgbClr val="222A35"/>
                </a:solidFill>
                <a:latin typeface="Calibri"/>
                <a:cs typeface="Calibri"/>
                <a:sym typeface="Wingdings"/>
              </a:rPr>
              <a:t>ato progettato con l’obiettivo di realizzare un sito di rappresentanza istituzionale nonché un centro polifunzionale </a:t>
            </a:r>
            <a:r>
              <a:rPr lang="it-IT" sz="1350" dirty="0">
                <a:ln w="9525" cap="flat" cmpd="sng" algn="ctr">
                  <a:noFill/>
                  <a:prstDash val="solid"/>
                  <a:round/>
                  <a:headEnd type="none" w="med" len="med"/>
                  <a:tailEnd type="none" w="med" len="med"/>
                </a:ln>
                <a:solidFill>
                  <a:srgbClr val="222A35"/>
                </a:solidFill>
                <a:latin typeface="Calibri"/>
                <a:cs typeface="Calibri"/>
              </a:rPr>
              <a:t>La struttura si colloca su di un’area di circa 11.000 mq, in gran parte adibita a parcheggio e a spazi verdi.</a:t>
            </a:r>
          </a:p>
          <a:p>
            <a:pPr marL="66065">
              <a:lnSpc>
                <a:spcPts val="1620"/>
              </a:lnSpc>
              <a:defRPr/>
            </a:pPr>
            <a:r>
              <a:rPr lang="it-IT" sz="1350" dirty="0">
                <a:ln w="9525" cap="flat" cmpd="sng" algn="ctr">
                  <a:noFill/>
                  <a:prstDash val="solid"/>
                  <a:round/>
                  <a:headEnd type="none" w="med" len="med"/>
                  <a:tailEnd type="none" w="med" len="med"/>
                </a:ln>
                <a:solidFill>
                  <a:srgbClr val="222A35"/>
                </a:solidFill>
                <a:latin typeface="Calibri"/>
                <a:cs typeface="Calibri"/>
              </a:rPr>
              <a:t> Sono inoltre presenti due strutture, Casale e Locale servizi, il primo di circa 300 mq, il secondo di circa 110 mq</a:t>
            </a:r>
          </a:p>
        </p:txBody>
      </p:sp>
      <p:sp>
        <p:nvSpPr>
          <p:cNvPr id="4" name="object 4"/>
          <p:cNvSpPr txBox="1"/>
          <p:nvPr>
            <p:custDataLst>
              <p:tags r:id="rId3"/>
            </p:custDataLst>
          </p:nvPr>
        </p:nvSpPr>
        <p:spPr>
          <a:xfrm>
            <a:off x="420291" y="1647825"/>
            <a:ext cx="4377928" cy="205184"/>
          </a:xfrm>
          <a:prstGeom prst="rect">
            <a:avLst/>
          </a:prstGeom>
          <a:noFill/>
          <a:ln w="9525" cap="flat" cmpd="sng" algn="ctr">
            <a:noFill/>
            <a:prstDash val="solid"/>
            <a:round/>
            <a:headEnd type="none" w="med" len="med"/>
            <a:tailEnd type="none" w="med" len="med"/>
          </a:ln>
        </p:spPr>
        <p:txBody>
          <a:bodyPr lIns="0" tIns="0" rIns="0" bIns="0">
            <a:spAutoFit/>
          </a:bodyPr>
          <a:lstStyle/>
          <a:p>
            <a:pPr>
              <a:lnSpc>
                <a:spcPts val="1648"/>
              </a:lnSpc>
              <a:defRPr/>
            </a:pPr>
            <a:r>
              <a:rPr sz="1350" dirty="0">
                <a:ln w="9525" cap="flat" cmpd="sng" algn="ctr">
                  <a:noFill/>
                  <a:prstDash val="solid"/>
                  <a:round/>
                  <a:headEnd type="none" w="med" len="med"/>
                  <a:tailEnd type="none" w="med" len="med"/>
                </a:ln>
                <a:solidFill>
                  <a:srgbClr val="000000"/>
                </a:solidFill>
                <a:latin typeface="Arial"/>
                <a:sym typeface="Wingdings"/>
              </a:rPr>
              <a:t>•</a:t>
            </a:r>
            <a:r>
              <a:rPr sz="1350" spc="882" dirty="0">
                <a:ln w="9525" cap="flat" cmpd="sng" algn="ctr">
                  <a:noFill/>
                  <a:prstDash val="solid"/>
                  <a:round/>
                  <a:headEnd type="none" w="med" len="med"/>
                  <a:tailEnd type="none" w="med" len="med"/>
                </a:ln>
                <a:solidFill>
                  <a:srgbClr val="000000"/>
                </a:solidFill>
                <a:latin typeface="Times New Roman"/>
                <a:cs typeface="Times New Roman"/>
                <a:sym typeface="Wingdings"/>
              </a:rPr>
              <a:t> </a:t>
            </a:r>
            <a:r>
              <a:rPr sz="1350" b="1" dirty="0">
                <a:ln w="9525" cap="flat" cmpd="sng" algn="ctr">
                  <a:noFill/>
                  <a:prstDash val="solid"/>
                  <a:round/>
                  <a:headEnd type="none" w="med" len="med"/>
                  <a:tailEnd type="none" w="med" len="med"/>
                </a:ln>
                <a:solidFill>
                  <a:srgbClr val="000000"/>
                </a:solidFill>
                <a:latin typeface="Calibri"/>
                <a:cs typeface="Calibri"/>
                <a:sym typeface="Wingdings"/>
              </a:rPr>
              <a:t>Academy</a:t>
            </a:r>
            <a:r>
              <a:rPr sz="1350" b="1" spc="-13" dirty="0">
                <a:ln w="9525" cap="flat" cmpd="sng" algn="ctr">
                  <a:noFill/>
                  <a:prstDash val="solid"/>
                  <a:round/>
                  <a:headEnd type="none" w="med" len="med"/>
                  <a:tailEnd type="none" w="med" len="med"/>
                </a:ln>
                <a:solidFill>
                  <a:srgbClr val="000000"/>
                </a:solidFill>
                <a:latin typeface="Calibri"/>
                <a:cs typeface="Calibri"/>
                <a:sym typeface="Wingdings"/>
              </a:rPr>
              <a:t> </a:t>
            </a:r>
            <a:r>
              <a:rPr sz="1350" dirty="0">
                <a:ln w="9525" cap="flat" cmpd="sng" algn="ctr">
                  <a:noFill/>
                  <a:prstDash val="solid"/>
                  <a:round/>
                  <a:headEnd type="none" w="med" len="med"/>
                  <a:tailEnd type="none" w="med" len="med"/>
                </a:ln>
                <a:solidFill>
                  <a:srgbClr val="000000"/>
                </a:solidFill>
                <a:latin typeface="Calibri"/>
                <a:cs typeface="Calibri"/>
                <a:sym typeface="Wingdings"/>
              </a:rPr>
              <a:t>per lo</a:t>
            </a:r>
            <a:r>
              <a:rPr sz="1350" spc="13" dirty="0">
                <a:ln w="9525" cap="flat" cmpd="sng" algn="ctr">
                  <a:noFill/>
                  <a:prstDash val="solid"/>
                  <a:round/>
                  <a:headEnd type="none" w="med" len="med"/>
                  <a:tailEnd type="none" w="med" len="med"/>
                </a:ln>
                <a:solidFill>
                  <a:srgbClr val="000000"/>
                </a:solidFill>
                <a:latin typeface="Calibri"/>
                <a:cs typeface="Calibri"/>
                <a:sym typeface="Wingdings"/>
              </a:rPr>
              <a:t> </a:t>
            </a:r>
            <a:r>
              <a:rPr sz="1350" dirty="0" err="1">
                <a:ln w="9525" cap="flat" cmpd="sng" algn="ctr">
                  <a:noFill/>
                  <a:prstDash val="solid"/>
                  <a:round/>
                  <a:headEnd type="none" w="med" len="med"/>
                  <a:tailEnd type="none" w="med" len="med"/>
                </a:ln>
                <a:solidFill>
                  <a:srgbClr val="000000"/>
                </a:solidFill>
                <a:latin typeface="Calibri"/>
                <a:cs typeface="Calibri"/>
                <a:sym typeface="Wingdings"/>
              </a:rPr>
              <a:t>svolgimento</a:t>
            </a:r>
            <a:r>
              <a:rPr sz="1350" dirty="0">
                <a:ln w="9525" cap="flat" cmpd="sng" algn="ctr">
                  <a:noFill/>
                  <a:prstDash val="solid"/>
                  <a:round/>
                  <a:headEnd type="none" w="med" len="med"/>
                  <a:tailEnd type="none" w="med" len="med"/>
                </a:ln>
                <a:solidFill>
                  <a:srgbClr val="000000"/>
                </a:solidFill>
                <a:latin typeface="Calibri"/>
                <a:cs typeface="Calibri"/>
                <a:sym typeface="Wingdings"/>
              </a:rPr>
              <a:t> di </a:t>
            </a:r>
            <a:r>
              <a:rPr sz="1350" spc="-8" dirty="0" err="1">
                <a:ln w="9525" cap="flat" cmpd="sng" algn="ctr">
                  <a:noFill/>
                  <a:prstDash val="solid"/>
                  <a:round/>
                  <a:headEnd type="none" w="med" len="med"/>
                  <a:tailEnd type="none" w="med" len="med"/>
                </a:ln>
                <a:solidFill>
                  <a:srgbClr val="000000"/>
                </a:solidFill>
                <a:latin typeface="Calibri"/>
                <a:cs typeface="Calibri"/>
                <a:sym typeface="Wingdings"/>
              </a:rPr>
              <a:t>corsi</a:t>
            </a:r>
            <a:r>
              <a:rPr sz="1350" spc="-8" dirty="0">
                <a:ln w="9525" cap="flat" cmpd="sng" algn="ctr">
                  <a:noFill/>
                  <a:prstDash val="solid"/>
                  <a:round/>
                  <a:headEnd type="none" w="med" len="med"/>
                  <a:tailEnd type="none" w="med" len="med"/>
                </a:ln>
                <a:solidFill>
                  <a:srgbClr val="000000"/>
                </a:solidFill>
                <a:latin typeface="Calibri"/>
                <a:cs typeface="Calibri"/>
                <a:sym typeface="Wingdings"/>
              </a:rPr>
              <a:t>,</a:t>
            </a:r>
            <a:r>
              <a:rPr sz="1350" spc="23" dirty="0">
                <a:ln w="9525" cap="flat" cmpd="sng" algn="ctr">
                  <a:noFill/>
                  <a:prstDash val="solid"/>
                  <a:round/>
                  <a:headEnd type="none" w="med" len="med"/>
                  <a:tailEnd type="none" w="med" len="med"/>
                </a:ln>
                <a:solidFill>
                  <a:srgbClr val="000000"/>
                </a:solidFill>
                <a:latin typeface="Calibri"/>
                <a:cs typeface="Calibri"/>
                <a:sym typeface="Wingdings"/>
              </a:rPr>
              <a:t> </a:t>
            </a:r>
            <a:r>
              <a:rPr sz="1350" dirty="0" err="1">
                <a:ln w="9525" cap="flat" cmpd="sng" algn="ctr">
                  <a:noFill/>
                  <a:prstDash val="solid"/>
                  <a:round/>
                  <a:headEnd type="none" w="med" len="med"/>
                  <a:tailEnd type="none" w="med" len="med"/>
                </a:ln>
                <a:solidFill>
                  <a:srgbClr val="000000"/>
                </a:solidFill>
                <a:latin typeface="Calibri"/>
                <a:cs typeface="Calibri"/>
                <a:sym typeface="Wingdings"/>
              </a:rPr>
              <a:t>seminari</a:t>
            </a:r>
            <a:r>
              <a:rPr sz="1350" dirty="0">
                <a:ln w="9525" cap="flat" cmpd="sng" algn="ctr">
                  <a:noFill/>
                  <a:prstDash val="solid"/>
                  <a:round/>
                  <a:headEnd type="none" w="med" len="med"/>
                  <a:tailEnd type="none" w="med" len="med"/>
                </a:ln>
                <a:solidFill>
                  <a:srgbClr val="000000"/>
                </a:solidFill>
                <a:latin typeface="Calibri"/>
                <a:cs typeface="Calibri"/>
                <a:sym typeface="Wingdings"/>
              </a:rPr>
              <a:t> e workshop</a:t>
            </a:r>
          </a:p>
        </p:txBody>
      </p:sp>
      <p:sp>
        <p:nvSpPr>
          <p:cNvPr id="5" name="object 5"/>
          <p:cNvSpPr txBox="1"/>
          <p:nvPr>
            <p:custDataLst>
              <p:tags r:id="rId4"/>
            </p:custDataLst>
          </p:nvPr>
        </p:nvSpPr>
        <p:spPr>
          <a:xfrm>
            <a:off x="420291" y="1884760"/>
            <a:ext cx="7759303" cy="615553"/>
          </a:xfrm>
          <a:prstGeom prst="rect">
            <a:avLst/>
          </a:prstGeom>
          <a:noFill/>
          <a:ln w="9525" cap="flat" cmpd="sng" algn="ctr">
            <a:noFill/>
            <a:prstDash val="solid"/>
            <a:round/>
            <a:headEnd type="none" w="med" len="med"/>
            <a:tailEnd type="none" w="med" len="med"/>
          </a:ln>
        </p:spPr>
        <p:txBody>
          <a:bodyPr lIns="0" tIns="0" rIns="0" bIns="0">
            <a:spAutoFit/>
          </a:bodyPr>
          <a:lstStyle/>
          <a:p>
            <a:pPr>
              <a:lnSpc>
                <a:spcPts val="1648"/>
              </a:lnSpc>
              <a:defRPr/>
            </a:pPr>
            <a:r>
              <a:rPr sz="1350" dirty="0">
                <a:ln w="9525" cap="flat" cmpd="sng" algn="ctr">
                  <a:noFill/>
                  <a:prstDash val="solid"/>
                  <a:round/>
                  <a:headEnd type="none" w="med" len="med"/>
                  <a:tailEnd type="none" w="med" len="med"/>
                </a:ln>
                <a:solidFill>
                  <a:srgbClr val="000000"/>
                </a:solidFill>
                <a:latin typeface="Arial"/>
                <a:sym typeface="Wingdings"/>
              </a:rPr>
              <a:t>•</a:t>
            </a:r>
            <a:r>
              <a:rPr sz="1350" spc="882" dirty="0">
                <a:ln w="9525" cap="flat" cmpd="sng" algn="ctr">
                  <a:noFill/>
                  <a:prstDash val="solid"/>
                  <a:round/>
                  <a:headEnd type="none" w="med" len="med"/>
                  <a:tailEnd type="none" w="med" len="med"/>
                </a:ln>
                <a:solidFill>
                  <a:srgbClr val="000000"/>
                </a:solidFill>
                <a:latin typeface="Times New Roman"/>
                <a:cs typeface="Times New Roman"/>
                <a:sym typeface="Wingdings"/>
              </a:rPr>
              <a:t> </a:t>
            </a:r>
            <a:r>
              <a:rPr sz="1350" b="1" dirty="0" err="1">
                <a:ln w="9525" cap="flat" cmpd="sng" algn="ctr">
                  <a:noFill/>
                  <a:prstDash val="solid"/>
                  <a:round/>
                  <a:headEnd type="none" w="med" len="med"/>
                  <a:tailEnd type="none" w="med" len="med"/>
                </a:ln>
                <a:solidFill>
                  <a:srgbClr val="000000"/>
                </a:solidFill>
                <a:latin typeface="Calibri"/>
                <a:cs typeface="Calibri"/>
                <a:sym typeface="Wingdings"/>
              </a:rPr>
              <a:t>Laboratorio</a:t>
            </a:r>
            <a:r>
              <a:rPr sz="1350" b="1" spc="-23" dirty="0">
                <a:ln w="9525" cap="flat" cmpd="sng" algn="ctr">
                  <a:noFill/>
                  <a:prstDash val="solid"/>
                  <a:round/>
                  <a:headEnd type="none" w="med" len="med"/>
                  <a:tailEnd type="none" w="med" len="med"/>
                </a:ln>
                <a:solidFill>
                  <a:srgbClr val="000000"/>
                </a:solidFill>
                <a:latin typeface="Calibri"/>
                <a:cs typeface="Calibri"/>
                <a:sym typeface="Wingdings"/>
              </a:rPr>
              <a:t> </a:t>
            </a:r>
            <a:r>
              <a:rPr sz="1350" dirty="0">
                <a:ln w="9525" cap="flat" cmpd="sng" algn="ctr">
                  <a:noFill/>
                  <a:prstDash val="solid"/>
                  <a:round/>
                  <a:headEnd type="none" w="med" len="med"/>
                  <a:tailEnd type="none" w="med" len="med"/>
                </a:ln>
                <a:solidFill>
                  <a:srgbClr val="000000"/>
                </a:solidFill>
                <a:latin typeface="Calibri"/>
                <a:cs typeface="Calibri"/>
                <a:sym typeface="Wingdings"/>
              </a:rPr>
              <a:t>per la</a:t>
            </a:r>
            <a:r>
              <a:rPr sz="1350" spc="15" dirty="0">
                <a:ln w="9525" cap="flat" cmpd="sng" algn="ctr">
                  <a:noFill/>
                  <a:prstDash val="solid"/>
                  <a:round/>
                  <a:headEnd type="none" w="med" len="med"/>
                  <a:tailEnd type="none" w="med" len="med"/>
                </a:ln>
                <a:solidFill>
                  <a:srgbClr val="000000"/>
                </a:solidFill>
                <a:latin typeface="Calibri"/>
                <a:cs typeface="Calibri"/>
                <a:sym typeface="Wingdings"/>
              </a:rPr>
              <a:t> </a:t>
            </a:r>
            <a:r>
              <a:rPr sz="1350" dirty="0" err="1">
                <a:ln w="9525" cap="flat" cmpd="sng" algn="ctr">
                  <a:noFill/>
                  <a:prstDash val="solid"/>
                  <a:round/>
                  <a:headEnd type="none" w="med" len="med"/>
                  <a:tailEnd type="none" w="med" len="med"/>
                </a:ln>
                <a:solidFill>
                  <a:srgbClr val="000000"/>
                </a:solidFill>
                <a:latin typeface="Calibri"/>
                <a:cs typeface="Calibri"/>
                <a:sym typeface="Wingdings"/>
              </a:rPr>
              <a:t>sperimentazione</a:t>
            </a:r>
            <a:r>
              <a:rPr sz="1350" spc="20" dirty="0">
                <a:ln w="9525" cap="flat" cmpd="sng" algn="ctr">
                  <a:noFill/>
                  <a:prstDash val="solid"/>
                  <a:round/>
                  <a:headEnd type="none" w="med" len="med"/>
                  <a:tailEnd type="none" w="med" len="med"/>
                </a:ln>
                <a:solidFill>
                  <a:srgbClr val="000000"/>
                </a:solidFill>
                <a:latin typeface="Calibri"/>
                <a:cs typeface="Calibri"/>
                <a:sym typeface="Wingdings"/>
              </a:rPr>
              <a:t> </a:t>
            </a:r>
            <a:r>
              <a:rPr sz="1350" dirty="0">
                <a:ln w="9525" cap="flat" cmpd="sng" algn="ctr">
                  <a:noFill/>
                  <a:prstDash val="solid"/>
                  <a:round/>
                  <a:headEnd type="none" w="med" len="med"/>
                  <a:tailEnd type="none" w="med" len="med"/>
                </a:ln>
                <a:solidFill>
                  <a:srgbClr val="000000"/>
                </a:solidFill>
                <a:latin typeface="Calibri"/>
                <a:cs typeface="Calibri"/>
                <a:sym typeface="Wingdings"/>
              </a:rPr>
              <a:t>di </a:t>
            </a:r>
            <a:r>
              <a:rPr sz="1350" dirty="0" err="1">
                <a:ln w="9525" cap="flat" cmpd="sng" algn="ctr">
                  <a:noFill/>
                  <a:prstDash val="solid"/>
                  <a:round/>
                  <a:headEnd type="none" w="med" len="med"/>
                  <a:tailEnd type="none" w="med" len="med"/>
                </a:ln>
                <a:solidFill>
                  <a:srgbClr val="000000"/>
                </a:solidFill>
                <a:latin typeface="Calibri"/>
                <a:cs typeface="Calibri"/>
                <a:sym typeface="Wingdings"/>
              </a:rPr>
              <a:t>nuove</a:t>
            </a:r>
            <a:r>
              <a:rPr sz="1350" spc="8" dirty="0">
                <a:ln w="9525" cap="flat" cmpd="sng" algn="ctr">
                  <a:noFill/>
                  <a:prstDash val="solid"/>
                  <a:round/>
                  <a:headEnd type="none" w="med" len="med"/>
                  <a:tailEnd type="none" w="med" len="med"/>
                </a:ln>
                <a:solidFill>
                  <a:srgbClr val="000000"/>
                </a:solidFill>
                <a:latin typeface="Calibri"/>
                <a:cs typeface="Calibri"/>
                <a:sym typeface="Wingdings"/>
              </a:rPr>
              <a:t> </a:t>
            </a:r>
            <a:r>
              <a:rPr sz="1350" dirty="0" err="1">
                <a:ln w="9525" cap="flat" cmpd="sng" algn="ctr">
                  <a:noFill/>
                  <a:prstDash val="solid"/>
                  <a:round/>
                  <a:headEnd type="none" w="med" len="med"/>
                  <a:tailEnd type="none" w="med" len="med"/>
                </a:ln>
                <a:solidFill>
                  <a:srgbClr val="000000"/>
                </a:solidFill>
                <a:latin typeface="Calibri"/>
                <a:cs typeface="Calibri"/>
                <a:sym typeface="Wingdings"/>
              </a:rPr>
              <a:t>soluzioni</a:t>
            </a:r>
            <a:r>
              <a:rPr sz="1350" spc="20" dirty="0">
                <a:ln w="9525" cap="flat" cmpd="sng" algn="ctr">
                  <a:noFill/>
                  <a:prstDash val="solid"/>
                  <a:round/>
                  <a:headEnd type="none" w="med" len="med"/>
                  <a:tailEnd type="none" w="med" len="med"/>
                </a:ln>
                <a:solidFill>
                  <a:srgbClr val="000000"/>
                </a:solidFill>
                <a:latin typeface="Calibri"/>
                <a:cs typeface="Calibri"/>
                <a:sym typeface="Wingdings"/>
              </a:rPr>
              <a:t> </a:t>
            </a:r>
            <a:r>
              <a:rPr sz="1350" dirty="0" err="1">
                <a:ln w="9525" cap="flat" cmpd="sng" algn="ctr">
                  <a:noFill/>
                  <a:prstDash val="solid"/>
                  <a:round/>
                  <a:headEnd type="none" w="med" len="med"/>
                  <a:tailEnd type="none" w="med" len="med"/>
                </a:ln>
                <a:solidFill>
                  <a:srgbClr val="000000"/>
                </a:solidFill>
                <a:latin typeface="Calibri"/>
                <a:cs typeface="Calibri"/>
                <a:sym typeface="Wingdings"/>
              </a:rPr>
              <a:t>tecnologiche</a:t>
            </a:r>
            <a:r>
              <a:rPr sz="1350" spc="35" dirty="0">
                <a:ln w="9525" cap="flat" cmpd="sng" algn="ctr">
                  <a:noFill/>
                  <a:prstDash val="solid"/>
                  <a:round/>
                  <a:headEnd type="none" w="med" len="med"/>
                  <a:tailEnd type="none" w="med" len="med"/>
                </a:ln>
                <a:solidFill>
                  <a:srgbClr val="000000"/>
                </a:solidFill>
                <a:latin typeface="Calibri"/>
                <a:cs typeface="Calibri"/>
                <a:sym typeface="Wingdings"/>
              </a:rPr>
              <a:t> </a:t>
            </a:r>
            <a:r>
              <a:rPr sz="1350" dirty="0">
                <a:ln w="9525" cap="flat" cmpd="sng" algn="ctr">
                  <a:noFill/>
                  <a:prstDash val="solid"/>
                  <a:round/>
                  <a:headEnd type="none" w="med" len="med"/>
                  <a:tailEnd type="none" w="med" len="med"/>
                </a:ln>
                <a:solidFill>
                  <a:srgbClr val="000000"/>
                </a:solidFill>
                <a:latin typeface="Calibri"/>
                <a:cs typeface="Calibri"/>
                <a:sym typeface="Wingdings"/>
              </a:rPr>
              <a:t>di </a:t>
            </a:r>
            <a:r>
              <a:rPr sz="1350" dirty="0" err="1">
                <a:ln w="9525" cap="flat" cmpd="sng" algn="ctr">
                  <a:noFill/>
                  <a:prstDash val="solid"/>
                  <a:round/>
                  <a:headEnd type="none" w="med" len="med"/>
                  <a:tailEnd type="none" w="med" len="med"/>
                </a:ln>
                <a:solidFill>
                  <a:srgbClr val="000000"/>
                </a:solidFill>
                <a:latin typeface="Calibri"/>
                <a:cs typeface="Calibri"/>
                <a:sym typeface="Wingdings"/>
              </a:rPr>
              <a:t>mobilità</a:t>
            </a:r>
            <a:r>
              <a:rPr sz="1350" spc="25" dirty="0">
                <a:ln w="9525" cap="flat" cmpd="sng" algn="ctr">
                  <a:noFill/>
                  <a:prstDash val="solid"/>
                  <a:round/>
                  <a:headEnd type="none" w="med" len="med"/>
                  <a:tailEnd type="none" w="med" len="med"/>
                </a:ln>
                <a:solidFill>
                  <a:srgbClr val="000000"/>
                </a:solidFill>
                <a:latin typeface="Calibri"/>
                <a:cs typeface="Calibri"/>
                <a:sym typeface="Wingdings"/>
              </a:rPr>
              <a:t> </a:t>
            </a:r>
            <a:r>
              <a:rPr sz="1350" dirty="0" err="1">
                <a:ln w="9525" cap="flat" cmpd="sng" algn="ctr">
                  <a:noFill/>
                  <a:prstDash val="solid"/>
                  <a:round/>
                  <a:headEnd type="none" w="med" len="med"/>
                  <a:tailEnd type="none" w="med" len="med"/>
                </a:ln>
                <a:solidFill>
                  <a:srgbClr val="000000"/>
                </a:solidFill>
                <a:latin typeface="Calibri"/>
                <a:cs typeface="Calibri"/>
                <a:sym typeface="Wingdings"/>
              </a:rPr>
              <a:t>intelligente</a:t>
            </a:r>
            <a:endParaRPr sz="1350" dirty="0">
              <a:ln w="9525" cap="flat" cmpd="sng" algn="ctr">
                <a:noFill/>
                <a:prstDash val="solid"/>
                <a:round/>
                <a:headEnd type="none" w="med" len="med"/>
                <a:tailEnd type="none" w="med" len="med"/>
              </a:ln>
              <a:solidFill>
                <a:srgbClr val="000000"/>
              </a:solidFill>
              <a:latin typeface="Calibri"/>
              <a:cs typeface="Calibri"/>
              <a:sym typeface="Wingdings"/>
            </a:endParaRPr>
          </a:p>
          <a:p>
            <a:pPr>
              <a:lnSpc>
                <a:spcPts val="1620"/>
              </a:lnSpc>
              <a:defRPr/>
            </a:pPr>
            <a:r>
              <a:rPr sz="1350" dirty="0">
                <a:ln w="9525" cap="flat" cmpd="sng" algn="ctr">
                  <a:noFill/>
                  <a:prstDash val="solid"/>
                  <a:round/>
                  <a:headEnd type="none" w="med" len="med"/>
                  <a:tailEnd type="none" w="med" len="med"/>
                </a:ln>
                <a:solidFill>
                  <a:srgbClr val="000000"/>
                </a:solidFill>
                <a:latin typeface="Arial"/>
                <a:sym typeface="Wingdings"/>
              </a:rPr>
              <a:t>•</a:t>
            </a:r>
            <a:r>
              <a:rPr sz="1350" spc="882" dirty="0">
                <a:ln w="9525" cap="flat" cmpd="sng" algn="ctr">
                  <a:noFill/>
                  <a:prstDash val="solid"/>
                  <a:round/>
                  <a:headEnd type="none" w="med" len="med"/>
                  <a:tailEnd type="none" w="med" len="med"/>
                </a:ln>
                <a:solidFill>
                  <a:srgbClr val="000000"/>
                </a:solidFill>
                <a:latin typeface="Times New Roman"/>
                <a:cs typeface="Times New Roman"/>
                <a:sym typeface="Wingdings"/>
              </a:rPr>
              <a:t> </a:t>
            </a:r>
            <a:r>
              <a:rPr sz="1350" b="1" dirty="0">
                <a:ln w="9525" cap="flat" cmpd="sng" algn="ctr">
                  <a:noFill/>
                  <a:prstDash val="solid"/>
                  <a:round/>
                  <a:headEnd type="none" w="med" len="med"/>
                  <a:tailEnd type="none" w="med" len="med"/>
                </a:ln>
                <a:solidFill>
                  <a:srgbClr val="000000"/>
                </a:solidFill>
                <a:latin typeface="Calibri"/>
                <a:cs typeface="Calibri"/>
                <a:sym typeface="Wingdings"/>
              </a:rPr>
              <a:t>Control</a:t>
            </a:r>
            <a:r>
              <a:rPr sz="1350" b="1" spc="-8" dirty="0">
                <a:ln w="9525" cap="flat" cmpd="sng" algn="ctr">
                  <a:noFill/>
                  <a:prstDash val="solid"/>
                  <a:round/>
                  <a:headEnd type="none" w="med" len="med"/>
                  <a:tailEnd type="none" w="med" len="med"/>
                </a:ln>
                <a:solidFill>
                  <a:srgbClr val="000000"/>
                </a:solidFill>
                <a:latin typeface="Calibri"/>
                <a:cs typeface="Calibri"/>
                <a:sym typeface="Wingdings"/>
              </a:rPr>
              <a:t> Room</a:t>
            </a:r>
            <a:r>
              <a:rPr sz="1350" b="1" dirty="0">
                <a:ln w="9525" cap="flat" cmpd="sng" algn="ctr">
                  <a:noFill/>
                  <a:prstDash val="solid"/>
                  <a:round/>
                  <a:headEnd type="none" w="med" len="med"/>
                  <a:tailEnd type="none" w="med" len="med"/>
                </a:ln>
                <a:solidFill>
                  <a:srgbClr val="000000"/>
                </a:solidFill>
                <a:latin typeface="Calibri"/>
                <a:cs typeface="Calibri"/>
                <a:sym typeface="Wingdings"/>
              </a:rPr>
              <a:t> Nazionale</a:t>
            </a:r>
            <a:r>
              <a:rPr sz="1350" b="1" spc="-30" dirty="0">
                <a:ln w="9525" cap="flat" cmpd="sng" algn="ctr">
                  <a:noFill/>
                  <a:prstDash val="solid"/>
                  <a:round/>
                  <a:headEnd type="none" w="med" len="med"/>
                  <a:tailEnd type="none" w="med" len="med"/>
                </a:ln>
                <a:solidFill>
                  <a:srgbClr val="000000"/>
                </a:solidFill>
                <a:latin typeface="Calibri"/>
                <a:cs typeface="Calibri"/>
                <a:sym typeface="Wingdings"/>
              </a:rPr>
              <a:t> </a:t>
            </a:r>
            <a:r>
              <a:rPr sz="1350" dirty="0">
                <a:ln w="9525" cap="flat" cmpd="sng" algn="ctr">
                  <a:noFill/>
                  <a:prstDash val="solid"/>
                  <a:round/>
                  <a:headEnd type="none" w="med" len="med"/>
                  <a:tailEnd type="none" w="med" len="med"/>
                </a:ln>
                <a:solidFill>
                  <a:srgbClr val="000000"/>
                </a:solidFill>
                <a:latin typeface="Calibri"/>
                <a:cs typeface="Calibri"/>
                <a:sym typeface="Wingdings"/>
              </a:rPr>
              <a:t>per il</a:t>
            </a:r>
            <a:r>
              <a:rPr sz="1350" spc="9" dirty="0">
                <a:ln w="9525" cap="flat" cmpd="sng" algn="ctr">
                  <a:noFill/>
                  <a:prstDash val="solid"/>
                  <a:round/>
                  <a:headEnd type="none" w="med" len="med"/>
                  <a:tailEnd type="none" w="med" len="med"/>
                </a:ln>
                <a:solidFill>
                  <a:srgbClr val="000000"/>
                </a:solidFill>
                <a:latin typeface="Calibri"/>
                <a:cs typeface="Calibri"/>
                <a:sym typeface="Wingdings"/>
              </a:rPr>
              <a:t> </a:t>
            </a:r>
            <a:r>
              <a:rPr sz="1350" dirty="0" err="1">
                <a:ln w="9525" cap="flat" cmpd="sng" algn="ctr">
                  <a:noFill/>
                  <a:prstDash val="solid"/>
                  <a:round/>
                  <a:headEnd type="none" w="med" len="med"/>
                  <a:tailEnd type="none" w="med" len="med"/>
                </a:ln>
                <a:solidFill>
                  <a:srgbClr val="000000"/>
                </a:solidFill>
                <a:latin typeface="Calibri"/>
                <a:cs typeface="Calibri"/>
                <a:sym typeface="Wingdings"/>
              </a:rPr>
              <a:t>monitoraggio</a:t>
            </a:r>
            <a:r>
              <a:rPr sz="1350" spc="11" dirty="0">
                <a:ln w="9525" cap="flat" cmpd="sng" algn="ctr">
                  <a:noFill/>
                  <a:prstDash val="solid"/>
                  <a:round/>
                  <a:headEnd type="none" w="med" len="med"/>
                  <a:tailEnd type="none" w="med" len="med"/>
                </a:ln>
                <a:solidFill>
                  <a:srgbClr val="000000"/>
                </a:solidFill>
                <a:latin typeface="Calibri"/>
                <a:cs typeface="Calibri"/>
                <a:sym typeface="Wingdings"/>
              </a:rPr>
              <a:t> </a:t>
            </a:r>
            <a:r>
              <a:rPr sz="1350" dirty="0">
                <a:ln w="9525" cap="flat" cmpd="sng" algn="ctr">
                  <a:noFill/>
                  <a:prstDash val="solid"/>
                  <a:round/>
                  <a:headEnd type="none" w="med" len="med"/>
                  <a:tailEnd type="none" w="med" len="med"/>
                </a:ln>
                <a:solidFill>
                  <a:srgbClr val="000000"/>
                </a:solidFill>
                <a:latin typeface="Calibri"/>
                <a:cs typeface="Calibri"/>
                <a:sym typeface="Wingdings"/>
              </a:rPr>
              <a:t>e la</a:t>
            </a:r>
            <a:r>
              <a:rPr sz="1350" spc="15" dirty="0">
                <a:ln w="9525" cap="flat" cmpd="sng" algn="ctr">
                  <a:noFill/>
                  <a:prstDash val="solid"/>
                  <a:round/>
                  <a:headEnd type="none" w="med" len="med"/>
                  <a:tailEnd type="none" w="med" len="med"/>
                </a:ln>
                <a:solidFill>
                  <a:srgbClr val="000000"/>
                </a:solidFill>
                <a:latin typeface="Calibri"/>
                <a:cs typeface="Calibri"/>
                <a:sym typeface="Wingdings"/>
              </a:rPr>
              <a:t> </a:t>
            </a:r>
            <a:r>
              <a:rPr sz="1350" dirty="0" err="1">
                <a:ln w="9525" cap="flat" cmpd="sng" algn="ctr">
                  <a:noFill/>
                  <a:prstDash val="solid"/>
                  <a:round/>
                  <a:headEnd type="none" w="med" len="med"/>
                  <a:tailEnd type="none" w="med" len="med"/>
                </a:ln>
                <a:solidFill>
                  <a:srgbClr val="000000"/>
                </a:solidFill>
                <a:latin typeface="Calibri"/>
                <a:cs typeface="Calibri"/>
                <a:sym typeface="Wingdings"/>
              </a:rPr>
              <a:t>gestione</a:t>
            </a:r>
            <a:r>
              <a:rPr sz="1350" spc="11" dirty="0">
                <a:ln w="9525" cap="flat" cmpd="sng" algn="ctr">
                  <a:noFill/>
                  <a:prstDash val="solid"/>
                  <a:round/>
                  <a:headEnd type="none" w="med" len="med"/>
                  <a:tailEnd type="none" w="med" len="med"/>
                </a:ln>
                <a:solidFill>
                  <a:srgbClr val="000000"/>
                </a:solidFill>
                <a:latin typeface="Calibri"/>
                <a:cs typeface="Calibri"/>
                <a:sym typeface="Wingdings"/>
              </a:rPr>
              <a:t> </a:t>
            </a:r>
            <a:r>
              <a:rPr sz="1350" dirty="0" err="1">
                <a:ln w="9525" cap="flat" cmpd="sng" algn="ctr">
                  <a:noFill/>
                  <a:prstDash val="solid"/>
                  <a:round/>
                  <a:headEnd type="none" w="med" len="med"/>
                  <a:tailEnd type="none" w="med" len="med"/>
                </a:ln>
                <a:solidFill>
                  <a:srgbClr val="000000"/>
                </a:solidFill>
                <a:latin typeface="Calibri"/>
                <a:cs typeface="Calibri"/>
                <a:sym typeface="Wingdings"/>
              </a:rPr>
              <a:t>degli</a:t>
            </a:r>
            <a:r>
              <a:rPr sz="1350" dirty="0">
                <a:ln w="9525" cap="flat" cmpd="sng" algn="ctr">
                  <a:noFill/>
                  <a:prstDash val="solid"/>
                  <a:round/>
                  <a:headEnd type="none" w="med" len="med"/>
                  <a:tailEnd type="none" w="med" len="med"/>
                </a:ln>
                <a:solidFill>
                  <a:srgbClr val="000000"/>
                </a:solidFill>
                <a:latin typeface="Calibri"/>
                <a:cs typeface="Calibri"/>
                <a:sym typeface="Wingdings"/>
              </a:rPr>
              <a:t> </a:t>
            </a:r>
            <a:r>
              <a:rPr sz="1350" dirty="0" err="1">
                <a:ln w="9525" cap="flat" cmpd="sng" algn="ctr">
                  <a:noFill/>
                  <a:prstDash val="solid"/>
                  <a:round/>
                  <a:headEnd type="none" w="med" len="med"/>
                  <a:tailEnd type="none" w="med" len="med"/>
                </a:ln>
                <a:solidFill>
                  <a:srgbClr val="000000"/>
                </a:solidFill>
                <a:latin typeface="Calibri"/>
                <a:cs typeface="Calibri"/>
                <a:sym typeface="Wingdings"/>
              </a:rPr>
              <a:t>eventi</a:t>
            </a:r>
            <a:r>
              <a:rPr sz="1350" dirty="0">
                <a:ln w="9525" cap="flat" cmpd="sng" algn="ctr">
                  <a:noFill/>
                  <a:prstDash val="solid"/>
                  <a:round/>
                  <a:headEnd type="none" w="med" len="med"/>
                  <a:tailEnd type="none" w="med" len="med"/>
                </a:ln>
                <a:solidFill>
                  <a:srgbClr val="000000"/>
                </a:solidFill>
                <a:latin typeface="Calibri"/>
                <a:cs typeface="Calibri"/>
                <a:sym typeface="Wingdings"/>
              </a:rPr>
              <a:t> </a:t>
            </a:r>
            <a:r>
              <a:rPr sz="1350" dirty="0" err="1">
                <a:ln w="9525" cap="flat" cmpd="sng" algn="ctr">
                  <a:noFill/>
                  <a:prstDash val="solid"/>
                  <a:round/>
                  <a:headEnd type="none" w="med" len="med"/>
                  <a:tailEnd type="none" w="med" len="med"/>
                </a:ln>
                <a:solidFill>
                  <a:srgbClr val="000000"/>
                </a:solidFill>
                <a:latin typeface="Calibri"/>
                <a:cs typeface="Calibri"/>
                <a:sym typeface="Wingdings"/>
              </a:rPr>
              <a:t>su</a:t>
            </a:r>
            <a:r>
              <a:rPr sz="1350" dirty="0">
                <a:ln w="9525" cap="flat" cmpd="sng" algn="ctr">
                  <a:noFill/>
                  <a:prstDash val="solid"/>
                  <a:round/>
                  <a:headEnd type="none" w="med" len="med"/>
                  <a:tailEnd type="none" w="med" len="med"/>
                </a:ln>
                <a:solidFill>
                  <a:srgbClr val="000000"/>
                </a:solidFill>
                <a:latin typeface="Calibri"/>
                <a:cs typeface="Calibri"/>
                <a:sym typeface="Wingdings"/>
              </a:rPr>
              <a:t> </a:t>
            </a:r>
            <a:r>
              <a:rPr sz="1350" spc="-11" dirty="0" err="1">
                <a:ln w="9525" cap="flat" cmpd="sng" algn="ctr">
                  <a:noFill/>
                  <a:prstDash val="solid"/>
                  <a:round/>
                  <a:headEnd type="none" w="med" len="med"/>
                  <a:tailEnd type="none" w="med" len="med"/>
                </a:ln>
                <a:solidFill>
                  <a:srgbClr val="000000"/>
                </a:solidFill>
                <a:latin typeface="Calibri"/>
                <a:cs typeface="Calibri"/>
                <a:sym typeface="Wingdings"/>
              </a:rPr>
              <a:t>tutte</a:t>
            </a:r>
            <a:r>
              <a:rPr sz="1350" spc="25" dirty="0">
                <a:ln w="9525" cap="flat" cmpd="sng" algn="ctr">
                  <a:noFill/>
                  <a:prstDash val="solid"/>
                  <a:round/>
                  <a:headEnd type="none" w="med" len="med"/>
                  <a:tailEnd type="none" w="med" len="med"/>
                </a:ln>
                <a:solidFill>
                  <a:srgbClr val="000000"/>
                </a:solidFill>
                <a:latin typeface="Calibri"/>
                <a:cs typeface="Calibri"/>
                <a:sym typeface="Wingdings"/>
              </a:rPr>
              <a:t> </a:t>
            </a:r>
            <a:r>
              <a:rPr sz="1350" dirty="0">
                <a:ln w="9525" cap="flat" cmpd="sng" algn="ctr">
                  <a:noFill/>
                  <a:prstDash val="solid"/>
                  <a:round/>
                  <a:headEnd type="none" w="med" len="med"/>
                  <a:tailEnd type="none" w="med" len="med"/>
                </a:ln>
                <a:solidFill>
                  <a:srgbClr val="000000"/>
                </a:solidFill>
                <a:latin typeface="Calibri"/>
                <a:cs typeface="Calibri"/>
                <a:sym typeface="Wingdings"/>
              </a:rPr>
              <a:t>le</a:t>
            </a:r>
            <a:r>
              <a:rPr sz="1350" spc="17" dirty="0">
                <a:ln w="9525" cap="flat" cmpd="sng" algn="ctr">
                  <a:noFill/>
                  <a:prstDash val="solid"/>
                  <a:round/>
                  <a:headEnd type="none" w="med" len="med"/>
                  <a:tailEnd type="none" w="med" len="med"/>
                </a:ln>
                <a:solidFill>
                  <a:srgbClr val="000000"/>
                </a:solidFill>
                <a:latin typeface="Calibri"/>
                <a:cs typeface="Calibri"/>
                <a:sym typeface="Wingdings"/>
              </a:rPr>
              <a:t> </a:t>
            </a:r>
            <a:r>
              <a:rPr sz="1350" spc="-15" dirty="0" err="1">
                <a:ln w="9525" cap="flat" cmpd="sng" algn="ctr">
                  <a:noFill/>
                  <a:prstDash val="solid"/>
                  <a:round/>
                  <a:headEnd type="none" w="med" len="med"/>
                  <a:tailEnd type="none" w="med" len="med"/>
                </a:ln>
                <a:solidFill>
                  <a:srgbClr val="000000"/>
                </a:solidFill>
                <a:latin typeface="Calibri"/>
                <a:cs typeface="Calibri"/>
                <a:sym typeface="Wingdings"/>
              </a:rPr>
              <a:t>tratte</a:t>
            </a:r>
            <a:r>
              <a:rPr sz="1350" spc="20" dirty="0">
                <a:ln w="9525" cap="flat" cmpd="sng" algn="ctr">
                  <a:noFill/>
                  <a:prstDash val="solid"/>
                  <a:round/>
                  <a:headEnd type="none" w="med" len="med"/>
                  <a:tailEnd type="none" w="med" len="med"/>
                </a:ln>
                <a:solidFill>
                  <a:srgbClr val="000000"/>
                </a:solidFill>
                <a:latin typeface="Calibri"/>
                <a:cs typeface="Calibri"/>
                <a:sym typeface="Wingdings"/>
              </a:rPr>
              <a:t> </a:t>
            </a:r>
            <a:r>
              <a:rPr sz="1350" dirty="0">
                <a:ln w="9525" cap="flat" cmpd="sng" algn="ctr">
                  <a:noFill/>
                  <a:prstDash val="solid"/>
                  <a:round/>
                  <a:headEnd type="none" w="med" len="med"/>
                  <a:tailEnd type="none" w="med" len="med"/>
                </a:ln>
                <a:solidFill>
                  <a:srgbClr val="000000"/>
                </a:solidFill>
                <a:latin typeface="Calibri"/>
                <a:cs typeface="Calibri"/>
                <a:sym typeface="Wingdings"/>
              </a:rPr>
              <a:t>«</a:t>
            </a:r>
            <a:r>
              <a:rPr sz="1350" i="1" dirty="0">
                <a:ln w="9525" cap="flat" cmpd="sng" algn="ctr">
                  <a:noFill/>
                  <a:prstDash val="solid"/>
                  <a:round/>
                  <a:headEnd type="none" w="med" len="med"/>
                  <a:tailEnd type="none" w="med" len="med"/>
                </a:ln>
                <a:solidFill>
                  <a:srgbClr val="000000"/>
                </a:solidFill>
                <a:latin typeface="Calibri"/>
                <a:cs typeface="Calibri"/>
                <a:sym typeface="Wingdings"/>
              </a:rPr>
              <a:t>Anas Smart </a:t>
            </a:r>
            <a:r>
              <a:rPr sz="1350" i="1" spc="-8" dirty="0">
                <a:ln w="9525" cap="flat" cmpd="sng" algn="ctr">
                  <a:noFill/>
                  <a:prstDash val="solid"/>
                  <a:round/>
                  <a:headEnd type="none" w="med" len="med"/>
                  <a:tailEnd type="none" w="med" len="med"/>
                </a:ln>
                <a:solidFill>
                  <a:srgbClr val="000000"/>
                </a:solidFill>
                <a:latin typeface="Calibri"/>
                <a:cs typeface="Calibri"/>
                <a:sym typeface="Wingdings"/>
              </a:rPr>
              <a:t>Road</a:t>
            </a:r>
            <a:r>
              <a:rPr sz="1350" dirty="0">
                <a:ln w="9525" cap="flat" cmpd="sng" algn="ctr">
                  <a:noFill/>
                  <a:prstDash val="solid"/>
                  <a:round/>
                  <a:headEnd type="none" w="med" len="med"/>
                  <a:tailEnd type="none" w="med" len="med"/>
                </a:ln>
                <a:solidFill>
                  <a:srgbClr val="000000"/>
                </a:solidFill>
                <a:latin typeface="Calibri"/>
                <a:cs typeface="Calibri"/>
                <a:sym typeface="Wingdings"/>
              </a:rPr>
              <a:t>»</a:t>
            </a:r>
          </a:p>
          <a:p>
            <a:pPr>
              <a:lnSpc>
                <a:spcPts val="1620"/>
              </a:lnSpc>
              <a:defRPr/>
            </a:pPr>
            <a:r>
              <a:rPr sz="1350" dirty="0">
                <a:ln w="9525" cap="flat" cmpd="sng" algn="ctr">
                  <a:noFill/>
                  <a:prstDash val="solid"/>
                  <a:round/>
                  <a:headEnd type="none" w="med" len="med"/>
                  <a:tailEnd type="none" w="med" len="med"/>
                </a:ln>
                <a:solidFill>
                  <a:srgbClr val="000000"/>
                </a:solidFill>
                <a:latin typeface="Arial"/>
                <a:sym typeface="Wingdings"/>
              </a:rPr>
              <a:t>•</a:t>
            </a:r>
            <a:r>
              <a:rPr sz="1350" spc="882" dirty="0">
                <a:ln w="9525" cap="flat" cmpd="sng" algn="ctr">
                  <a:noFill/>
                  <a:prstDash val="solid"/>
                  <a:round/>
                  <a:headEnd type="none" w="med" len="med"/>
                  <a:tailEnd type="none" w="med" len="med"/>
                </a:ln>
                <a:solidFill>
                  <a:srgbClr val="000000"/>
                </a:solidFill>
                <a:latin typeface="Times New Roman"/>
                <a:cs typeface="Times New Roman"/>
                <a:sym typeface="Wingdings"/>
              </a:rPr>
              <a:t> </a:t>
            </a:r>
            <a:r>
              <a:rPr sz="1350" b="1" dirty="0">
                <a:ln w="9525" cap="flat" cmpd="sng" algn="ctr">
                  <a:noFill/>
                  <a:prstDash val="solid"/>
                  <a:round/>
                  <a:headEnd type="none" w="med" len="med"/>
                  <a:tailEnd type="none" w="med" len="med"/>
                </a:ln>
                <a:solidFill>
                  <a:srgbClr val="000000"/>
                </a:solidFill>
                <a:latin typeface="Calibri"/>
                <a:cs typeface="Calibri"/>
                <a:sym typeface="Wingdings"/>
              </a:rPr>
              <a:t>Sala </a:t>
            </a:r>
            <a:r>
              <a:rPr sz="1350" b="1" dirty="0" err="1">
                <a:ln w="9525" cap="flat" cmpd="sng" algn="ctr">
                  <a:noFill/>
                  <a:prstDash val="solid"/>
                  <a:round/>
                  <a:headEnd type="none" w="med" len="med"/>
                  <a:tailEnd type="none" w="med" len="med"/>
                </a:ln>
                <a:solidFill>
                  <a:srgbClr val="000000"/>
                </a:solidFill>
                <a:latin typeface="Calibri"/>
                <a:cs typeface="Calibri"/>
                <a:sym typeface="Wingdings"/>
              </a:rPr>
              <a:t>convegni</a:t>
            </a:r>
            <a:r>
              <a:rPr sz="1350" b="1" spc="-21" dirty="0">
                <a:ln w="9525" cap="flat" cmpd="sng" algn="ctr">
                  <a:noFill/>
                  <a:prstDash val="solid"/>
                  <a:round/>
                  <a:headEnd type="none" w="med" len="med"/>
                  <a:tailEnd type="none" w="med" len="med"/>
                </a:ln>
                <a:solidFill>
                  <a:srgbClr val="000000"/>
                </a:solidFill>
                <a:latin typeface="Calibri"/>
                <a:cs typeface="Calibri"/>
                <a:sym typeface="Wingdings"/>
              </a:rPr>
              <a:t> </a:t>
            </a:r>
            <a:r>
              <a:rPr sz="1350" dirty="0">
                <a:ln w="9525" cap="flat" cmpd="sng" algn="ctr">
                  <a:noFill/>
                  <a:prstDash val="solid"/>
                  <a:round/>
                  <a:headEnd type="none" w="med" len="med"/>
                  <a:tailEnd type="none" w="med" len="med"/>
                </a:ln>
                <a:solidFill>
                  <a:srgbClr val="000000"/>
                </a:solidFill>
                <a:latin typeface="Calibri"/>
                <a:cs typeface="Calibri"/>
                <a:sym typeface="Wingdings"/>
              </a:rPr>
              <a:t>per </a:t>
            </a:r>
            <a:r>
              <a:rPr sz="1350" dirty="0" err="1">
                <a:ln w="9525" cap="flat" cmpd="sng" algn="ctr">
                  <a:noFill/>
                  <a:prstDash val="solid"/>
                  <a:round/>
                  <a:headEnd type="none" w="med" len="med"/>
                  <a:tailEnd type="none" w="med" len="med"/>
                </a:ln>
                <a:solidFill>
                  <a:srgbClr val="000000"/>
                </a:solidFill>
                <a:latin typeface="Calibri"/>
                <a:cs typeface="Calibri"/>
                <a:sym typeface="Wingdings"/>
              </a:rPr>
              <a:t>ospitare</a:t>
            </a:r>
            <a:r>
              <a:rPr sz="1350" spc="11" dirty="0">
                <a:ln w="9525" cap="flat" cmpd="sng" algn="ctr">
                  <a:noFill/>
                  <a:prstDash val="solid"/>
                  <a:round/>
                  <a:headEnd type="none" w="med" len="med"/>
                  <a:tailEnd type="none" w="med" len="med"/>
                </a:ln>
                <a:solidFill>
                  <a:srgbClr val="000000"/>
                </a:solidFill>
                <a:latin typeface="Calibri"/>
                <a:cs typeface="Calibri"/>
                <a:sym typeface="Wingdings"/>
              </a:rPr>
              <a:t> </a:t>
            </a:r>
            <a:r>
              <a:rPr sz="1350" dirty="0">
                <a:ln w="9525" cap="flat" cmpd="sng" algn="ctr">
                  <a:noFill/>
                  <a:prstDash val="solid"/>
                  <a:round/>
                  <a:headEnd type="none" w="med" len="med"/>
                  <a:tailEnd type="none" w="med" len="med"/>
                </a:ln>
                <a:solidFill>
                  <a:srgbClr val="000000"/>
                </a:solidFill>
                <a:latin typeface="Calibri"/>
                <a:cs typeface="Calibri"/>
                <a:sym typeface="Wingdings"/>
              </a:rPr>
              <a:t>meeting</a:t>
            </a:r>
            <a:r>
              <a:rPr sz="1350" spc="15" dirty="0">
                <a:ln w="9525" cap="flat" cmpd="sng" algn="ctr">
                  <a:noFill/>
                  <a:prstDash val="solid"/>
                  <a:round/>
                  <a:headEnd type="none" w="med" len="med"/>
                  <a:tailEnd type="none" w="med" len="med"/>
                </a:ln>
                <a:solidFill>
                  <a:srgbClr val="000000"/>
                </a:solidFill>
                <a:latin typeface="Calibri"/>
                <a:cs typeface="Calibri"/>
                <a:sym typeface="Wingdings"/>
              </a:rPr>
              <a:t> </a:t>
            </a:r>
            <a:r>
              <a:rPr sz="1350" dirty="0" err="1">
                <a:ln w="9525" cap="flat" cmpd="sng" algn="ctr">
                  <a:noFill/>
                  <a:prstDash val="solid"/>
                  <a:round/>
                  <a:headEnd type="none" w="med" len="med"/>
                  <a:tailEnd type="none" w="med" len="med"/>
                </a:ln>
                <a:solidFill>
                  <a:srgbClr val="000000"/>
                </a:solidFill>
                <a:latin typeface="Calibri"/>
                <a:cs typeface="Calibri"/>
                <a:sym typeface="Wingdings"/>
              </a:rPr>
              <a:t>nazionali</a:t>
            </a:r>
            <a:r>
              <a:rPr sz="1350" spc="15" dirty="0">
                <a:ln w="9525" cap="flat" cmpd="sng" algn="ctr">
                  <a:noFill/>
                  <a:prstDash val="solid"/>
                  <a:round/>
                  <a:headEnd type="none" w="med" len="med"/>
                  <a:tailEnd type="none" w="med" len="med"/>
                </a:ln>
                <a:solidFill>
                  <a:srgbClr val="000000"/>
                </a:solidFill>
                <a:latin typeface="Calibri"/>
                <a:cs typeface="Calibri"/>
                <a:sym typeface="Wingdings"/>
              </a:rPr>
              <a:t> </a:t>
            </a:r>
            <a:r>
              <a:rPr sz="1350" dirty="0">
                <a:ln w="9525" cap="flat" cmpd="sng" algn="ctr">
                  <a:noFill/>
                  <a:prstDash val="solid"/>
                  <a:round/>
                  <a:headEnd type="none" w="med" len="med"/>
                  <a:tailEnd type="none" w="med" len="med"/>
                </a:ln>
                <a:solidFill>
                  <a:srgbClr val="000000"/>
                </a:solidFill>
                <a:latin typeface="Calibri"/>
                <a:cs typeface="Calibri"/>
                <a:sym typeface="Wingdings"/>
              </a:rPr>
              <a:t>ed</a:t>
            </a:r>
            <a:r>
              <a:rPr sz="1350" spc="8" dirty="0">
                <a:ln w="9525" cap="flat" cmpd="sng" algn="ctr">
                  <a:noFill/>
                  <a:prstDash val="solid"/>
                  <a:round/>
                  <a:headEnd type="none" w="med" len="med"/>
                  <a:tailEnd type="none" w="med" len="med"/>
                </a:ln>
                <a:solidFill>
                  <a:srgbClr val="000000"/>
                </a:solidFill>
                <a:latin typeface="Calibri"/>
                <a:cs typeface="Calibri"/>
                <a:sym typeface="Wingdings"/>
              </a:rPr>
              <a:t> </a:t>
            </a:r>
            <a:r>
              <a:rPr sz="1350" dirty="0" err="1">
                <a:ln w="9525" cap="flat" cmpd="sng" algn="ctr">
                  <a:noFill/>
                  <a:prstDash val="solid"/>
                  <a:round/>
                  <a:headEnd type="none" w="med" len="med"/>
                  <a:tailEnd type="none" w="med" len="med"/>
                </a:ln>
                <a:solidFill>
                  <a:srgbClr val="000000"/>
                </a:solidFill>
                <a:latin typeface="Calibri"/>
                <a:cs typeface="Calibri"/>
                <a:sym typeface="Wingdings"/>
              </a:rPr>
              <a:t>internazionali</a:t>
            </a:r>
            <a:endParaRPr sz="1350" dirty="0">
              <a:ln w="9525" cap="flat" cmpd="sng" algn="ctr">
                <a:noFill/>
                <a:prstDash val="solid"/>
                <a:round/>
                <a:headEnd type="none" w="med" len="med"/>
                <a:tailEnd type="none" w="med" len="med"/>
              </a:ln>
              <a:solidFill>
                <a:srgbClr val="000000"/>
              </a:solidFill>
              <a:latin typeface="Calibri"/>
              <a:cs typeface="Calibri"/>
              <a:sym typeface="Wingdings"/>
            </a:endParaRPr>
          </a:p>
        </p:txBody>
      </p:sp>
      <p:sp>
        <p:nvSpPr>
          <p:cNvPr id="6" name="object 6"/>
          <p:cNvSpPr txBox="1"/>
          <p:nvPr>
            <p:custDataLst>
              <p:tags r:id="rId5"/>
            </p:custDataLst>
          </p:nvPr>
        </p:nvSpPr>
        <p:spPr>
          <a:xfrm>
            <a:off x="420291" y="2546747"/>
            <a:ext cx="6416278" cy="205184"/>
          </a:xfrm>
          <a:prstGeom prst="rect">
            <a:avLst/>
          </a:prstGeom>
          <a:noFill/>
          <a:ln w="9525" cap="flat" cmpd="sng" algn="ctr">
            <a:noFill/>
            <a:prstDash val="solid"/>
            <a:round/>
            <a:headEnd type="none" w="med" len="med"/>
            <a:tailEnd type="none" w="med" len="med"/>
          </a:ln>
        </p:spPr>
        <p:txBody>
          <a:bodyPr lIns="0" tIns="0" rIns="0" bIns="0">
            <a:spAutoFit/>
          </a:bodyPr>
          <a:lstStyle/>
          <a:p>
            <a:pPr>
              <a:lnSpc>
                <a:spcPts val="1648"/>
              </a:lnSpc>
              <a:defRPr/>
            </a:pPr>
            <a:r>
              <a:rPr sz="1350" dirty="0">
                <a:ln w="9525" cap="flat" cmpd="sng" algn="ctr">
                  <a:noFill/>
                  <a:prstDash val="solid"/>
                  <a:round/>
                  <a:headEnd type="none" w="med" len="med"/>
                  <a:tailEnd type="none" w="med" len="med"/>
                </a:ln>
                <a:solidFill>
                  <a:srgbClr val="000000"/>
                </a:solidFill>
                <a:latin typeface="Arial"/>
                <a:sym typeface="Wingdings"/>
              </a:rPr>
              <a:t>•</a:t>
            </a:r>
            <a:r>
              <a:rPr sz="1350" spc="882" dirty="0">
                <a:ln w="9525" cap="flat" cmpd="sng" algn="ctr">
                  <a:noFill/>
                  <a:prstDash val="solid"/>
                  <a:round/>
                  <a:headEnd type="none" w="med" len="med"/>
                  <a:tailEnd type="none" w="med" len="med"/>
                </a:ln>
                <a:solidFill>
                  <a:srgbClr val="000000"/>
                </a:solidFill>
                <a:latin typeface="Times New Roman"/>
                <a:cs typeface="Times New Roman"/>
                <a:sym typeface="Wingdings"/>
              </a:rPr>
              <a:t> </a:t>
            </a:r>
            <a:r>
              <a:rPr sz="1350" b="1" dirty="0">
                <a:ln w="9525" cap="flat" cmpd="sng" algn="ctr">
                  <a:noFill/>
                  <a:prstDash val="solid"/>
                  <a:round/>
                  <a:headEnd type="none" w="med" len="med"/>
                  <a:tailEnd type="none" w="med" len="med"/>
                </a:ln>
                <a:solidFill>
                  <a:srgbClr val="000000"/>
                </a:solidFill>
                <a:latin typeface="Calibri"/>
                <a:cs typeface="Calibri"/>
                <a:sym typeface="Wingdings"/>
              </a:rPr>
              <a:t>“</a:t>
            </a:r>
            <a:r>
              <a:rPr sz="1350" b="1" i="1" dirty="0">
                <a:ln w="9525" cap="flat" cmpd="sng" algn="ctr">
                  <a:noFill/>
                  <a:prstDash val="solid"/>
                  <a:round/>
                  <a:headEnd type="none" w="med" len="med"/>
                  <a:tailEnd type="none" w="med" len="med"/>
                </a:ln>
                <a:solidFill>
                  <a:srgbClr val="000000"/>
                </a:solidFill>
                <a:latin typeface="Calibri"/>
                <a:cs typeface="Calibri"/>
                <a:sym typeface="Wingdings"/>
              </a:rPr>
              <a:t>Innovation</a:t>
            </a:r>
            <a:r>
              <a:rPr sz="1350" b="1" i="1" spc="8" dirty="0">
                <a:ln w="9525" cap="flat" cmpd="sng" algn="ctr">
                  <a:noFill/>
                  <a:prstDash val="solid"/>
                  <a:round/>
                  <a:headEnd type="none" w="med" len="med"/>
                  <a:tailEnd type="none" w="med" len="med"/>
                </a:ln>
                <a:solidFill>
                  <a:srgbClr val="000000"/>
                </a:solidFill>
                <a:latin typeface="Calibri"/>
                <a:cs typeface="Calibri"/>
                <a:sym typeface="Wingdings"/>
              </a:rPr>
              <a:t> </a:t>
            </a:r>
            <a:r>
              <a:rPr sz="1350" b="1" i="1" dirty="0">
                <a:ln w="9525" cap="flat" cmpd="sng" algn="ctr">
                  <a:noFill/>
                  <a:prstDash val="solid"/>
                  <a:round/>
                  <a:headEnd type="none" w="med" len="med"/>
                  <a:tailEnd type="none" w="med" len="med"/>
                </a:ln>
                <a:solidFill>
                  <a:srgbClr val="000000"/>
                </a:solidFill>
                <a:latin typeface="Calibri"/>
                <a:cs typeface="Calibri"/>
                <a:sym typeface="Wingdings"/>
              </a:rPr>
              <a:t>Hub</a:t>
            </a:r>
            <a:r>
              <a:rPr sz="1350" b="1" dirty="0">
                <a:ln w="9525" cap="flat" cmpd="sng" algn="ctr">
                  <a:noFill/>
                  <a:prstDash val="solid"/>
                  <a:round/>
                  <a:headEnd type="none" w="med" len="med"/>
                  <a:tailEnd type="none" w="med" len="med"/>
                </a:ln>
                <a:solidFill>
                  <a:srgbClr val="000000"/>
                </a:solidFill>
                <a:latin typeface="Calibri"/>
                <a:cs typeface="Calibri"/>
                <a:sym typeface="Wingdings"/>
              </a:rPr>
              <a:t>”</a:t>
            </a:r>
            <a:r>
              <a:rPr sz="1350" b="1" spc="16" dirty="0">
                <a:ln w="9525" cap="flat" cmpd="sng" algn="ctr">
                  <a:noFill/>
                  <a:prstDash val="solid"/>
                  <a:round/>
                  <a:headEnd type="none" w="med" len="med"/>
                  <a:tailEnd type="none" w="med" len="med"/>
                </a:ln>
                <a:solidFill>
                  <a:srgbClr val="000000"/>
                </a:solidFill>
                <a:latin typeface="Calibri"/>
                <a:cs typeface="Calibri"/>
                <a:sym typeface="Wingdings"/>
              </a:rPr>
              <a:t> </a:t>
            </a:r>
            <a:r>
              <a:rPr sz="1350" dirty="0">
                <a:ln w="9525" cap="flat" cmpd="sng" algn="ctr">
                  <a:noFill/>
                  <a:prstDash val="solid"/>
                  <a:round/>
                  <a:headEnd type="none" w="med" len="med"/>
                  <a:tailEnd type="none" w="med" len="med"/>
                </a:ln>
                <a:solidFill>
                  <a:srgbClr val="000000"/>
                </a:solidFill>
                <a:latin typeface="Calibri"/>
                <a:cs typeface="Calibri"/>
                <a:sym typeface="Wingdings"/>
              </a:rPr>
              <a:t>del network di </a:t>
            </a:r>
            <a:r>
              <a:rPr sz="1350" dirty="0" err="1">
                <a:ln w="9525" cap="flat" cmpd="sng" algn="ctr">
                  <a:noFill/>
                  <a:prstDash val="solid"/>
                  <a:round/>
                  <a:headEnd type="none" w="med" len="med"/>
                  <a:tailEnd type="none" w="med" len="med"/>
                </a:ln>
                <a:solidFill>
                  <a:srgbClr val="000000"/>
                </a:solidFill>
                <a:latin typeface="Calibri"/>
                <a:cs typeface="Calibri"/>
                <a:sym typeface="Wingdings"/>
              </a:rPr>
              <a:t>innovazione</a:t>
            </a:r>
            <a:r>
              <a:rPr sz="1350" spc="28" dirty="0">
                <a:ln w="9525" cap="flat" cmpd="sng" algn="ctr">
                  <a:noFill/>
                  <a:prstDash val="solid"/>
                  <a:round/>
                  <a:headEnd type="none" w="med" len="med"/>
                  <a:tailEnd type="none" w="med" len="med"/>
                </a:ln>
                <a:solidFill>
                  <a:srgbClr val="000000"/>
                </a:solidFill>
                <a:latin typeface="Calibri"/>
                <a:cs typeface="Calibri"/>
                <a:sym typeface="Wingdings"/>
              </a:rPr>
              <a:t> </a:t>
            </a:r>
            <a:r>
              <a:rPr sz="1350" dirty="0">
                <a:ln w="9525" cap="flat" cmpd="sng" algn="ctr">
                  <a:noFill/>
                  <a:prstDash val="solid"/>
                  <a:round/>
                  <a:headEnd type="none" w="med" len="med"/>
                  <a:tailEnd type="none" w="med" len="med"/>
                </a:ln>
                <a:solidFill>
                  <a:srgbClr val="000000"/>
                </a:solidFill>
                <a:latin typeface="Calibri"/>
                <a:cs typeface="Calibri"/>
                <a:sym typeface="Wingdings"/>
              </a:rPr>
              <a:t>del “Gruppo</a:t>
            </a:r>
            <a:r>
              <a:rPr sz="1350" spc="19" dirty="0">
                <a:ln w="9525" cap="flat" cmpd="sng" algn="ctr">
                  <a:noFill/>
                  <a:prstDash val="solid"/>
                  <a:round/>
                  <a:headEnd type="none" w="med" len="med"/>
                  <a:tailEnd type="none" w="med" len="med"/>
                </a:ln>
                <a:solidFill>
                  <a:srgbClr val="000000"/>
                </a:solidFill>
                <a:latin typeface="Calibri"/>
                <a:cs typeface="Calibri"/>
                <a:sym typeface="Wingdings"/>
              </a:rPr>
              <a:t> </a:t>
            </a:r>
            <a:r>
              <a:rPr sz="1350" dirty="0" err="1">
                <a:ln w="9525" cap="flat" cmpd="sng" algn="ctr">
                  <a:noFill/>
                  <a:prstDash val="solid"/>
                  <a:round/>
                  <a:headEnd type="none" w="med" len="med"/>
                  <a:tailEnd type="none" w="med" len="med"/>
                </a:ln>
                <a:solidFill>
                  <a:srgbClr val="000000"/>
                </a:solidFill>
                <a:latin typeface="Calibri"/>
                <a:cs typeface="Calibri"/>
                <a:sym typeface="Wingdings"/>
              </a:rPr>
              <a:t>Ferrovie</a:t>
            </a:r>
            <a:r>
              <a:rPr sz="1350" dirty="0">
                <a:ln w="9525" cap="flat" cmpd="sng" algn="ctr">
                  <a:noFill/>
                  <a:prstDash val="solid"/>
                  <a:round/>
                  <a:headEnd type="none" w="med" len="med"/>
                  <a:tailEnd type="none" w="med" len="med"/>
                </a:ln>
                <a:solidFill>
                  <a:srgbClr val="000000"/>
                </a:solidFill>
                <a:latin typeface="Calibri"/>
                <a:cs typeface="Calibri"/>
                <a:sym typeface="Wingdings"/>
              </a:rPr>
              <a:t>”</a:t>
            </a:r>
          </a:p>
        </p:txBody>
      </p:sp>
      <p:sp>
        <p:nvSpPr>
          <p:cNvPr id="13319" name="object 7"/>
          <p:cNvSpPr>
            <a:spLocks noChangeArrowheads="1"/>
          </p:cNvSpPr>
          <p:nvPr>
            <p:custDataLst>
              <p:tags r:id="rId6"/>
            </p:custDataLst>
          </p:nvPr>
        </p:nvSpPr>
        <p:spPr bwMode="auto">
          <a:xfrm>
            <a:off x="8917781" y="5187554"/>
            <a:ext cx="210741"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lIns="0" tIns="0" rIns="0" bIns="0">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nSpc>
                <a:spcPts val="910"/>
              </a:lnSpc>
              <a:buSzPct val="100000"/>
            </a:pPr>
            <a:r>
              <a:rPr lang="it-IT" altLang="it-IT" sz="750" dirty="0">
                <a:solidFill>
                  <a:srgbClr val="FFFFFF"/>
                </a:solidFill>
                <a:cs typeface="Calibri" panose="020F0502020204030204" pitchFamily="34" charset="0"/>
              </a:rPr>
              <a:t>31</a:t>
            </a:r>
            <a:endParaRPr lang="ru-RU" altLang="it-IT" sz="750" dirty="0">
              <a:solidFill>
                <a:srgbClr val="FFFFFF"/>
              </a:solidFill>
              <a:cs typeface="Calibri" panose="020F0502020204030204" pitchFamily="34" charset="0"/>
            </a:endParaRPr>
          </a:p>
        </p:txBody>
      </p:sp>
      <p:graphicFrame>
        <p:nvGraphicFramePr>
          <p:cNvPr id="8" name="Diagramma 7"/>
          <p:cNvGraphicFramePr/>
          <p:nvPr>
            <p:extLst>
              <p:ext uri="{D42A27DB-BD31-4B8C-83A1-F6EECF244321}">
                <p14:modId xmlns:p14="http://schemas.microsoft.com/office/powerpoint/2010/main" val="379946744"/>
              </p:ext>
            </p:extLst>
          </p:nvPr>
        </p:nvGraphicFramePr>
        <p:xfrm>
          <a:off x="134978" y="16679"/>
          <a:ext cx="8286246" cy="811672"/>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2982075318"/>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object 1"/>
          <p:cNvSpPr>
            <a:spLocks noChangeArrowheads="1"/>
          </p:cNvSpPr>
          <p:nvPr>
            <p:custDataLst>
              <p:tags r:id="rId1"/>
            </p:custDataLst>
          </p:nvPr>
        </p:nvSpPr>
        <p:spPr bwMode="auto">
          <a:xfrm>
            <a:off x="83890" y="0"/>
            <a:ext cx="9060110" cy="5637402"/>
          </a:xfrm>
          <a:prstGeom prst="rect">
            <a:avLst/>
          </a:prstGeom>
          <a:blipFill dpi="0" rotWithShape="0">
            <a:blip r:embed="rId23"/>
            <a:srcRect/>
            <a:stretch>
              <a:fillRect/>
            </a:stretch>
          </a:blipFill>
          <a:ln>
            <a:noFill/>
          </a:ln>
          <a:extLst>
            <a:ext uri="{91240B29-F687-4F45-9708-019B960494DF}">
              <a14:hiddenLine xmlns:a14="http://schemas.microsoft.com/office/drawing/2010/main" w="9525" algn="ctr">
                <a:solidFill>
                  <a:srgbClr val="000000"/>
                </a:solidFill>
                <a:round/>
                <a:headEnd/>
                <a:tailEnd/>
              </a14:hiddenLine>
            </a:ext>
          </a:extLst>
        </p:spPr>
        <p:txBody>
          <a:bodyPr wrap="square" lIns="0" tIns="0" rIns="0" bIns="0">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buSzPct val="100000"/>
              <a:buFont typeface="Calibri" panose="020F0502020204030204" pitchFamily="34" charset="0"/>
              <a:buNone/>
            </a:pPr>
            <a:endParaRPr lang="it-IT" altLang="it-IT" sz="1350"/>
          </a:p>
        </p:txBody>
      </p:sp>
      <p:sp>
        <p:nvSpPr>
          <p:cNvPr id="3" name="object 3"/>
          <p:cNvSpPr txBox="1"/>
          <p:nvPr>
            <p:custDataLst>
              <p:tags r:id="rId2"/>
            </p:custDataLst>
          </p:nvPr>
        </p:nvSpPr>
        <p:spPr>
          <a:xfrm>
            <a:off x="353616" y="556023"/>
            <a:ext cx="1740694" cy="282129"/>
          </a:xfrm>
          <a:prstGeom prst="rect">
            <a:avLst/>
          </a:prstGeom>
          <a:noFill/>
          <a:ln w="9525" cap="flat" cmpd="sng" algn="ctr">
            <a:noFill/>
            <a:prstDash val="solid"/>
            <a:round/>
            <a:headEnd type="none" w="med" len="med"/>
            <a:tailEnd type="none" w="med" len="med"/>
          </a:ln>
        </p:spPr>
        <p:txBody>
          <a:bodyPr lIns="0" tIns="0" rIns="0" bIns="0">
            <a:spAutoFit/>
          </a:bodyPr>
          <a:lstStyle/>
          <a:p>
            <a:pPr>
              <a:lnSpc>
                <a:spcPts val="2197"/>
              </a:lnSpc>
              <a:defRPr/>
            </a:pPr>
            <a:r>
              <a:rPr b="1" spc="-14">
                <a:ln w="9525" cap="flat" cmpd="sng" algn="ctr">
                  <a:noFill/>
                  <a:prstDash val="solid"/>
                  <a:round/>
                  <a:headEnd type="none" w="med" len="med"/>
                  <a:tailEnd type="none" w="med" len="med"/>
                </a:ln>
                <a:solidFill>
                  <a:srgbClr val="DC002E"/>
                </a:solidFill>
                <a:latin typeface="Calibri"/>
                <a:cs typeface="Calibri"/>
                <a:sym typeface="Wingdings"/>
              </a:rPr>
              <a:t>Tecnologie </a:t>
            </a:r>
            <a:r>
              <a:rPr b="1">
                <a:ln w="9525" cap="flat" cmpd="sng" algn="ctr">
                  <a:noFill/>
                  <a:prstDash val="solid"/>
                  <a:round/>
                  <a:headEnd type="none" w="med" len="med"/>
                  <a:tailEnd type="none" w="med" len="med"/>
                </a:ln>
                <a:solidFill>
                  <a:srgbClr val="DC002E"/>
                </a:solidFill>
                <a:latin typeface="Calibri"/>
                <a:cs typeface="Calibri"/>
                <a:sym typeface="Wingdings"/>
              </a:rPr>
              <a:t>Smart</a:t>
            </a:r>
          </a:p>
        </p:txBody>
      </p:sp>
      <p:sp>
        <p:nvSpPr>
          <p:cNvPr id="4" name="object 4"/>
          <p:cNvSpPr txBox="1"/>
          <p:nvPr>
            <p:custDataLst>
              <p:tags r:id="rId3"/>
            </p:custDataLst>
          </p:nvPr>
        </p:nvSpPr>
        <p:spPr>
          <a:xfrm>
            <a:off x="4108848" y="1313260"/>
            <a:ext cx="1359694" cy="551433"/>
          </a:xfrm>
          <a:prstGeom prst="rect">
            <a:avLst/>
          </a:prstGeom>
          <a:noFill/>
          <a:ln w="9525" cap="flat" cmpd="sng" algn="ctr">
            <a:noFill/>
            <a:prstDash val="solid"/>
            <a:round/>
            <a:headEnd type="none" w="med" len="med"/>
            <a:tailEnd type="none" w="med" len="med"/>
          </a:ln>
        </p:spPr>
        <p:txBody>
          <a:bodyPr lIns="0" tIns="0" rIns="0" bIns="0">
            <a:spAutoFit/>
          </a:bodyPr>
          <a:lstStyle/>
          <a:p>
            <a:pPr>
              <a:lnSpc>
                <a:spcPts val="1463"/>
              </a:lnSpc>
              <a:defRPr/>
            </a:pPr>
            <a:r>
              <a:rPr sz="1200" b="1" spc="-11">
                <a:ln w="9525" cap="flat" cmpd="sng" algn="ctr">
                  <a:noFill/>
                  <a:prstDash val="solid"/>
                  <a:round/>
                  <a:headEnd type="none" w="med" len="med"/>
                  <a:tailEnd type="none" w="med" len="med"/>
                </a:ln>
                <a:solidFill>
                  <a:srgbClr val="FFFFFF"/>
                </a:solidFill>
                <a:latin typeface="Calibri"/>
                <a:cs typeface="Calibri"/>
                <a:sym typeface="Wingdings"/>
              </a:rPr>
              <a:t>HOTSPOT</a:t>
            </a:r>
            <a:r>
              <a:rPr sz="1200" b="1" spc="27">
                <a:ln w="9525" cap="flat" cmpd="sng" algn="ctr">
                  <a:noFill/>
                  <a:prstDash val="solid"/>
                  <a:round/>
                  <a:headEnd type="none" w="med" len="med"/>
                  <a:tailEnd type="none" w="med" len="med"/>
                </a:ln>
                <a:solidFill>
                  <a:srgbClr val="FFFFFF"/>
                </a:solidFill>
                <a:latin typeface="Calibri"/>
                <a:cs typeface="Calibri"/>
                <a:sym typeface="Wingdings"/>
              </a:rPr>
              <a:t> </a:t>
            </a:r>
            <a:r>
              <a:rPr sz="1200" b="1">
                <a:ln w="9525" cap="flat" cmpd="sng" algn="ctr">
                  <a:noFill/>
                  <a:prstDash val="solid"/>
                  <a:round/>
                  <a:headEnd type="none" w="med" len="med"/>
                  <a:tailEnd type="none" w="med" len="med"/>
                </a:ln>
                <a:solidFill>
                  <a:srgbClr val="FFFFFF"/>
                </a:solidFill>
                <a:latin typeface="Calibri"/>
                <a:cs typeface="Calibri"/>
                <a:sym typeface="Wingdings"/>
              </a:rPr>
              <a:t>WI-FI PER</a:t>
            </a:r>
          </a:p>
          <a:p>
            <a:pPr marL="25146">
              <a:lnSpc>
                <a:spcPts val="1442"/>
              </a:lnSpc>
              <a:defRPr/>
            </a:pPr>
            <a:r>
              <a:rPr sz="1200" b="1">
                <a:ln w="9525" cap="flat" cmpd="sng" algn="ctr">
                  <a:noFill/>
                  <a:prstDash val="solid"/>
                  <a:round/>
                  <a:headEnd type="none" w="med" len="med"/>
                  <a:tailEnd type="none" w="med" len="med"/>
                </a:ln>
                <a:solidFill>
                  <a:srgbClr val="FFFFFF"/>
                </a:solidFill>
                <a:latin typeface="Calibri"/>
                <a:cs typeface="Calibri"/>
                <a:sym typeface="Wingdings"/>
              </a:rPr>
              <a:t>CONNETTERSI</a:t>
            </a:r>
            <a:r>
              <a:rPr sz="1200" b="1" spc="-14">
                <a:ln w="9525" cap="flat" cmpd="sng" algn="ctr">
                  <a:noFill/>
                  <a:prstDash val="solid"/>
                  <a:round/>
                  <a:headEnd type="none" w="med" len="med"/>
                  <a:tailEnd type="none" w="med" len="med"/>
                </a:ln>
                <a:solidFill>
                  <a:srgbClr val="FFFFFF"/>
                </a:solidFill>
                <a:latin typeface="Calibri"/>
                <a:cs typeface="Calibri"/>
                <a:sym typeface="Wingdings"/>
              </a:rPr>
              <a:t> </a:t>
            </a:r>
            <a:r>
              <a:rPr sz="1200" b="1" spc="-8">
                <a:ln w="9525" cap="flat" cmpd="sng" algn="ctr">
                  <a:noFill/>
                  <a:prstDash val="solid"/>
                  <a:round/>
                  <a:headEnd type="none" w="med" len="med"/>
                  <a:tailEnd type="none" w="med" len="med"/>
                </a:ln>
                <a:solidFill>
                  <a:srgbClr val="FFFFFF"/>
                </a:solidFill>
                <a:latin typeface="Calibri"/>
                <a:cs typeface="Calibri"/>
                <a:sym typeface="Wingdings"/>
              </a:rPr>
              <a:t>CON</a:t>
            </a:r>
          </a:p>
          <a:p>
            <a:pPr marL="49149">
              <a:lnSpc>
                <a:spcPts val="1440"/>
              </a:lnSpc>
              <a:defRPr/>
            </a:pPr>
            <a:r>
              <a:rPr sz="1200" b="1">
                <a:ln w="9525" cap="flat" cmpd="sng" algn="ctr">
                  <a:noFill/>
                  <a:prstDash val="solid"/>
                  <a:round/>
                  <a:headEnd type="none" w="med" len="med"/>
                  <a:tailEnd type="none" w="med" len="med"/>
                </a:ln>
                <a:solidFill>
                  <a:srgbClr val="FFFFFF"/>
                </a:solidFill>
                <a:latin typeface="Calibri"/>
                <a:cs typeface="Calibri"/>
                <a:sym typeface="Wingdings"/>
              </a:rPr>
              <a:t>GLI SMARTPHONE</a:t>
            </a:r>
          </a:p>
        </p:txBody>
      </p:sp>
      <p:sp>
        <p:nvSpPr>
          <p:cNvPr id="5" name="object 5"/>
          <p:cNvSpPr txBox="1"/>
          <p:nvPr>
            <p:custDataLst>
              <p:tags r:id="rId4"/>
            </p:custDataLst>
          </p:nvPr>
        </p:nvSpPr>
        <p:spPr>
          <a:xfrm>
            <a:off x="1181101" y="1366838"/>
            <a:ext cx="1775222" cy="192360"/>
          </a:xfrm>
          <a:prstGeom prst="rect">
            <a:avLst/>
          </a:prstGeom>
          <a:noFill/>
          <a:ln w="9525" cap="flat" cmpd="sng" algn="ctr">
            <a:noFill/>
            <a:prstDash val="solid"/>
            <a:round/>
            <a:headEnd type="none" w="med" len="med"/>
            <a:tailEnd type="none" w="med" len="med"/>
          </a:ln>
        </p:spPr>
        <p:txBody>
          <a:bodyPr lIns="0" tIns="0" rIns="0" bIns="0">
            <a:spAutoFit/>
          </a:bodyPr>
          <a:lstStyle/>
          <a:p>
            <a:pPr>
              <a:lnSpc>
                <a:spcPts val="1461"/>
              </a:lnSpc>
              <a:defRPr/>
            </a:pPr>
            <a:r>
              <a:rPr sz="1200" b="1" spc="-19">
                <a:ln w="9525" cap="flat" cmpd="sng" algn="ctr">
                  <a:noFill/>
                  <a:prstDash val="solid"/>
                  <a:round/>
                  <a:headEnd type="none" w="med" len="med"/>
                  <a:tailEnd type="none" w="med" len="med"/>
                </a:ln>
                <a:solidFill>
                  <a:srgbClr val="FFFFFF"/>
                </a:solidFill>
                <a:latin typeface="Calibri"/>
                <a:cs typeface="Calibri"/>
                <a:sym typeface="Wingdings"/>
              </a:rPr>
              <a:t>LTE-v</a:t>
            </a:r>
            <a:r>
              <a:rPr sz="1200" b="1" spc="15">
                <a:ln w="9525" cap="flat" cmpd="sng" algn="ctr">
                  <a:noFill/>
                  <a:prstDash val="solid"/>
                  <a:round/>
                  <a:headEnd type="none" w="med" len="med"/>
                  <a:tailEnd type="none" w="med" len="med"/>
                </a:ln>
                <a:solidFill>
                  <a:srgbClr val="FFFFFF"/>
                </a:solidFill>
                <a:latin typeface="Calibri"/>
                <a:cs typeface="Calibri"/>
                <a:sym typeface="Wingdings"/>
              </a:rPr>
              <a:t> </a:t>
            </a:r>
            <a:r>
              <a:rPr sz="1200" b="1">
                <a:ln w="9525" cap="flat" cmpd="sng" algn="ctr">
                  <a:noFill/>
                  <a:prstDash val="solid"/>
                  <a:round/>
                  <a:headEnd type="none" w="med" len="med"/>
                  <a:tailEnd type="none" w="med" len="med"/>
                </a:ln>
                <a:solidFill>
                  <a:srgbClr val="FFFFFF"/>
                </a:solidFill>
                <a:latin typeface="Calibri"/>
                <a:cs typeface="Calibri"/>
                <a:sym typeface="Wingdings"/>
              </a:rPr>
              <a:t>SISTEMI</a:t>
            </a:r>
            <a:r>
              <a:rPr sz="1200" b="1" spc="14">
                <a:ln w="9525" cap="flat" cmpd="sng" algn="ctr">
                  <a:noFill/>
                  <a:prstDash val="solid"/>
                  <a:round/>
                  <a:headEnd type="none" w="med" len="med"/>
                  <a:tailEnd type="none" w="med" len="med"/>
                </a:ln>
                <a:solidFill>
                  <a:srgbClr val="FFFFFF"/>
                </a:solidFill>
                <a:latin typeface="Calibri"/>
                <a:cs typeface="Calibri"/>
                <a:sym typeface="Wingdings"/>
              </a:rPr>
              <a:t> </a:t>
            </a:r>
            <a:r>
              <a:rPr sz="1200" b="1">
                <a:ln w="9525" cap="flat" cmpd="sng" algn="ctr">
                  <a:noFill/>
                  <a:prstDash val="solid"/>
                  <a:round/>
                  <a:headEnd type="none" w="med" len="med"/>
                  <a:tailEnd type="none" w="med" len="med"/>
                </a:ln>
                <a:solidFill>
                  <a:srgbClr val="FFFFFF"/>
                </a:solidFill>
                <a:latin typeface="Calibri"/>
                <a:cs typeface="Calibri"/>
                <a:sym typeface="Wingdings"/>
              </a:rPr>
              <a:t>DI DIALOGO</a:t>
            </a:r>
          </a:p>
        </p:txBody>
      </p:sp>
      <p:sp>
        <p:nvSpPr>
          <p:cNvPr id="6" name="object 6"/>
          <p:cNvSpPr txBox="1"/>
          <p:nvPr>
            <p:custDataLst>
              <p:tags r:id="rId5"/>
            </p:custDataLst>
          </p:nvPr>
        </p:nvSpPr>
        <p:spPr>
          <a:xfrm>
            <a:off x="6621066" y="1401366"/>
            <a:ext cx="1760934" cy="371897"/>
          </a:xfrm>
          <a:prstGeom prst="rect">
            <a:avLst/>
          </a:prstGeom>
          <a:noFill/>
          <a:ln w="9525" cap="flat" cmpd="sng" algn="ctr">
            <a:noFill/>
            <a:prstDash val="solid"/>
            <a:round/>
            <a:headEnd type="none" w="med" len="med"/>
            <a:tailEnd type="none" w="med" len="med"/>
          </a:ln>
        </p:spPr>
        <p:txBody>
          <a:bodyPr lIns="0" tIns="0" rIns="0" bIns="0">
            <a:spAutoFit/>
          </a:bodyPr>
          <a:lstStyle/>
          <a:p>
            <a:pPr>
              <a:lnSpc>
                <a:spcPts val="1463"/>
              </a:lnSpc>
              <a:defRPr/>
            </a:pPr>
            <a:r>
              <a:rPr sz="1200" b="1">
                <a:ln w="9525" cap="flat" cmpd="sng" algn="ctr">
                  <a:noFill/>
                  <a:prstDash val="solid"/>
                  <a:round/>
                  <a:headEnd type="none" w="med" len="med"/>
                  <a:tailEnd type="none" w="med" len="med"/>
                </a:ln>
                <a:solidFill>
                  <a:srgbClr val="FFFFFF"/>
                </a:solidFill>
                <a:latin typeface="Calibri"/>
                <a:cs typeface="Calibri"/>
                <a:sym typeface="Wingdings"/>
              </a:rPr>
              <a:t>DRONI PER</a:t>
            </a:r>
            <a:r>
              <a:rPr sz="1200" b="1" spc="-8">
                <a:ln w="9525" cap="flat" cmpd="sng" algn="ctr">
                  <a:noFill/>
                  <a:prstDash val="solid"/>
                  <a:round/>
                  <a:headEnd type="none" w="med" len="med"/>
                  <a:tailEnd type="none" w="med" len="med"/>
                </a:ln>
                <a:solidFill>
                  <a:srgbClr val="FFFFFF"/>
                </a:solidFill>
                <a:latin typeface="Calibri"/>
                <a:cs typeface="Calibri"/>
                <a:sym typeface="Wingdings"/>
              </a:rPr>
              <a:t> </a:t>
            </a:r>
            <a:r>
              <a:rPr sz="1200" b="1">
                <a:ln w="9525" cap="flat" cmpd="sng" algn="ctr">
                  <a:noFill/>
                  <a:prstDash val="solid"/>
                  <a:round/>
                  <a:headEnd type="none" w="med" len="med"/>
                  <a:tailEnd type="none" w="med" len="med"/>
                </a:ln>
                <a:solidFill>
                  <a:srgbClr val="FFFFFF"/>
                </a:solidFill>
                <a:latin typeface="Calibri"/>
                <a:cs typeface="Calibri"/>
                <a:sym typeface="Wingdings"/>
              </a:rPr>
              <a:t>IL</a:t>
            </a:r>
            <a:r>
              <a:rPr sz="1200" b="1" spc="8">
                <a:ln w="9525" cap="flat" cmpd="sng" algn="ctr">
                  <a:noFill/>
                  <a:prstDash val="solid"/>
                  <a:round/>
                  <a:headEnd type="none" w="med" len="med"/>
                  <a:tailEnd type="none" w="med" len="med"/>
                </a:ln>
                <a:solidFill>
                  <a:srgbClr val="FFFFFF"/>
                </a:solidFill>
                <a:latin typeface="Calibri"/>
                <a:cs typeface="Calibri"/>
                <a:sym typeface="Wingdings"/>
              </a:rPr>
              <a:t> </a:t>
            </a:r>
            <a:r>
              <a:rPr sz="1200" b="1">
                <a:ln w="9525" cap="flat" cmpd="sng" algn="ctr">
                  <a:noFill/>
                  <a:prstDash val="solid"/>
                  <a:round/>
                  <a:headEnd type="none" w="med" len="med"/>
                  <a:tailEnd type="none" w="med" len="med"/>
                </a:ln>
                <a:solidFill>
                  <a:srgbClr val="FFFFFF"/>
                </a:solidFill>
                <a:latin typeface="Calibri"/>
                <a:cs typeface="Calibri"/>
                <a:sym typeface="Wingdings"/>
              </a:rPr>
              <a:t>CONTROLLO</a:t>
            </a:r>
          </a:p>
          <a:p>
            <a:pPr marL="184023">
              <a:lnSpc>
                <a:spcPts val="1442"/>
              </a:lnSpc>
              <a:defRPr/>
            </a:pPr>
            <a:r>
              <a:rPr sz="1200" b="1">
                <a:ln w="9525" cap="flat" cmpd="sng" algn="ctr">
                  <a:noFill/>
                  <a:prstDash val="solid"/>
                  <a:round/>
                  <a:headEnd type="none" w="med" len="med"/>
                  <a:tailEnd type="none" w="med" len="med"/>
                </a:ln>
                <a:solidFill>
                  <a:srgbClr val="FFFFFF"/>
                </a:solidFill>
                <a:latin typeface="Calibri"/>
                <a:cs typeface="Calibri"/>
                <a:sym typeface="Wingdings"/>
              </a:rPr>
              <a:t>E LA SORVEGLIANZA</a:t>
            </a:r>
          </a:p>
        </p:txBody>
      </p:sp>
      <p:sp>
        <p:nvSpPr>
          <p:cNvPr id="7" name="object 7"/>
          <p:cNvSpPr txBox="1"/>
          <p:nvPr>
            <p:custDataLst>
              <p:tags r:id="rId6"/>
            </p:custDataLst>
          </p:nvPr>
        </p:nvSpPr>
        <p:spPr>
          <a:xfrm>
            <a:off x="1295401" y="1549004"/>
            <a:ext cx="1546622" cy="192360"/>
          </a:xfrm>
          <a:prstGeom prst="rect">
            <a:avLst/>
          </a:prstGeom>
          <a:noFill/>
          <a:ln w="9525" cap="flat" cmpd="sng" algn="ctr">
            <a:noFill/>
            <a:prstDash val="solid"/>
            <a:round/>
            <a:headEnd type="none" w="med" len="med"/>
            <a:tailEnd type="none" w="med" len="med"/>
          </a:ln>
        </p:spPr>
        <p:txBody>
          <a:bodyPr lIns="0" tIns="0" rIns="0" bIns="0">
            <a:spAutoFit/>
          </a:bodyPr>
          <a:lstStyle/>
          <a:p>
            <a:pPr>
              <a:lnSpc>
                <a:spcPts val="1461"/>
              </a:lnSpc>
              <a:defRPr/>
            </a:pPr>
            <a:r>
              <a:rPr sz="1200" b="1">
                <a:ln w="9525" cap="flat" cmpd="sng" algn="ctr">
                  <a:noFill/>
                  <a:prstDash val="solid"/>
                  <a:round/>
                  <a:headEnd type="none" w="med" len="med"/>
                  <a:tailEnd type="none" w="med" len="med"/>
                </a:ln>
                <a:solidFill>
                  <a:srgbClr val="FFFFFF"/>
                </a:solidFill>
                <a:latin typeface="Calibri"/>
                <a:cs typeface="Calibri"/>
                <a:sym typeface="Wingdings"/>
              </a:rPr>
              <a:t>TRA VEICOLI</a:t>
            </a:r>
            <a:r>
              <a:rPr sz="1200" b="1" spc="21">
                <a:ln w="9525" cap="flat" cmpd="sng" algn="ctr">
                  <a:noFill/>
                  <a:prstDash val="solid"/>
                  <a:round/>
                  <a:headEnd type="none" w="med" len="med"/>
                  <a:tailEnd type="none" w="med" len="med"/>
                </a:ln>
                <a:solidFill>
                  <a:srgbClr val="FFFFFF"/>
                </a:solidFill>
                <a:latin typeface="Calibri"/>
                <a:cs typeface="Calibri"/>
                <a:sym typeface="Wingdings"/>
              </a:rPr>
              <a:t> </a:t>
            </a:r>
            <a:r>
              <a:rPr sz="1200" b="1">
                <a:ln w="9525" cap="flat" cmpd="sng" algn="ctr">
                  <a:noFill/>
                  <a:prstDash val="solid"/>
                  <a:round/>
                  <a:headEnd type="none" w="med" len="med"/>
                  <a:tailEnd type="none" w="med" len="med"/>
                </a:ln>
                <a:solidFill>
                  <a:srgbClr val="FFFFFF"/>
                </a:solidFill>
                <a:latin typeface="Calibri"/>
                <a:cs typeface="Calibri"/>
                <a:sym typeface="Wingdings"/>
              </a:rPr>
              <a:t>E</a:t>
            </a:r>
            <a:r>
              <a:rPr sz="1200" b="1" spc="-11">
                <a:ln w="9525" cap="flat" cmpd="sng" algn="ctr">
                  <a:noFill/>
                  <a:prstDash val="solid"/>
                  <a:round/>
                  <a:headEnd type="none" w="med" len="med"/>
                  <a:tailEnd type="none" w="med" len="med"/>
                </a:ln>
                <a:solidFill>
                  <a:srgbClr val="FFFFFF"/>
                </a:solidFill>
                <a:latin typeface="Calibri"/>
                <a:cs typeface="Calibri"/>
                <a:sym typeface="Wingdings"/>
              </a:rPr>
              <a:t> </a:t>
            </a:r>
            <a:r>
              <a:rPr sz="1200" b="1" spc="-8">
                <a:ln w="9525" cap="flat" cmpd="sng" algn="ctr">
                  <a:noFill/>
                  <a:prstDash val="solid"/>
                  <a:round/>
                  <a:headEnd type="none" w="med" len="med"/>
                  <a:tailEnd type="none" w="med" len="med"/>
                </a:ln>
                <a:solidFill>
                  <a:srgbClr val="FFFFFF"/>
                </a:solidFill>
                <a:latin typeface="Calibri"/>
                <a:cs typeface="Calibri"/>
                <a:sym typeface="Wingdings"/>
              </a:rPr>
              <a:t>STRADA</a:t>
            </a:r>
          </a:p>
        </p:txBody>
      </p:sp>
      <p:sp>
        <p:nvSpPr>
          <p:cNvPr id="8" name="object 8"/>
          <p:cNvSpPr txBox="1"/>
          <p:nvPr>
            <p:custDataLst>
              <p:tags r:id="rId7"/>
            </p:custDataLst>
          </p:nvPr>
        </p:nvSpPr>
        <p:spPr>
          <a:xfrm>
            <a:off x="1178719" y="1946673"/>
            <a:ext cx="1732360" cy="551433"/>
          </a:xfrm>
          <a:prstGeom prst="rect">
            <a:avLst/>
          </a:prstGeom>
          <a:noFill/>
          <a:ln w="9525" cap="flat" cmpd="sng" algn="ctr">
            <a:noFill/>
            <a:prstDash val="solid"/>
            <a:round/>
            <a:headEnd type="none" w="med" len="med"/>
            <a:tailEnd type="none" w="med" len="med"/>
          </a:ln>
        </p:spPr>
        <p:txBody>
          <a:bodyPr lIns="0" tIns="0" rIns="0" bIns="0">
            <a:spAutoFit/>
          </a:bodyPr>
          <a:lstStyle/>
          <a:p>
            <a:pPr marL="265176">
              <a:lnSpc>
                <a:spcPts val="1461"/>
              </a:lnSpc>
              <a:defRPr/>
            </a:pPr>
            <a:r>
              <a:rPr sz="1200" b="1">
                <a:ln w="9525" cap="flat" cmpd="sng" algn="ctr">
                  <a:noFill/>
                  <a:prstDash val="solid"/>
                  <a:round/>
                  <a:headEnd type="none" w="med" len="med"/>
                  <a:tailEnd type="none" w="med" len="med"/>
                </a:ln>
                <a:solidFill>
                  <a:srgbClr val="FFFFFF"/>
                </a:solidFill>
                <a:latin typeface="Calibri"/>
                <a:cs typeface="Calibri"/>
                <a:sym typeface="Wingdings"/>
              </a:rPr>
              <a:t>SORVEGLIANZA</a:t>
            </a:r>
            <a:r>
              <a:rPr sz="1200" b="1" spc="19">
                <a:ln w="9525" cap="flat" cmpd="sng" algn="ctr">
                  <a:noFill/>
                  <a:prstDash val="solid"/>
                  <a:round/>
                  <a:headEnd type="none" w="med" len="med"/>
                  <a:tailEnd type="none" w="med" len="med"/>
                </a:ln>
                <a:solidFill>
                  <a:srgbClr val="FFFFFF"/>
                </a:solidFill>
                <a:latin typeface="Calibri"/>
                <a:cs typeface="Calibri"/>
                <a:sym typeface="Wingdings"/>
              </a:rPr>
              <a:t> </a:t>
            </a:r>
            <a:r>
              <a:rPr sz="1200" b="1">
                <a:ln w="9525" cap="flat" cmpd="sng" algn="ctr">
                  <a:noFill/>
                  <a:prstDash val="solid"/>
                  <a:round/>
                  <a:headEnd type="none" w="med" len="med"/>
                  <a:tailEnd type="none" w="med" len="med"/>
                </a:ln>
                <a:solidFill>
                  <a:srgbClr val="FFFFFF"/>
                </a:solidFill>
                <a:latin typeface="Calibri"/>
                <a:cs typeface="Calibri"/>
                <a:sym typeface="Wingdings"/>
              </a:rPr>
              <a:t>E</a:t>
            </a:r>
          </a:p>
          <a:p>
            <a:pPr marL="62864">
              <a:lnSpc>
                <a:spcPts val="1439"/>
              </a:lnSpc>
              <a:spcBef>
                <a:spcPts val="38"/>
              </a:spcBef>
              <a:defRPr/>
            </a:pPr>
            <a:r>
              <a:rPr sz="1200" b="1">
                <a:ln w="9525" cap="flat" cmpd="sng" algn="ctr">
                  <a:noFill/>
                  <a:prstDash val="solid"/>
                  <a:round/>
                  <a:headEnd type="none" w="med" len="med"/>
                  <a:tailEnd type="none" w="med" len="med"/>
                </a:ln>
                <a:solidFill>
                  <a:srgbClr val="FFFFFF"/>
                </a:solidFill>
                <a:latin typeface="Calibri"/>
                <a:cs typeface="Calibri"/>
                <a:sym typeface="Wingdings"/>
              </a:rPr>
              <a:t>MONITORAGGIO</a:t>
            </a:r>
            <a:r>
              <a:rPr sz="1200" b="1" spc="47">
                <a:ln w="9525" cap="flat" cmpd="sng" algn="ctr">
                  <a:noFill/>
                  <a:prstDash val="solid"/>
                  <a:round/>
                  <a:headEnd type="none" w="med" len="med"/>
                  <a:tailEnd type="none" w="med" len="med"/>
                </a:ln>
                <a:solidFill>
                  <a:srgbClr val="FFFFFF"/>
                </a:solidFill>
                <a:latin typeface="Calibri"/>
                <a:cs typeface="Calibri"/>
                <a:sym typeface="Wingdings"/>
              </a:rPr>
              <a:t> </a:t>
            </a:r>
            <a:r>
              <a:rPr sz="1200" b="1">
                <a:ln w="9525" cap="flat" cmpd="sng" algn="ctr">
                  <a:noFill/>
                  <a:prstDash val="solid"/>
                  <a:round/>
                  <a:headEnd type="none" w="med" len="med"/>
                  <a:tailEnd type="none" w="med" len="med"/>
                </a:ln>
                <a:solidFill>
                  <a:srgbClr val="FFFFFF"/>
                </a:solidFill>
                <a:latin typeface="Calibri"/>
                <a:cs typeface="Calibri"/>
                <a:sym typeface="Wingdings"/>
              </a:rPr>
              <a:t>DELLA</a:t>
            </a:r>
          </a:p>
          <a:p>
            <a:pPr>
              <a:lnSpc>
                <a:spcPts val="1440"/>
              </a:lnSpc>
              <a:defRPr/>
            </a:pPr>
            <a:r>
              <a:rPr sz="1200" b="1" spc="-8">
                <a:ln w="9525" cap="flat" cmpd="sng" algn="ctr">
                  <a:noFill/>
                  <a:prstDash val="solid"/>
                  <a:round/>
                  <a:headEnd type="none" w="med" len="med"/>
                  <a:tailEnd type="none" w="med" len="med"/>
                </a:ln>
                <a:solidFill>
                  <a:srgbClr val="FFFFFF"/>
                </a:solidFill>
                <a:latin typeface="Calibri"/>
                <a:cs typeface="Calibri"/>
                <a:sym typeface="Wingdings"/>
              </a:rPr>
              <a:t>STRADA</a:t>
            </a:r>
            <a:r>
              <a:rPr sz="1200" b="1" spc="14">
                <a:ln w="9525" cap="flat" cmpd="sng" algn="ctr">
                  <a:noFill/>
                  <a:prstDash val="solid"/>
                  <a:round/>
                  <a:headEnd type="none" w="med" len="med"/>
                  <a:tailEnd type="none" w="med" len="med"/>
                </a:ln>
                <a:solidFill>
                  <a:srgbClr val="FFFFFF"/>
                </a:solidFill>
                <a:latin typeface="Calibri"/>
                <a:cs typeface="Calibri"/>
                <a:sym typeface="Wingdings"/>
              </a:rPr>
              <a:t> </a:t>
            </a:r>
            <a:r>
              <a:rPr sz="1200" b="1" spc="-8">
                <a:ln w="9525" cap="flat" cmpd="sng" algn="ctr">
                  <a:noFill/>
                  <a:prstDash val="solid"/>
                  <a:round/>
                  <a:headEnd type="none" w="med" len="med"/>
                  <a:tailEnd type="none" w="med" len="med"/>
                </a:ln>
                <a:solidFill>
                  <a:srgbClr val="FFFFFF"/>
                </a:solidFill>
                <a:latin typeface="Calibri"/>
                <a:cs typeface="Calibri"/>
                <a:sym typeface="Wingdings"/>
              </a:rPr>
              <a:t>CON</a:t>
            </a:r>
            <a:r>
              <a:rPr sz="1200" b="1" spc="15">
                <a:ln w="9525" cap="flat" cmpd="sng" algn="ctr">
                  <a:noFill/>
                  <a:prstDash val="solid"/>
                  <a:round/>
                  <a:headEnd type="none" w="med" len="med"/>
                  <a:tailEnd type="none" w="med" len="med"/>
                </a:ln>
                <a:solidFill>
                  <a:srgbClr val="FFFFFF"/>
                </a:solidFill>
                <a:latin typeface="Calibri"/>
                <a:cs typeface="Calibri"/>
                <a:sym typeface="Wingdings"/>
              </a:rPr>
              <a:t> </a:t>
            </a:r>
            <a:r>
              <a:rPr sz="1200" b="1">
                <a:ln w="9525" cap="flat" cmpd="sng" algn="ctr">
                  <a:noFill/>
                  <a:prstDash val="solid"/>
                  <a:round/>
                  <a:headEnd type="none" w="med" len="med"/>
                  <a:tailEnd type="none" w="med" len="med"/>
                </a:ln>
                <a:solidFill>
                  <a:srgbClr val="FFFFFF"/>
                </a:solidFill>
                <a:latin typeface="Calibri"/>
                <a:cs typeface="Calibri"/>
                <a:sym typeface="Wingdings"/>
              </a:rPr>
              <a:t>SISTEMI</a:t>
            </a:r>
            <a:r>
              <a:rPr sz="1200" b="1" spc="14">
                <a:ln w="9525" cap="flat" cmpd="sng" algn="ctr">
                  <a:noFill/>
                  <a:prstDash val="solid"/>
                  <a:round/>
                  <a:headEnd type="none" w="med" len="med"/>
                  <a:tailEnd type="none" w="med" len="med"/>
                </a:ln>
                <a:solidFill>
                  <a:srgbClr val="FFFFFF"/>
                </a:solidFill>
                <a:latin typeface="Calibri"/>
                <a:cs typeface="Calibri"/>
                <a:sym typeface="Wingdings"/>
              </a:rPr>
              <a:t> </a:t>
            </a:r>
            <a:r>
              <a:rPr sz="1200" b="1" spc="-17">
                <a:ln w="9525" cap="flat" cmpd="sng" algn="ctr">
                  <a:noFill/>
                  <a:prstDash val="solid"/>
                  <a:round/>
                  <a:headEnd type="none" w="med" len="med"/>
                  <a:tailEnd type="none" w="med" len="med"/>
                </a:ln>
                <a:solidFill>
                  <a:srgbClr val="FFFFFF"/>
                </a:solidFill>
                <a:latin typeface="Calibri"/>
                <a:cs typeface="Calibri"/>
                <a:sym typeface="Wingdings"/>
              </a:rPr>
              <a:t>IOT</a:t>
            </a:r>
          </a:p>
        </p:txBody>
      </p:sp>
      <p:sp>
        <p:nvSpPr>
          <p:cNvPr id="9" name="object 9"/>
          <p:cNvSpPr txBox="1"/>
          <p:nvPr>
            <p:custDataLst>
              <p:tags r:id="rId8"/>
            </p:custDataLst>
          </p:nvPr>
        </p:nvSpPr>
        <p:spPr>
          <a:xfrm>
            <a:off x="6659166" y="1940719"/>
            <a:ext cx="1722834" cy="551433"/>
          </a:xfrm>
          <a:prstGeom prst="rect">
            <a:avLst/>
          </a:prstGeom>
          <a:noFill/>
          <a:ln w="9525" cap="flat" cmpd="sng" algn="ctr">
            <a:noFill/>
            <a:prstDash val="solid"/>
            <a:round/>
            <a:headEnd type="none" w="med" len="med"/>
            <a:tailEnd type="none" w="med" len="med"/>
          </a:ln>
        </p:spPr>
        <p:txBody>
          <a:bodyPr lIns="0" tIns="0" rIns="0" bIns="0">
            <a:spAutoFit/>
          </a:bodyPr>
          <a:lstStyle/>
          <a:p>
            <a:pPr marL="212598">
              <a:lnSpc>
                <a:spcPts val="1461"/>
              </a:lnSpc>
              <a:defRPr/>
            </a:pPr>
            <a:r>
              <a:rPr sz="1200" b="1">
                <a:ln w="9525" cap="flat" cmpd="sng" algn="ctr">
                  <a:noFill/>
                  <a:prstDash val="solid"/>
                  <a:round/>
                  <a:headEnd type="none" w="med" len="med"/>
                  <a:tailEnd type="none" w="med" len="med"/>
                </a:ln>
                <a:solidFill>
                  <a:srgbClr val="FFFFFF"/>
                </a:solidFill>
                <a:latin typeface="Calibri"/>
                <a:cs typeface="Calibri"/>
                <a:sym typeface="Wingdings"/>
              </a:rPr>
              <a:t>RICONOSCIMENTO</a:t>
            </a:r>
          </a:p>
          <a:p>
            <a:pPr>
              <a:lnSpc>
                <a:spcPts val="1439"/>
              </a:lnSpc>
              <a:spcBef>
                <a:spcPts val="38"/>
              </a:spcBef>
              <a:defRPr/>
            </a:pPr>
            <a:r>
              <a:rPr sz="1200" b="1">
                <a:ln w="9525" cap="flat" cmpd="sng" algn="ctr">
                  <a:noFill/>
                  <a:prstDash val="solid"/>
                  <a:round/>
                  <a:headEnd type="none" w="med" len="med"/>
                  <a:tailEnd type="none" w="med" len="med"/>
                </a:ln>
                <a:solidFill>
                  <a:srgbClr val="FFFFFF"/>
                </a:solidFill>
                <a:latin typeface="Calibri"/>
                <a:cs typeface="Calibri"/>
                <a:sym typeface="Wingdings"/>
              </a:rPr>
              <a:t>MEZZI PER IL</a:t>
            </a:r>
            <a:r>
              <a:rPr sz="1200" b="1" spc="8">
                <a:ln w="9525" cap="flat" cmpd="sng" algn="ctr">
                  <a:noFill/>
                  <a:prstDash val="solid"/>
                  <a:round/>
                  <a:headEnd type="none" w="med" len="med"/>
                  <a:tailEnd type="none" w="med" len="med"/>
                </a:ln>
                <a:solidFill>
                  <a:srgbClr val="FFFFFF"/>
                </a:solidFill>
                <a:latin typeface="Calibri"/>
                <a:cs typeface="Calibri"/>
                <a:sym typeface="Wingdings"/>
              </a:rPr>
              <a:t> </a:t>
            </a:r>
            <a:r>
              <a:rPr sz="1200" b="1">
                <a:ln w="9525" cap="flat" cmpd="sng" algn="ctr">
                  <a:noFill/>
                  <a:prstDash val="solid"/>
                  <a:round/>
                  <a:headEnd type="none" w="med" len="med"/>
                  <a:tailEnd type="none" w="med" len="med"/>
                </a:ln>
                <a:solidFill>
                  <a:srgbClr val="FFFFFF"/>
                </a:solidFill>
                <a:latin typeface="Calibri"/>
                <a:cs typeface="Calibri"/>
                <a:sym typeface="Wingdings"/>
              </a:rPr>
              <a:t>TRASPORTO</a:t>
            </a:r>
          </a:p>
          <a:p>
            <a:pPr marL="193166">
              <a:lnSpc>
                <a:spcPts val="1440"/>
              </a:lnSpc>
              <a:defRPr/>
            </a:pPr>
            <a:r>
              <a:rPr sz="1200" b="1">
                <a:ln w="9525" cap="flat" cmpd="sng" algn="ctr">
                  <a:noFill/>
                  <a:prstDash val="solid"/>
                  <a:round/>
                  <a:headEnd type="none" w="med" len="med"/>
                  <a:tailEnd type="none" w="med" len="med"/>
                </a:ln>
                <a:solidFill>
                  <a:srgbClr val="FFFFFF"/>
                </a:solidFill>
                <a:latin typeface="Calibri"/>
                <a:cs typeface="Calibri"/>
                <a:sym typeface="Wingdings"/>
              </a:rPr>
              <a:t>MERCI</a:t>
            </a:r>
            <a:r>
              <a:rPr sz="1200" b="1" spc="11">
                <a:ln w="9525" cap="flat" cmpd="sng" algn="ctr">
                  <a:noFill/>
                  <a:prstDash val="solid"/>
                  <a:round/>
                  <a:headEnd type="none" w="med" len="med"/>
                  <a:tailEnd type="none" w="med" len="med"/>
                </a:ln>
                <a:solidFill>
                  <a:srgbClr val="FFFFFF"/>
                </a:solidFill>
                <a:latin typeface="Calibri"/>
                <a:cs typeface="Calibri"/>
                <a:sym typeface="Wingdings"/>
              </a:rPr>
              <a:t> </a:t>
            </a:r>
            <a:r>
              <a:rPr sz="1200" b="1">
                <a:ln w="9525" cap="flat" cmpd="sng" algn="ctr">
                  <a:noFill/>
                  <a:prstDash val="solid"/>
                  <a:round/>
                  <a:headEnd type="none" w="med" len="med"/>
                  <a:tailEnd type="none" w="med" len="med"/>
                </a:ln>
                <a:solidFill>
                  <a:srgbClr val="FFFFFF"/>
                </a:solidFill>
                <a:latin typeface="Calibri"/>
                <a:cs typeface="Calibri"/>
                <a:sym typeface="Wingdings"/>
              </a:rPr>
              <a:t>PERICOLOSE</a:t>
            </a:r>
          </a:p>
        </p:txBody>
      </p:sp>
      <p:sp>
        <p:nvSpPr>
          <p:cNvPr id="10" name="object 10"/>
          <p:cNvSpPr txBox="1"/>
          <p:nvPr>
            <p:custDataLst>
              <p:tags r:id="rId9"/>
            </p:custDataLst>
          </p:nvPr>
        </p:nvSpPr>
        <p:spPr>
          <a:xfrm>
            <a:off x="4249341" y="2062163"/>
            <a:ext cx="994172" cy="371897"/>
          </a:xfrm>
          <a:prstGeom prst="rect">
            <a:avLst/>
          </a:prstGeom>
          <a:noFill/>
          <a:ln w="9525" cap="flat" cmpd="sng" algn="ctr">
            <a:noFill/>
            <a:prstDash val="solid"/>
            <a:round/>
            <a:headEnd type="none" w="med" len="med"/>
            <a:tailEnd type="none" w="med" len="med"/>
          </a:ln>
        </p:spPr>
        <p:txBody>
          <a:bodyPr lIns="0" tIns="0" rIns="0" bIns="0">
            <a:spAutoFit/>
          </a:bodyPr>
          <a:lstStyle/>
          <a:p>
            <a:pPr marL="18287">
              <a:lnSpc>
                <a:spcPts val="1461"/>
              </a:lnSpc>
              <a:defRPr/>
            </a:pPr>
            <a:r>
              <a:rPr sz="1200" b="1">
                <a:ln w="9525" cap="flat" cmpd="sng" algn="ctr">
                  <a:noFill/>
                  <a:prstDash val="solid"/>
                  <a:round/>
                  <a:headEnd type="none" w="med" len="med"/>
                  <a:tailEnd type="none" w="med" len="med"/>
                </a:ln>
                <a:solidFill>
                  <a:srgbClr val="FFFFFF"/>
                </a:solidFill>
                <a:latin typeface="Calibri"/>
                <a:cs typeface="Calibri"/>
                <a:sym typeface="Wingdings"/>
              </a:rPr>
              <a:t>TELECAMERA</a:t>
            </a:r>
          </a:p>
          <a:p>
            <a:pPr>
              <a:lnSpc>
                <a:spcPts val="1439"/>
              </a:lnSpc>
              <a:spcBef>
                <a:spcPts val="38"/>
              </a:spcBef>
              <a:defRPr/>
            </a:pPr>
            <a:r>
              <a:rPr sz="1200" b="1">
                <a:ln w="9525" cap="flat" cmpd="sng" algn="ctr">
                  <a:noFill/>
                  <a:prstDash val="solid"/>
                  <a:round/>
                  <a:headEnd type="none" w="med" len="med"/>
                  <a:tailEnd type="none" w="med" len="med"/>
                </a:ln>
                <a:solidFill>
                  <a:srgbClr val="FFFFFF"/>
                </a:solidFill>
                <a:latin typeface="Calibri"/>
                <a:cs typeface="Calibri"/>
                <a:sym typeface="Wingdings"/>
              </a:rPr>
              <a:t>INTELLIGENTE</a:t>
            </a:r>
          </a:p>
        </p:txBody>
      </p:sp>
      <p:sp>
        <p:nvSpPr>
          <p:cNvPr id="14347" name="object 11"/>
          <p:cNvSpPr>
            <a:spLocks noChangeArrowheads="1"/>
          </p:cNvSpPr>
          <p:nvPr>
            <p:custDataLst>
              <p:tags r:id="rId10"/>
            </p:custDataLst>
          </p:nvPr>
        </p:nvSpPr>
        <p:spPr bwMode="auto">
          <a:xfrm>
            <a:off x="349449" y="2607417"/>
            <a:ext cx="1891903"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lIns="0" tIns="0" rIns="0" bIns="0">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nSpc>
                <a:spcPts val="1641"/>
              </a:lnSpc>
              <a:buSzPct val="100000"/>
            </a:pPr>
            <a:r>
              <a:rPr lang="ru-RU" altLang="it-IT" sz="1350" b="1" dirty="0">
                <a:solidFill>
                  <a:srgbClr val="DC002E"/>
                </a:solidFill>
                <a:cs typeface="Calibri" panose="020F0502020204030204" pitchFamily="34" charset="0"/>
              </a:rPr>
              <a:t>ENERGIA E FIBRA OTTICA</a:t>
            </a:r>
          </a:p>
        </p:txBody>
      </p:sp>
      <p:sp>
        <p:nvSpPr>
          <p:cNvPr id="14348" name="object 12"/>
          <p:cNvSpPr>
            <a:spLocks noChangeArrowheads="1"/>
          </p:cNvSpPr>
          <p:nvPr>
            <p:custDataLst>
              <p:tags r:id="rId11"/>
            </p:custDataLst>
          </p:nvPr>
        </p:nvSpPr>
        <p:spPr bwMode="auto">
          <a:xfrm>
            <a:off x="4529436" y="2613193"/>
            <a:ext cx="1163240"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lIns="0" tIns="0" rIns="0" bIns="0">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nSpc>
                <a:spcPts val="1641"/>
              </a:lnSpc>
              <a:buSzPct val="100000"/>
            </a:pPr>
            <a:r>
              <a:rPr lang="ru-RU" altLang="it-IT" sz="1350" b="1" dirty="0">
                <a:solidFill>
                  <a:srgbClr val="DC002E"/>
                </a:solidFill>
                <a:cs typeface="Calibri" panose="020F0502020204030204" pitchFamily="34" charset="0"/>
              </a:rPr>
              <a:t>GREEN ISLAND</a:t>
            </a:r>
          </a:p>
        </p:txBody>
      </p:sp>
      <p:sp>
        <p:nvSpPr>
          <p:cNvPr id="13" name="object 13"/>
          <p:cNvSpPr txBox="1"/>
          <p:nvPr>
            <p:custDataLst>
              <p:tags r:id="rId12"/>
            </p:custDataLst>
          </p:nvPr>
        </p:nvSpPr>
        <p:spPr>
          <a:xfrm>
            <a:off x="1154906" y="3030141"/>
            <a:ext cx="1139429" cy="551433"/>
          </a:xfrm>
          <a:prstGeom prst="rect">
            <a:avLst/>
          </a:prstGeom>
          <a:noFill/>
          <a:ln w="9525" cap="flat" cmpd="sng" algn="ctr">
            <a:noFill/>
            <a:prstDash val="solid"/>
            <a:round/>
            <a:headEnd type="none" w="med" len="med"/>
            <a:tailEnd type="none" w="med" len="med"/>
          </a:ln>
        </p:spPr>
        <p:txBody>
          <a:bodyPr lIns="0" tIns="0" rIns="0" bIns="0">
            <a:spAutoFit/>
          </a:bodyPr>
          <a:lstStyle/>
          <a:p>
            <a:pPr marL="67437">
              <a:lnSpc>
                <a:spcPts val="1461"/>
              </a:lnSpc>
              <a:defRPr/>
            </a:pPr>
            <a:r>
              <a:rPr sz="1200" b="1">
                <a:ln w="9525" cap="flat" cmpd="sng" algn="ctr">
                  <a:noFill/>
                  <a:prstDash val="solid"/>
                  <a:round/>
                  <a:headEnd type="none" w="med" len="med"/>
                  <a:tailEnd type="none" w="med" len="med"/>
                </a:ln>
                <a:solidFill>
                  <a:srgbClr val="FFFFFF"/>
                </a:solidFill>
                <a:latin typeface="Calibri"/>
                <a:cs typeface="Calibri"/>
                <a:sym typeface="Wingdings"/>
              </a:rPr>
              <a:t>RETE IN FIBRA</a:t>
            </a:r>
          </a:p>
          <a:p>
            <a:pPr>
              <a:lnSpc>
                <a:spcPts val="1439"/>
              </a:lnSpc>
              <a:spcBef>
                <a:spcPts val="38"/>
              </a:spcBef>
              <a:defRPr/>
            </a:pPr>
            <a:r>
              <a:rPr sz="1200" b="1">
                <a:ln w="9525" cap="flat" cmpd="sng" algn="ctr">
                  <a:noFill/>
                  <a:prstDash val="solid"/>
                  <a:round/>
                  <a:headEnd type="none" w="med" len="med"/>
                  <a:tailEnd type="none" w="med" len="med"/>
                </a:ln>
                <a:solidFill>
                  <a:srgbClr val="FFFFFF"/>
                </a:solidFill>
                <a:latin typeface="Calibri"/>
                <a:cs typeface="Calibri"/>
                <a:sym typeface="Wingdings"/>
              </a:rPr>
              <a:t>OTTICA</a:t>
            </a:r>
            <a:r>
              <a:rPr sz="1200" b="1" spc="11">
                <a:ln w="9525" cap="flat" cmpd="sng" algn="ctr">
                  <a:noFill/>
                  <a:prstDash val="solid"/>
                  <a:round/>
                  <a:headEnd type="none" w="med" len="med"/>
                  <a:tailEnd type="none" w="med" len="med"/>
                </a:ln>
                <a:solidFill>
                  <a:srgbClr val="FFFFFF"/>
                </a:solidFill>
                <a:latin typeface="Calibri"/>
                <a:cs typeface="Calibri"/>
                <a:sym typeface="Wingdings"/>
              </a:rPr>
              <a:t> </a:t>
            </a:r>
            <a:r>
              <a:rPr sz="1200" b="1">
                <a:ln w="9525" cap="flat" cmpd="sng" algn="ctr">
                  <a:noFill/>
                  <a:prstDash val="solid"/>
                  <a:round/>
                  <a:headEnd type="none" w="med" len="med"/>
                  <a:tailEnd type="none" w="med" len="med"/>
                </a:ln>
                <a:solidFill>
                  <a:srgbClr val="FFFFFF"/>
                </a:solidFill>
                <a:latin typeface="Calibri"/>
                <a:cs typeface="Calibri"/>
                <a:sym typeface="Wingdings"/>
              </a:rPr>
              <a:t>AD A</a:t>
            </a:r>
            <a:r>
              <a:rPr sz="1200" b="1" spc="-270">
                <a:ln w="9525" cap="flat" cmpd="sng" algn="ctr">
                  <a:noFill/>
                  <a:prstDash val="solid"/>
                  <a:round/>
                  <a:headEnd type="none" w="med" len="med"/>
                  <a:tailEnd type="none" w="med" len="med"/>
                </a:ln>
                <a:solidFill>
                  <a:srgbClr val="FFFFFF"/>
                </a:solidFill>
                <a:latin typeface="Calibri"/>
                <a:cs typeface="Calibri"/>
                <a:sym typeface="Wingdings"/>
              </a:rPr>
              <a:t> </a:t>
            </a:r>
            <a:r>
              <a:rPr sz="1200" b="1" spc="-61">
                <a:ln w="9525" cap="flat" cmpd="sng" algn="ctr">
                  <a:noFill/>
                  <a:prstDash val="solid"/>
                  <a:round/>
                  <a:headEnd type="none" w="med" len="med"/>
                  <a:tailEnd type="none" w="med" len="med"/>
                </a:ln>
                <a:solidFill>
                  <a:srgbClr val="FFFFFF"/>
                </a:solidFill>
                <a:latin typeface="Calibri"/>
                <a:cs typeface="Calibri"/>
                <a:sym typeface="Wingdings"/>
              </a:rPr>
              <a:t>LTA</a:t>
            </a:r>
          </a:p>
          <a:p>
            <a:pPr marL="156591">
              <a:lnSpc>
                <a:spcPts val="1440"/>
              </a:lnSpc>
              <a:defRPr/>
            </a:pPr>
            <a:r>
              <a:rPr sz="1200" b="1">
                <a:ln w="9525" cap="flat" cmpd="sng" algn="ctr">
                  <a:noFill/>
                  <a:prstDash val="solid"/>
                  <a:round/>
                  <a:headEnd type="none" w="med" len="med"/>
                  <a:tailEnd type="none" w="med" len="med"/>
                </a:ln>
                <a:solidFill>
                  <a:srgbClr val="FFFFFF"/>
                </a:solidFill>
                <a:latin typeface="Calibri"/>
                <a:cs typeface="Calibri"/>
                <a:sym typeface="Wingdings"/>
              </a:rPr>
              <a:t>EFFICIENZA</a:t>
            </a:r>
          </a:p>
        </p:txBody>
      </p:sp>
      <p:sp>
        <p:nvSpPr>
          <p:cNvPr id="14" name="object 14"/>
          <p:cNvSpPr txBox="1"/>
          <p:nvPr>
            <p:custDataLst>
              <p:tags r:id="rId13"/>
            </p:custDataLst>
          </p:nvPr>
        </p:nvSpPr>
        <p:spPr>
          <a:xfrm>
            <a:off x="5242323" y="3036094"/>
            <a:ext cx="1320403" cy="551433"/>
          </a:xfrm>
          <a:prstGeom prst="rect">
            <a:avLst/>
          </a:prstGeom>
          <a:noFill/>
          <a:ln w="9525" cap="flat" cmpd="sng" algn="ctr">
            <a:noFill/>
            <a:prstDash val="solid"/>
            <a:round/>
            <a:headEnd type="none" w="med" len="med"/>
            <a:tailEnd type="none" w="med" len="med"/>
          </a:ln>
        </p:spPr>
        <p:txBody>
          <a:bodyPr lIns="0" tIns="0" rIns="0" bIns="0">
            <a:spAutoFit/>
          </a:bodyPr>
          <a:lstStyle/>
          <a:p>
            <a:pPr marL="145160">
              <a:lnSpc>
                <a:spcPts val="1461"/>
              </a:lnSpc>
              <a:defRPr/>
            </a:pPr>
            <a:r>
              <a:rPr sz="1200" b="1">
                <a:ln w="9525" cap="flat" cmpd="sng" algn="ctr">
                  <a:noFill/>
                  <a:prstDash val="solid"/>
                  <a:round/>
                  <a:headEnd type="none" w="med" len="med"/>
                  <a:tailEnd type="none" w="med" len="med"/>
                </a:ln>
                <a:solidFill>
                  <a:srgbClr val="FFFFFF"/>
                </a:solidFill>
                <a:latin typeface="Calibri"/>
                <a:cs typeface="Calibri"/>
                <a:sym typeface="Wingdings"/>
              </a:rPr>
              <a:t>GENERAZIONE</a:t>
            </a:r>
          </a:p>
          <a:p>
            <a:pPr>
              <a:lnSpc>
                <a:spcPts val="1439"/>
              </a:lnSpc>
              <a:spcBef>
                <a:spcPts val="38"/>
              </a:spcBef>
              <a:defRPr/>
            </a:pPr>
            <a:r>
              <a:rPr sz="1200" b="1">
                <a:ln w="9525" cap="flat" cmpd="sng" algn="ctr">
                  <a:noFill/>
                  <a:prstDash val="solid"/>
                  <a:round/>
                  <a:headEnd type="none" w="med" len="med"/>
                  <a:tailEnd type="none" w="med" len="med"/>
                </a:ln>
                <a:solidFill>
                  <a:srgbClr val="FFFFFF"/>
                </a:solidFill>
                <a:latin typeface="Calibri"/>
                <a:cs typeface="Calibri"/>
                <a:sym typeface="Wingdings"/>
              </a:rPr>
              <a:t>ENERGIA </a:t>
            </a:r>
            <a:r>
              <a:rPr sz="1200" b="1" spc="-26">
                <a:ln w="9525" cap="flat" cmpd="sng" algn="ctr">
                  <a:noFill/>
                  <a:prstDash val="solid"/>
                  <a:round/>
                  <a:headEnd type="none" w="med" len="med"/>
                  <a:tailEnd type="none" w="med" len="med"/>
                </a:ln>
                <a:solidFill>
                  <a:srgbClr val="FFFFFF"/>
                </a:solidFill>
                <a:latin typeface="Calibri"/>
                <a:cs typeface="Calibri"/>
                <a:sym typeface="Wingdings"/>
              </a:rPr>
              <a:t>DA</a:t>
            </a:r>
            <a:r>
              <a:rPr sz="1200" b="1" spc="35">
                <a:ln w="9525" cap="flat" cmpd="sng" algn="ctr">
                  <a:noFill/>
                  <a:prstDash val="solid"/>
                  <a:round/>
                  <a:headEnd type="none" w="med" len="med"/>
                  <a:tailEnd type="none" w="med" len="med"/>
                </a:ln>
                <a:solidFill>
                  <a:srgbClr val="FFFFFF"/>
                </a:solidFill>
                <a:latin typeface="Calibri"/>
                <a:cs typeface="Calibri"/>
                <a:sym typeface="Wingdings"/>
              </a:rPr>
              <a:t> </a:t>
            </a:r>
            <a:r>
              <a:rPr sz="1200" b="1">
                <a:ln w="9525" cap="flat" cmpd="sng" algn="ctr">
                  <a:noFill/>
                  <a:prstDash val="solid"/>
                  <a:round/>
                  <a:headEnd type="none" w="med" len="med"/>
                  <a:tailEnd type="none" w="med" len="med"/>
                </a:ln>
                <a:solidFill>
                  <a:srgbClr val="FFFFFF"/>
                </a:solidFill>
                <a:latin typeface="Calibri"/>
                <a:cs typeface="Calibri"/>
                <a:sym typeface="Wingdings"/>
              </a:rPr>
              <a:t>FONTI</a:t>
            </a:r>
          </a:p>
          <a:p>
            <a:pPr marL="186308">
              <a:lnSpc>
                <a:spcPts val="1442"/>
              </a:lnSpc>
              <a:defRPr/>
            </a:pPr>
            <a:r>
              <a:rPr sz="1200" b="1" spc="-8">
                <a:ln w="9525" cap="flat" cmpd="sng" algn="ctr">
                  <a:noFill/>
                  <a:prstDash val="solid"/>
                  <a:round/>
                  <a:headEnd type="none" w="med" len="med"/>
                  <a:tailEnd type="none" w="med" len="med"/>
                </a:ln>
                <a:solidFill>
                  <a:srgbClr val="FFFFFF"/>
                </a:solidFill>
                <a:latin typeface="Calibri"/>
                <a:cs typeface="Calibri"/>
                <a:sym typeface="Wingdings"/>
              </a:rPr>
              <a:t>RINNOVABILI</a:t>
            </a:r>
          </a:p>
        </p:txBody>
      </p:sp>
      <p:sp>
        <p:nvSpPr>
          <p:cNvPr id="15" name="object 15"/>
          <p:cNvSpPr txBox="1"/>
          <p:nvPr>
            <p:custDataLst>
              <p:tags r:id="rId14"/>
            </p:custDataLst>
          </p:nvPr>
        </p:nvSpPr>
        <p:spPr>
          <a:xfrm>
            <a:off x="3153966" y="3111104"/>
            <a:ext cx="1098947" cy="371897"/>
          </a:xfrm>
          <a:prstGeom prst="rect">
            <a:avLst/>
          </a:prstGeom>
          <a:noFill/>
          <a:ln w="9525" cap="flat" cmpd="sng" algn="ctr">
            <a:noFill/>
            <a:prstDash val="solid"/>
            <a:round/>
            <a:headEnd type="none" w="med" len="med"/>
            <a:tailEnd type="none" w="med" len="med"/>
          </a:ln>
        </p:spPr>
        <p:txBody>
          <a:bodyPr lIns="0" tIns="0" rIns="0" bIns="0">
            <a:spAutoFit/>
          </a:bodyPr>
          <a:lstStyle/>
          <a:p>
            <a:pPr>
              <a:lnSpc>
                <a:spcPts val="1461"/>
              </a:lnSpc>
              <a:defRPr/>
            </a:pPr>
            <a:r>
              <a:rPr sz="1200" b="1">
                <a:ln w="9525" cap="flat" cmpd="sng" algn="ctr">
                  <a:noFill/>
                  <a:prstDash val="solid"/>
                  <a:round/>
                  <a:headEnd type="none" w="med" len="med"/>
                  <a:tailEnd type="none" w="med" len="med"/>
                </a:ln>
                <a:solidFill>
                  <a:srgbClr val="FFFFFF"/>
                </a:solidFill>
                <a:latin typeface="Calibri"/>
                <a:cs typeface="Calibri"/>
                <a:sym typeface="Wingdings"/>
              </a:rPr>
              <a:t>DISTRIBUZIONE</a:t>
            </a:r>
          </a:p>
          <a:p>
            <a:pPr marL="160211">
              <a:lnSpc>
                <a:spcPts val="1439"/>
              </a:lnSpc>
              <a:spcBef>
                <a:spcPts val="38"/>
              </a:spcBef>
              <a:defRPr/>
            </a:pPr>
            <a:r>
              <a:rPr sz="1200" b="1">
                <a:ln w="9525" cap="flat" cmpd="sng" algn="ctr">
                  <a:noFill/>
                  <a:prstDash val="solid"/>
                  <a:round/>
                  <a:headEnd type="none" w="med" len="med"/>
                  <a:tailEnd type="none" w="med" len="med"/>
                </a:ln>
                <a:solidFill>
                  <a:srgbClr val="FFFFFF"/>
                </a:solidFill>
                <a:latin typeface="Calibri"/>
                <a:cs typeface="Calibri"/>
                <a:sym typeface="Wingdings"/>
              </a:rPr>
              <a:t>ELETTRICA</a:t>
            </a:r>
          </a:p>
        </p:txBody>
      </p:sp>
      <p:sp>
        <p:nvSpPr>
          <p:cNvPr id="16" name="object 16"/>
          <p:cNvSpPr txBox="1"/>
          <p:nvPr>
            <p:custDataLst>
              <p:tags r:id="rId15"/>
            </p:custDataLst>
          </p:nvPr>
        </p:nvSpPr>
        <p:spPr>
          <a:xfrm>
            <a:off x="7450932" y="3117057"/>
            <a:ext cx="856060" cy="371897"/>
          </a:xfrm>
          <a:prstGeom prst="rect">
            <a:avLst/>
          </a:prstGeom>
          <a:noFill/>
          <a:ln w="9525" cap="flat" cmpd="sng" algn="ctr">
            <a:noFill/>
            <a:prstDash val="solid"/>
            <a:round/>
            <a:headEnd type="none" w="med" len="med"/>
            <a:tailEnd type="none" w="med" len="med"/>
          </a:ln>
        </p:spPr>
        <p:txBody>
          <a:bodyPr lIns="0" tIns="0" rIns="0" bIns="0">
            <a:spAutoFit/>
          </a:bodyPr>
          <a:lstStyle/>
          <a:p>
            <a:pPr marL="33147">
              <a:lnSpc>
                <a:spcPts val="1461"/>
              </a:lnSpc>
              <a:defRPr/>
            </a:pPr>
            <a:r>
              <a:rPr sz="1200" b="1">
                <a:ln w="9525" cap="flat" cmpd="sng" algn="ctr">
                  <a:noFill/>
                  <a:prstDash val="solid"/>
                  <a:round/>
                  <a:headEnd type="none" w="med" len="med"/>
                  <a:tailEnd type="none" w="med" len="med"/>
                </a:ln>
                <a:solidFill>
                  <a:srgbClr val="FFFFFF"/>
                </a:solidFill>
                <a:latin typeface="Calibri"/>
                <a:cs typeface="Calibri"/>
                <a:sym typeface="Wingdings"/>
              </a:rPr>
              <a:t>RICARICHE</a:t>
            </a:r>
          </a:p>
          <a:p>
            <a:pPr>
              <a:lnSpc>
                <a:spcPts val="1439"/>
              </a:lnSpc>
              <a:spcBef>
                <a:spcPts val="38"/>
              </a:spcBef>
              <a:defRPr/>
            </a:pPr>
            <a:r>
              <a:rPr sz="1200" b="1">
                <a:ln w="9525" cap="flat" cmpd="sng" algn="ctr">
                  <a:noFill/>
                  <a:prstDash val="solid"/>
                  <a:round/>
                  <a:headEnd type="none" w="med" len="med"/>
                  <a:tailEnd type="none" w="med" len="med"/>
                </a:ln>
                <a:solidFill>
                  <a:srgbClr val="FFFFFF"/>
                </a:solidFill>
                <a:latin typeface="Calibri"/>
                <a:cs typeface="Calibri"/>
                <a:sym typeface="Wingdings"/>
              </a:rPr>
              <a:t>ELETTRICHE</a:t>
            </a:r>
          </a:p>
        </p:txBody>
      </p:sp>
      <p:sp>
        <p:nvSpPr>
          <p:cNvPr id="17" name="object 17"/>
          <p:cNvSpPr txBox="1"/>
          <p:nvPr>
            <p:custDataLst>
              <p:tags r:id="rId16"/>
            </p:custDataLst>
          </p:nvPr>
        </p:nvSpPr>
        <p:spPr>
          <a:xfrm>
            <a:off x="385167" y="3799114"/>
            <a:ext cx="1820466" cy="205184"/>
          </a:xfrm>
          <a:prstGeom prst="rect">
            <a:avLst/>
          </a:prstGeom>
          <a:noFill/>
          <a:ln w="9525" cap="flat" cmpd="sng" algn="ctr">
            <a:noFill/>
            <a:prstDash val="solid"/>
            <a:round/>
            <a:headEnd type="none" w="med" len="med"/>
            <a:tailEnd type="none" w="med" len="med"/>
          </a:ln>
        </p:spPr>
        <p:txBody>
          <a:bodyPr lIns="0" tIns="0" rIns="0" bIns="0">
            <a:spAutoFit/>
          </a:bodyPr>
          <a:lstStyle/>
          <a:p>
            <a:pPr>
              <a:lnSpc>
                <a:spcPts val="1648"/>
              </a:lnSpc>
              <a:defRPr/>
            </a:pPr>
            <a:r>
              <a:rPr sz="1350" b="1" dirty="0">
                <a:ln w="9525" cap="flat" cmpd="sng" algn="ctr">
                  <a:noFill/>
                  <a:prstDash val="solid"/>
                  <a:round/>
                  <a:headEnd type="none" w="med" len="med"/>
                  <a:tailEnd type="none" w="med" len="med"/>
                </a:ln>
                <a:solidFill>
                  <a:srgbClr val="DC002E"/>
                </a:solidFill>
                <a:latin typeface="Calibri"/>
                <a:cs typeface="Calibri"/>
                <a:sym typeface="Wingdings"/>
              </a:rPr>
              <a:t>SERVIZI E </a:t>
            </a:r>
            <a:r>
              <a:rPr sz="1350" b="1" spc="-19" dirty="0">
                <a:ln w="9525" cap="flat" cmpd="sng" algn="ctr">
                  <a:noFill/>
                  <a:prstDash val="solid"/>
                  <a:round/>
                  <a:headEnd type="none" w="med" len="med"/>
                  <a:tailEnd type="none" w="med" len="med"/>
                </a:ln>
                <a:solidFill>
                  <a:srgbClr val="DC002E"/>
                </a:solidFill>
                <a:latin typeface="Calibri"/>
                <a:cs typeface="Calibri"/>
                <a:sym typeface="Wingdings"/>
              </a:rPr>
              <a:t>PIATTAFORME</a:t>
            </a:r>
          </a:p>
        </p:txBody>
      </p:sp>
      <p:sp>
        <p:nvSpPr>
          <p:cNvPr id="18" name="object 18"/>
          <p:cNvSpPr txBox="1"/>
          <p:nvPr>
            <p:custDataLst>
              <p:tags r:id="rId17"/>
            </p:custDataLst>
          </p:nvPr>
        </p:nvSpPr>
        <p:spPr>
          <a:xfrm>
            <a:off x="1469232" y="4120754"/>
            <a:ext cx="1222772" cy="192360"/>
          </a:xfrm>
          <a:prstGeom prst="rect">
            <a:avLst/>
          </a:prstGeom>
          <a:noFill/>
          <a:ln w="9525" cap="flat" cmpd="sng" algn="ctr">
            <a:noFill/>
            <a:prstDash val="solid"/>
            <a:round/>
            <a:headEnd type="none" w="med" len="med"/>
            <a:tailEnd type="none" w="med" len="med"/>
          </a:ln>
        </p:spPr>
        <p:txBody>
          <a:bodyPr lIns="0" tIns="0" rIns="0" bIns="0">
            <a:spAutoFit/>
          </a:bodyPr>
          <a:lstStyle/>
          <a:p>
            <a:pPr>
              <a:lnSpc>
                <a:spcPts val="1461"/>
              </a:lnSpc>
              <a:defRPr/>
            </a:pPr>
            <a:r>
              <a:rPr sz="1200" b="1">
                <a:ln w="9525" cap="flat" cmpd="sng" algn="ctr">
                  <a:noFill/>
                  <a:prstDash val="solid"/>
                  <a:round/>
                  <a:headEnd type="none" w="med" len="med"/>
                  <a:tailEnd type="none" w="med" len="med"/>
                </a:ln>
                <a:solidFill>
                  <a:srgbClr val="FFFFFF"/>
                </a:solidFill>
                <a:latin typeface="Calibri"/>
                <a:cs typeface="Calibri"/>
                <a:sym typeface="Wingdings"/>
              </a:rPr>
              <a:t>SERVIZI</a:t>
            </a:r>
            <a:r>
              <a:rPr sz="1200" b="1" spc="8">
                <a:ln w="9525" cap="flat" cmpd="sng" algn="ctr">
                  <a:noFill/>
                  <a:prstDash val="solid"/>
                  <a:round/>
                  <a:headEnd type="none" w="med" len="med"/>
                  <a:tailEnd type="none" w="med" len="med"/>
                </a:ln>
                <a:solidFill>
                  <a:srgbClr val="FFFFFF"/>
                </a:solidFill>
                <a:latin typeface="Calibri"/>
                <a:cs typeface="Calibri"/>
                <a:sym typeface="Wingdings"/>
              </a:rPr>
              <a:t> </a:t>
            </a:r>
            <a:r>
              <a:rPr sz="1200" b="1">
                <a:ln w="9525" cap="flat" cmpd="sng" algn="ctr">
                  <a:noFill/>
                  <a:prstDash val="solid"/>
                  <a:round/>
                  <a:headEnd type="none" w="med" len="med"/>
                  <a:tailEnd type="none" w="med" len="med"/>
                </a:ln>
                <a:solidFill>
                  <a:srgbClr val="FFFFFF"/>
                </a:solidFill>
                <a:latin typeface="Calibri"/>
                <a:cs typeface="Calibri"/>
                <a:sym typeface="Wingdings"/>
              </a:rPr>
              <a:t>A BORDO</a:t>
            </a:r>
          </a:p>
        </p:txBody>
      </p:sp>
      <p:sp>
        <p:nvSpPr>
          <p:cNvPr id="19" name="object 19"/>
          <p:cNvSpPr txBox="1"/>
          <p:nvPr>
            <p:custDataLst>
              <p:tags r:id="rId18"/>
            </p:custDataLst>
          </p:nvPr>
        </p:nvSpPr>
        <p:spPr>
          <a:xfrm>
            <a:off x="4298157" y="4188619"/>
            <a:ext cx="1107281" cy="371897"/>
          </a:xfrm>
          <a:prstGeom prst="rect">
            <a:avLst/>
          </a:prstGeom>
          <a:noFill/>
          <a:ln w="9525" cap="flat" cmpd="sng" algn="ctr">
            <a:noFill/>
            <a:prstDash val="solid"/>
            <a:round/>
            <a:headEnd type="none" w="med" len="med"/>
            <a:tailEnd type="none" w="med" len="med"/>
          </a:ln>
        </p:spPr>
        <p:txBody>
          <a:bodyPr lIns="0" tIns="0" rIns="0" bIns="0">
            <a:spAutoFit/>
          </a:bodyPr>
          <a:lstStyle/>
          <a:p>
            <a:pPr>
              <a:lnSpc>
                <a:spcPts val="1461"/>
              </a:lnSpc>
              <a:defRPr/>
            </a:pPr>
            <a:r>
              <a:rPr sz="1200" b="1" spc="-9">
                <a:ln w="9525" cap="flat" cmpd="sng" algn="ctr">
                  <a:noFill/>
                  <a:prstDash val="solid"/>
                  <a:round/>
                  <a:headEnd type="none" w="med" len="med"/>
                  <a:tailEnd type="none" w="med" len="med"/>
                </a:ln>
                <a:solidFill>
                  <a:srgbClr val="FFFFFF"/>
                </a:solidFill>
                <a:latin typeface="Calibri"/>
                <a:cs typeface="Calibri"/>
                <a:sym typeface="Wingdings"/>
              </a:rPr>
              <a:t>INFO-MOBILITÀ</a:t>
            </a:r>
          </a:p>
          <a:p>
            <a:pPr marL="61722">
              <a:lnSpc>
                <a:spcPts val="1439"/>
              </a:lnSpc>
              <a:spcBef>
                <a:spcPts val="38"/>
              </a:spcBef>
              <a:defRPr/>
            </a:pPr>
            <a:r>
              <a:rPr sz="1200" b="1">
                <a:ln w="9525" cap="flat" cmpd="sng" algn="ctr">
                  <a:noFill/>
                  <a:prstDash val="solid"/>
                  <a:round/>
                  <a:headEnd type="none" w="med" len="med"/>
                  <a:tailEnd type="none" w="med" len="med"/>
                </a:ln>
                <a:solidFill>
                  <a:srgbClr val="FFFFFF"/>
                </a:solidFill>
                <a:latin typeface="Calibri"/>
                <a:cs typeface="Calibri"/>
                <a:sym typeface="Wingdings"/>
              </a:rPr>
              <a:t>IN REAL-TIME</a:t>
            </a:r>
          </a:p>
        </p:txBody>
      </p:sp>
      <p:sp>
        <p:nvSpPr>
          <p:cNvPr id="20" name="object 20"/>
          <p:cNvSpPr txBox="1"/>
          <p:nvPr>
            <p:custDataLst>
              <p:tags r:id="rId19"/>
            </p:custDataLst>
          </p:nvPr>
        </p:nvSpPr>
        <p:spPr>
          <a:xfrm>
            <a:off x="6786563" y="4238625"/>
            <a:ext cx="1466850" cy="371897"/>
          </a:xfrm>
          <a:prstGeom prst="rect">
            <a:avLst/>
          </a:prstGeom>
          <a:noFill/>
          <a:ln w="9525" cap="flat" cmpd="sng" algn="ctr">
            <a:noFill/>
            <a:prstDash val="solid"/>
            <a:round/>
            <a:headEnd type="none" w="med" len="med"/>
            <a:tailEnd type="none" w="med" len="med"/>
          </a:ln>
        </p:spPr>
        <p:txBody>
          <a:bodyPr lIns="0" tIns="0" rIns="0" bIns="0">
            <a:spAutoFit/>
          </a:bodyPr>
          <a:lstStyle/>
          <a:p>
            <a:pPr>
              <a:lnSpc>
                <a:spcPts val="1463"/>
              </a:lnSpc>
              <a:defRPr/>
            </a:pPr>
            <a:r>
              <a:rPr sz="1200" b="1">
                <a:ln w="9525" cap="flat" cmpd="sng" algn="ctr">
                  <a:noFill/>
                  <a:prstDash val="solid"/>
                  <a:round/>
                  <a:headEnd type="none" w="med" len="med"/>
                  <a:tailEnd type="none" w="med" len="med"/>
                </a:ln>
                <a:solidFill>
                  <a:srgbClr val="FFFFFF"/>
                </a:solidFill>
                <a:latin typeface="Calibri"/>
                <a:cs typeface="Calibri"/>
                <a:sym typeface="Wingdings"/>
              </a:rPr>
              <a:t>INTELLIGENT TRAFFIC</a:t>
            </a:r>
          </a:p>
          <a:p>
            <a:pPr marL="426339">
              <a:lnSpc>
                <a:spcPts val="1442"/>
              </a:lnSpc>
              <a:defRPr/>
            </a:pPr>
            <a:r>
              <a:rPr sz="1200" b="1" spc="-11">
                <a:ln w="9525" cap="flat" cmpd="sng" algn="ctr">
                  <a:noFill/>
                  <a:prstDash val="solid"/>
                  <a:round/>
                  <a:headEnd type="none" w="med" len="med"/>
                  <a:tailEnd type="none" w="med" len="med"/>
                </a:ln>
                <a:solidFill>
                  <a:srgbClr val="FFFFFF"/>
                </a:solidFill>
                <a:latin typeface="Calibri"/>
                <a:cs typeface="Calibri"/>
                <a:sym typeface="Wingdings"/>
              </a:rPr>
              <a:t>SYSTEM</a:t>
            </a:r>
          </a:p>
        </p:txBody>
      </p:sp>
      <p:sp>
        <p:nvSpPr>
          <p:cNvPr id="21" name="object 21"/>
          <p:cNvSpPr txBox="1"/>
          <p:nvPr>
            <p:custDataLst>
              <p:tags r:id="rId20"/>
            </p:custDataLst>
          </p:nvPr>
        </p:nvSpPr>
        <p:spPr>
          <a:xfrm>
            <a:off x="1566863" y="4302919"/>
            <a:ext cx="1026319" cy="371897"/>
          </a:xfrm>
          <a:prstGeom prst="rect">
            <a:avLst/>
          </a:prstGeom>
          <a:noFill/>
          <a:ln w="9525" cap="flat" cmpd="sng" algn="ctr">
            <a:noFill/>
            <a:prstDash val="solid"/>
            <a:round/>
            <a:headEnd type="none" w="med" len="med"/>
            <a:tailEnd type="none" w="med" len="med"/>
          </a:ln>
        </p:spPr>
        <p:txBody>
          <a:bodyPr lIns="0" tIns="0" rIns="0" bIns="0">
            <a:spAutoFit/>
          </a:bodyPr>
          <a:lstStyle/>
          <a:p>
            <a:pPr marL="196595">
              <a:lnSpc>
                <a:spcPts val="1461"/>
              </a:lnSpc>
              <a:defRPr/>
            </a:pPr>
            <a:r>
              <a:rPr sz="1200" b="1" spc="-8">
                <a:ln w="9525" cap="flat" cmpd="sng" algn="ctr">
                  <a:noFill/>
                  <a:prstDash val="solid"/>
                  <a:round/>
                  <a:headEnd type="none" w="med" len="med"/>
                  <a:tailEnd type="none" w="med" len="med"/>
                </a:ln>
                <a:solidFill>
                  <a:srgbClr val="FFFFFF"/>
                </a:solidFill>
                <a:latin typeface="Calibri"/>
                <a:cs typeface="Calibri"/>
                <a:sym typeface="Wingdings"/>
              </a:rPr>
              <a:t>CON</a:t>
            </a:r>
            <a:r>
              <a:rPr sz="1200" b="1" spc="15">
                <a:ln w="9525" cap="flat" cmpd="sng" algn="ctr">
                  <a:noFill/>
                  <a:prstDash val="solid"/>
                  <a:round/>
                  <a:headEnd type="none" w="med" len="med"/>
                  <a:tailEnd type="none" w="med" len="med"/>
                </a:ln>
                <a:solidFill>
                  <a:srgbClr val="FFFFFF"/>
                </a:solidFill>
                <a:latin typeface="Calibri"/>
                <a:cs typeface="Calibri"/>
                <a:sym typeface="Wingdings"/>
              </a:rPr>
              <a:t> </a:t>
            </a:r>
            <a:r>
              <a:rPr sz="1200" b="1">
                <a:ln w="9525" cap="flat" cmpd="sng" algn="ctr">
                  <a:noFill/>
                  <a:prstDash val="solid"/>
                  <a:round/>
                  <a:headEnd type="none" w="med" len="med"/>
                  <a:tailEnd type="none" w="med" len="med"/>
                </a:ln>
                <a:solidFill>
                  <a:srgbClr val="FFFFFF"/>
                </a:solidFill>
                <a:latin typeface="Calibri"/>
                <a:cs typeface="Calibri"/>
                <a:sym typeface="Wingdings"/>
              </a:rPr>
              <a:t>GLI</a:t>
            </a:r>
          </a:p>
          <a:p>
            <a:pPr>
              <a:lnSpc>
                <a:spcPts val="1439"/>
              </a:lnSpc>
              <a:spcBef>
                <a:spcPts val="38"/>
              </a:spcBef>
              <a:defRPr/>
            </a:pPr>
            <a:r>
              <a:rPr sz="1200" b="1">
                <a:ln w="9525" cap="flat" cmpd="sng" algn="ctr">
                  <a:noFill/>
                  <a:prstDash val="solid"/>
                  <a:round/>
                  <a:headEnd type="none" w="med" len="med"/>
                  <a:tailEnd type="none" w="med" len="med"/>
                </a:ln>
                <a:solidFill>
                  <a:srgbClr val="FFFFFF"/>
                </a:solidFill>
                <a:latin typeface="Calibri"/>
                <a:cs typeface="Calibri"/>
                <a:sym typeface="Wingdings"/>
              </a:rPr>
              <a:t>SMARTPHONE</a:t>
            </a:r>
          </a:p>
        </p:txBody>
      </p:sp>
      <p:sp>
        <p:nvSpPr>
          <p:cNvPr id="14358" name="object 22"/>
          <p:cNvSpPr>
            <a:spLocks noChangeArrowheads="1"/>
          </p:cNvSpPr>
          <p:nvPr>
            <p:custDataLst>
              <p:tags r:id="rId21"/>
            </p:custDataLst>
          </p:nvPr>
        </p:nvSpPr>
        <p:spPr bwMode="auto">
          <a:xfrm>
            <a:off x="8942785" y="5187554"/>
            <a:ext cx="161925"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lIns="0" tIns="0" rIns="0" bIns="0">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nSpc>
                <a:spcPts val="910"/>
              </a:lnSpc>
              <a:buSzPct val="100000"/>
            </a:pPr>
            <a:r>
              <a:rPr lang="it-IT" altLang="it-IT" sz="750" dirty="0">
                <a:solidFill>
                  <a:srgbClr val="FFFFFF"/>
                </a:solidFill>
                <a:cs typeface="Calibri" panose="020F0502020204030204" pitchFamily="34" charset="0"/>
              </a:rPr>
              <a:t>32</a:t>
            </a:r>
            <a:endParaRPr lang="ru-RU" altLang="it-IT" sz="750" dirty="0">
              <a:solidFill>
                <a:srgbClr val="FFFFFF"/>
              </a:solidFill>
              <a:cs typeface="Calibri" panose="020F0502020204030204" pitchFamily="34" charset="0"/>
            </a:endParaRPr>
          </a:p>
        </p:txBody>
      </p:sp>
      <p:graphicFrame>
        <p:nvGraphicFramePr>
          <p:cNvPr id="23" name="Diagramma 22"/>
          <p:cNvGraphicFramePr/>
          <p:nvPr>
            <p:extLst>
              <p:ext uri="{D42A27DB-BD31-4B8C-83A1-F6EECF244321}">
                <p14:modId xmlns:p14="http://schemas.microsoft.com/office/powerpoint/2010/main" val="669582933"/>
              </p:ext>
            </p:extLst>
          </p:nvPr>
        </p:nvGraphicFramePr>
        <p:xfrm>
          <a:off x="134978" y="16679"/>
          <a:ext cx="8286246" cy="811672"/>
        </p:xfrm>
        <a:graphic>
          <a:graphicData uri="http://schemas.openxmlformats.org/drawingml/2006/diagram">
            <dgm:relIds xmlns:dgm="http://schemas.openxmlformats.org/drawingml/2006/diagram" xmlns:r="http://schemas.openxmlformats.org/officeDocument/2006/relationships" r:dm="rId24" r:lo="rId25" r:qs="rId26" r:cs="rId27"/>
          </a:graphicData>
        </a:graphic>
      </p:graphicFrame>
    </p:spTree>
    <p:extLst>
      <p:ext uri="{BB962C8B-B14F-4D97-AF65-F5344CB8AC3E}">
        <p14:creationId xmlns:p14="http://schemas.microsoft.com/office/powerpoint/2010/main" val="3373891923"/>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Grafico 3">
            <a:extLst>
              <a:ext uri="{FF2B5EF4-FFF2-40B4-BE49-F238E27FC236}">
                <a16:creationId xmlns:a16="http://schemas.microsoft.com/office/drawing/2014/main" id="{1EDA891D-0938-45A8-8030-0BFF1BE298C9}"/>
              </a:ext>
            </a:extLst>
          </p:cNvPr>
          <p:cNvGraphicFramePr/>
          <p:nvPr/>
        </p:nvGraphicFramePr>
        <p:xfrm>
          <a:off x="1574793" y="809697"/>
          <a:ext cx="6837686" cy="348174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Tabella 5">
            <a:extLst>
              <a:ext uri="{FF2B5EF4-FFF2-40B4-BE49-F238E27FC236}">
                <a16:creationId xmlns:a16="http://schemas.microsoft.com/office/drawing/2014/main" id="{5E43FB1D-4316-4C9F-902D-1C18E5545086}"/>
              </a:ext>
            </a:extLst>
          </p:cNvPr>
          <p:cNvGraphicFramePr>
            <a:graphicFrameLocks noGrp="1"/>
          </p:cNvGraphicFramePr>
          <p:nvPr/>
        </p:nvGraphicFramePr>
        <p:xfrm>
          <a:off x="1574793" y="4694776"/>
          <a:ext cx="6837687" cy="581098"/>
        </p:xfrm>
        <a:graphic>
          <a:graphicData uri="http://schemas.openxmlformats.org/drawingml/2006/table">
            <a:tbl>
              <a:tblPr firstRow="1" bandRow="1">
                <a:tableStyleId>{5C22544A-7EE6-4342-B048-85BDC9FD1C3A}</a:tableStyleId>
              </a:tblPr>
              <a:tblGrid>
                <a:gridCol w="2376130">
                  <a:extLst>
                    <a:ext uri="{9D8B030D-6E8A-4147-A177-3AD203B41FA5}">
                      <a16:colId xmlns:a16="http://schemas.microsoft.com/office/drawing/2014/main" val="20000"/>
                    </a:ext>
                  </a:extLst>
                </a:gridCol>
                <a:gridCol w="1573095">
                  <a:extLst>
                    <a:ext uri="{9D8B030D-6E8A-4147-A177-3AD203B41FA5}">
                      <a16:colId xmlns:a16="http://schemas.microsoft.com/office/drawing/2014/main" val="3290927202"/>
                    </a:ext>
                  </a:extLst>
                </a:gridCol>
                <a:gridCol w="1401276">
                  <a:extLst>
                    <a:ext uri="{9D8B030D-6E8A-4147-A177-3AD203B41FA5}">
                      <a16:colId xmlns:a16="http://schemas.microsoft.com/office/drawing/2014/main" val="2552373600"/>
                    </a:ext>
                  </a:extLst>
                </a:gridCol>
                <a:gridCol w="1487186">
                  <a:extLst>
                    <a:ext uri="{9D8B030D-6E8A-4147-A177-3AD203B41FA5}">
                      <a16:colId xmlns:a16="http://schemas.microsoft.com/office/drawing/2014/main" val="3634963228"/>
                    </a:ext>
                  </a:extLst>
                </a:gridCol>
              </a:tblGrid>
              <a:tr h="243986">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it-IT" sz="800" b="1" i="0" u="none" strike="noStrike" dirty="0">
                          <a:solidFill>
                            <a:schemeClr val="tx1"/>
                          </a:solidFill>
                          <a:effectLst/>
                          <a:latin typeface="Calibri" panose="020F0502020204030204" pitchFamily="34" charset="0"/>
                        </a:rPr>
                        <a:t>Pagamenti €/000</a:t>
                      </a:r>
                    </a:p>
                  </a:txBody>
                  <a:tcPr marL="7144" marR="7144" marT="7144" marB="0" anchor="ctr">
                    <a:gradFill>
                      <a:gsLst>
                        <a:gs pos="0">
                          <a:srgbClr val="C00000"/>
                        </a:gs>
                        <a:gs pos="50000">
                          <a:srgbClr val="FF3F3F"/>
                        </a:gs>
                        <a:gs pos="100000">
                          <a:srgbClr val="FFE7E1"/>
                        </a:gs>
                      </a:gsLst>
                      <a:lin ang="16200000" scaled="1"/>
                    </a:gra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it-IT" sz="800" b="1" i="0" u="none" strike="noStrike" dirty="0">
                          <a:solidFill>
                            <a:schemeClr val="tx1"/>
                          </a:solidFill>
                          <a:effectLst/>
                          <a:latin typeface="Calibri" panose="020F0502020204030204" pitchFamily="34" charset="0"/>
                        </a:rPr>
                        <a:t>2019</a:t>
                      </a:r>
                    </a:p>
                  </a:txBody>
                  <a:tcPr marL="7144" marR="7144" marT="7144" marB="0" anchor="ctr">
                    <a:gradFill>
                      <a:gsLst>
                        <a:gs pos="0">
                          <a:srgbClr val="C00000"/>
                        </a:gs>
                        <a:gs pos="50000">
                          <a:srgbClr val="FF3F3F"/>
                        </a:gs>
                        <a:gs pos="100000">
                          <a:srgbClr val="FFE7E1"/>
                        </a:gs>
                      </a:gsLst>
                      <a:lin ang="16200000" scaled="1"/>
                    </a:gradFill>
                  </a:tcPr>
                </a:tc>
                <a:tc>
                  <a:txBody>
                    <a:bodyPr/>
                    <a:lstStyle/>
                    <a:p>
                      <a:pPr algn="ctr"/>
                      <a:r>
                        <a:rPr lang="it-IT" sz="800" b="1" i="0" u="none" strike="noStrike" dirty="0">
                          <a:solidFill>
                            <a:schemeClr val="tx1"/>
                          </a:solidFill>
                          <a:effectLst/>
                          <a:latin typeface="Calibri" panose="020F0502020204030204" pitchFamily="34" charset="0"/>
                        </a:rPr>
                        <a:t>2020</a:t>
                      </a:r>
                      <a:endParaRPr lang="it-IT" sz="1400" b="1" dirty="0">
                        <a:solidFill>
                          <a:schemeClr val="tx1"/>
                        </a:solidFill>
                      </a:endParaRPr>
                    </a:p>
                  </a:txBody>
                  <a:tcPr marL="7144" marR="7144" marT="7144" marB="0" anchor="ctr">
                    <a:gradFill>
                      <a:gsLst>
                        <a:gs pos="0">
                          <a:srgbClr val="C00000"/>
                        </a:gs>
                        <a:gs pos="50000">
                          <a:srgbClr val="FF3F3F"/>
                        </a:gs>
                        <a:gs pos="100000">
                          <a:srgbClr val="FFE7E1"/>
                        </a:gs>
                      </a:gsLst>
                      <a:lin ang="16200000" scaled="1"/>
                    </a:gradFill>
                  </a:tcPr>
                </a:tc>
                <a:tc>
                  <a:txBody>
                    <a:bodyPr/>
                    <a:lstStyle/>
                    <a:p>
                      <a:pPr algn="ctr"/>
                      <a:r>
                        <a:rPr lang="it-IT" sz="800" b="1" i="0" u="none" strike="noStrike" dirty="0">
                          <a:solidFill>
                            <a:schemeClr val="tx1"/>
                          </a:solidFill>
                          <a:effectLst/>
                          <a:latin typeface="Calibri" panose="020F0502020204030204" pitchFamily="34" charset="0"/>
                        </a:rPr>
                        <a:t>2021</a:t>
                      </a:r>
                      <a:endParaRPr lang="it-IT" sz="1400" b="1" dirty="0">
                        <a:solidFill>
                          <a:schemeClr val="tx1"/>
                        </a:solidFill>
                      </a:endParaRPr>
                    </a:p>
                  </a:txBody>
                  <a:tcPr marL="7144" marR="7144" marT="7144" marB="0" anchor="ctr">
                    <a:gradFill>
                      <a:gsLst>
                        <a:gs pos="0">
                          <a:srgbClr val="C00000"/>
                        </a:gs>
                        <a:gs pos="50000">
                          <a:srgbClr val="FF3F3F"/>
                        </a:gs>
                        <a:gs pos="100000">
                          <a:srgbClr val="FFE7E1"/>
                        </a:gs>
                      </a:gsLst>
                      <a:lin ang="16200000" scaled="1"/>
                    </a:gradFill>
                  </a:tcPr>
                </a:tc>
                <a:extLst>
                  <a:ext uri="{0D108BD9-81ED-4DB2-BD59-A6C34878D82A}">
                    <a16:rowId xmlns:a16="http://schemas.microsoft.com/office/drawing/2014/main" val="10000"/>
                  </a:ext>
                </a:extLst>
              </a:tr>
              <a:tr h="337112">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it-IT" sz="800" b="1" i="0" u="none" strike="noStrike" dirty="0">
                          <a:solidFill>
                            <a:srgbClr val="000000"/>
                          </a:solidFill>
                          <a:effectLst/>
                          <a:latin typeface="Calibri" panose="020F0502020204030204" pitchFamily="34" charset="0"/>
                        </a:rPr>
                        <a:t>Totale</a:t>
                      </a:r>
                    </a:p>
                  </a:txBody>
                  <a:tcPr marL="7144" marR="7144" marT="7144" marB="0" anchor="ctr">
                    <a:solidFill>
                      <a:srgbClr val="FFE7E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it-IT" sz="800" b="1" i="0" u="none" strike="noStrike" dirty="0">
                          <a:solidFill>
                            <a:srgbClr val="000000"/>
                          </a:solidFill>
                          <a:effectLst/>
                          <a:latin typeface="Calibri" panose="020F0502020204030204" pitchFamily="34" charset="0"/>
                        </a:rPr>
                        <a:t>48.756</a:t>
                      </a:r>
                    </a:p>
                  </a:txBody>
                  <a:tcPr marL="7144" marR="7144" marT="7144" marB="0" anchor="ctr">
                    <a:solidFill>
                      <a:srgbClr val="FFE7E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it-IT" sz="800" b="1" i="0" u="none" strike="noStrike" dirty="0">
                          <a:solidFill>
                            <a:srgbClr val="000000"/>
                          </a:solidFill>
                          <a:effectLst/>
                          <a:latin typeface="Calibri" panose="020F0502020204030204" pitchFamily="34" charset="0"/>
                        </a:rPr>
                        <a:t>58.784</a:t>
                      </a:r>
                    </a:p>
                  </a:txBody>
                  <a:tcPr marL="7144" marR="7144" marT="7144" marB="0" anchor="ctr">
                    <a:solidFill>
                      <a:srgbClr val="FFE7E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it-IT" sz="800" b="1" i="0" u="none" strike="noStrike" dirty="0">
                          <a:solidFill>
                            <a:srgbClr val="000000"/>
                          </a:solidFill>
                          <a:effectLst/>
                          <a:latin typeface="Calibri" panose="020F0502020204030204" pitchFamily="34" charset="0"/>
                        </a:rPr>
                        <a:t>101.530</a:t>
                      </a:r>
                    </a:p>
                  </a:txBody>
                  <a:tcPr marL="7144" marR="7144" marT="7144" marB="0" anchor="ctr">
                    <a:solidFill>
                      <a:srgbClr val="FFE7E1"/>
                    </a:solidFill>
                  </a:tcPr>
                </a:tc>
                <a:extLst>
                  <a:ext uri="{0D108BD9-81ED-4DB2-BD59-A6C34878D82A}">
                    <a16:rowId xmlns:a16="http://schemas.microsoft.com/office/drawing/2014/main" val="10001"/>
                  </a:ext>
                </a:extLst>
              </a:tr>
            </a:tbl>
          </a:graphicData>
        </a:graphic>
      </p:graphicFrame>
      <p:graphicFrame>
        <p:nvGraphicFramePr>
          <p:cNvPr id="7" name="Diagramma 6"/>
          <p:cNvGraphicFramePr/>
          <p:nvPr>
            <p:extLst>
              <p:ext uri="{D42A27DB-BD31-4B8C-83A1-F6EECF244321}">
                <p14:modId xmlns:p14="http://schemas.microsoft.com/office/powerpoint/2010/main" val="1869207913"/>
              </p:ext>
            </p:extLst>
          </p:nvPr>
        </p:nvGraphicFramePr>
        <p:xfrm>
          <a:off x="134978" y="16679"/>
          <a:ext cx="8286246" cy="8116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973466826"/>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137" descr="U:\SOC\PMV\ANAS_GRA NOME PORTALI.bmp"/>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23125" y="1191573"/>
            <a:ext cx="5758837" cy="4172907"/>
          </a:xfrm>
          <a:prstGeom prst="rect">
            <a:avLst/>
          </a:prstGeom>
          <a:noFill/>
          <a:extLst>
            <a:ext uri="{909E8E84-426E-40DD-AFC4-6F175D3DCCD1}">
              <a14:hiddenFill xmlns:a14="http://schemas.microsoft.com/office/drawing/2010/main">
                <a:solidFill>
                  <a:srgbClr val="FFFFFF"/>
                </a:solidFill>
              </a14:hiddenFill>
            </a:ext>
          </a:extLst>
        </p:spPr>
      </p:pic>
      <p:pic>
        <p:nvPicPr>
          <p:cNvPr id="7" name="Immagine 1" descr="image00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3000" y="3030608"/>
            <a:ext cx="1869205" cy="525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949975" y="1786649"/>
            <a:ext cx="1051825" cy="853543"/>
          </a:xfrm>
          <a:prstGeom prst="rect">
            <a:avLst/>
          </a:prstGeom>
          <a:noFill/>
          <a:ln w="9525">
            <a:solidFill>
              <a:schemeClr val="tx1"/>
            </a:solidFill>
            <a:miter lim="800000"/>
            <a:headEnd/>
            <a:tailEnd/>
          </a:ln>
          <a:effectLst>
            <a:glow rad="101600">
              <a:schemeClr val="bg1">
                <a:lumMod val="75000"/>
                <a:alpha val="40000"/>
              </a:schemeClr>
            </a:glow>
            <a:outerShdw dist="35921" dir="2700000" algn="ctr" rotWithShape="0">
              <a:schemeClr val="bg2"/>
            </a:outerShdw>
          </a:effectLst>
          <a:extLst>
            <a:ext uri="{909E8E84-426E-40DD-AFC4-6F175D3DCCD1}">
              <a14:hiddenFill xmlns:a14="http://schemas.microsoft.com/office/drawing/2010/main">
                <a:solidFill>
                  <a:schemeClr val="accent1"/>
                </a:solidFill>
              </a14:hiddenFill>
            </a:ext>
          </a:extLst>
        </p:spPr>
      </p:pic>
      <p:pic>
        <p:nvPicPr>
          <p:cNvPr id="9" name="Picture 140"/>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943888" y="2728921"/>
            <a:ext cx="1064001" cy="857763"/>
          </a:xfrm>
          <a:prstGeom prst="rect">
            <a:avLst/>
          </a:prstGeom>
          <a:noFill/>
          <a:ln w="9525">
            <a:solidFill>
              <a:schemeClr val="tx1"/>
            </a:solidFill>
            <a:miter lim="800000"/>
            <a:headEnd/>
            <a:tailEnd/>
          </a:ln>
          <a:effectLst>
            <a:glow rad="101600">
              <a:schemeClr val="bg1">
                <a:lumMod val="75000"/>
                <a:alpha val="40000"/>
              </a:schemeClr>
            </a:glow>
            <a:outerShdw dist="35921" dir="2700000" algn="ctr" rotWithShape="0">
              <a:schemeClr val="bg2"/>
            </a:outerShdw>
          </a:effectLst>
          <a:extLst>
            <a:ext uri="{909E8E84-426E-40DD-AFC4-6F175D3DCCD1}">
              <a14:hiddenFill xmlns:a14="http://schemas.microsoft.com/office/drawing/2010/main">
                <a:solidFill>
                  <a:schemeClr val="accent1"/>
                </a:solidFill>
              </a14:hiddenFill>
            </a:ext>
          </a:extLst>
        </p:spPr>
      </p:pic>
      <p:pic>
        <p:nvPicPr>
          <p:cNvPr id="10" name="Picture 14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938154" y="3706382"/>
            <a:ext cx="1075471" cy="878064"/>
          </a:xfrm>
          <a:prstGeom prst="rect">
            <a:avLst/>
          </a:prstGeom>
          <a:noFill/>
          <a:ln w="9525">
            <a:solidFill>
              <a:schemeClr val="tx1"/>
            </a:solidFill>
            <a:miter lim="800000"/>
            <a:headEnd/>
            <a:tailEnd/>
          </a:ln>
          <a:effectLst>
            <a:glow rad="101600">
              <a:schemeClr val="bg1">
                <a:lumMod val="75000"/>
                <a:alpha val="40000"/>
              </a:schemeClr>
            </a:glow>
            <a:outerShdw dist="35921" dir="2700000" algn="ctr" rotWithShape="0">
              <a:schemeClr val="bg2"/>
            </a:outerShdw>
          </a:effectLst>
          <a:extLst>
            <a:ext uri="{909E8E84-426E-40DD-AFC4-6F175D3DCCD1}">
              <a14:hiddenFill xmlns:a14="http://schemas.microsoft.com/office/drawing/2010/main">
                <a:solidFill>
                  <a:schemeClr val="accent1"/>
                </a:solidFill>
              </a14:hiddenFill>
            </a:ext>
          </a:extLst>
        </p:spPr>
      </p:pic>
      <p:pic>
        <p:nvPicPr>
          <p:cNvPr id="11" name="Immagine 10"/>
          <p:cNvPicPr>
            <a:picLocks noChangeAspect="1"/>
          </p:cNvPicPr>
          <p:nvPr/>
        </p:nvPicPr>
        <p:blipFill>
          <a:blip r:embed="rId7"/>
          <a:stretch>
            <a:fillRect/>
          </a:stretch>
        </p:blipFill>
        <p:spPr>
          <a:xfrm>
            <a:off x="763000" y="3684703"/>
            <a:ext cx="999232" cy="423098"/>
          </a:xfrm>
          <a:prstGeom prst="rect">
            <a:avLst/>
          </a:prstGeom>
        </p:spPr>
      </p:pic>
      <p:pic>
        <p:nvPicPr>
          <p:cNvPr id="12" name="Immagine 11"/>
          <p:cNvPicPr>
            <a:picLocks noChangeAspect="1"/>
          </p:cNvPicPr>
          <p:nvPr/>
        </p:nvPicPr>
        <p:blipFill>
          <a:blip r:embed="rId8"/>
          <a:stretch>
            <a:fillRect/>
          </a:stretch>
        </p:blipFill>
        <p:spPr>
          <a:xfrm>
            <a:off x="763000" y="4233130"/>
            <a:ext cx="1577735" cy="447486"/>
          </a:xfrm>
          <a:prstGeom prst="rect">
            <a:avLst/>
          </a:prstGeom>
        </p:spPr>
      </p:pic>
      <p:sp>
        <p:nvSpPr>
          <p:cNvPr id="14" name="Rettangolo 13"/>
          <p:cNvSpPr/>
          <p:nvPr/>
        </p:nvSpPr>
        <p:spPr>
          <a:xfrm>
            <a:off x="311964" y="758299"/>
            <a:ext cx="8014618" cy="400110"/>
          </a:xfrm>
          <a:prstGeom prst="rect">
            <a:avLst/>
          </a:prstGeom>
        </p:spPr>
        <p:txBody>
          <a:bodyPr wrap="square">
            <a:spAutoFit/>
          </a:bodyPr>
          <a:lstStyle/>
          <a:p>
            <a:r>
              <a:rPr lang="it-IT" sz="2000" dirty="0">
                <a:solidFill>
                  <a:srgbClr val="C00000"/>
                </a:solidFill>
              </a:rPr>
              <a:t>SOC H 7/24 - 16 Operatori di Sala - Impianti PMV e Telecamere - A91 e A90</a:t>
            </a:r>
          </a:p>
        </p:txBody>
      </p:sp>
      <p:sp>
        <p:nvSpPr>
          <p:cNvPr id="15" name="Rettangolo arrotondato 14"/>
          <p:cNvSpPr/>
          <p:nvPr/>
        </p:nvSpPr>
        <p:spPr>
          <a:xfrm>
            <a:off x="1560020" y="2182609"/>
            <a:ext cx="691962" cy="50969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defTabSz="914263"/>
            <a:r>
              <a:rPr lang="it-IT" b="1" dirty="0">
                <a:solidFill>
                  <a:srgbClr val="0033A0"/>
                </a:solidFill>
                <a:latin typeface="+mj-lt"/>
              </a:rPr>
              <a:t>PMV</a:t>
            </a:r>
            <a:endParaRPr lang="it-IT" sz="2000" b="1" dirty="0">
              <a:solidFill>
                <a:srgbClr val="0033A0"/>
              </a:solidFill>
              <a:latin typeface="+mj-lt"/>
            </a:endParaRPr>
          </a:p>
        </p:txBody>
      </p:sp>
      <p:sp>
        <p:nvSpPr>
          <p:cNvPr id="16" name="Shape 455"/>
          <p:cNvSpPr>
            <a:spLocks noChangeAspect="1"/>
          </p:cNvSpPr>
          <p:nvPr/>
        </p:nvSpPr>
        <p:spPr>
          <a:xfrm>
            <a:off x="475830" y="2005710"/>
            <a:ext cx="911012" cy="896715"/>
          </a:xfrm>
          <a:prstGeom prst="ellipse">
            <a:avLst/>
          </a:prstGeom>
          <a:ln w="57150">
            <a:solidFill>
              <a:srgbClr val="0033A0"/>
            </a:solidFill>
          </a:ln>
        </p:spPr>
        <p:style>
          <a:lnRef idx="2">
            <a:schemeClr val="accent2"/>
          </a:lnRef>
          <a:fillRef idx="1">
            <a:schemeClr val="lt1"/>
          </a:fillRef>
          <a:effectRef idx="0">
            <a:schemeClr val="accent2"/>
          </a:effectRef>
          <a:fontRef idx="minor">
            <a:schemeClr val="dk1"/>
          </a:fontRef>
        </p:style>
        <p:txBody>
          <a:bodyPr wrap="square" lIns="0" tIns="108000" rIns="0" bIns="0" numCol="1" anchor="t" anchorCtr="0">
            <a:noAutofit/>
          </a:bodyPr>
          <a:lstStyle/>
          <a:p>
            <a:pPr algn="ctr">
              <a:lnSpc>
                <a:spcPts val="1500"/>
              </a:lnSpc>
              <a:defRPr sz="3000" b="1">
                <a:solidFill>
                  <a:srgbClr val="1C4598"/>
                </a:solidFill>
                <a:latin typeface="Arial"/>
                <a:ea typeface="Arial"/>
                <a:cs typeface="Arial"/>
                <a:sym typeface="Arial"/>
              </a:defRPr>
            </a:pPr>
            <a:endParaRPr lang="it-IT" sz="2400" dirty="0">
              <a:ln w="0"/>
              <a:solidFill>
                <a:schemeClr val="accent1"/>
              </a:solidFill>
              <a:effectLst>
                <a:outerShdw blurRad="38100" dist="25400" dir="5400000" algn="ctr" rotWithShape="0">
                  <a:srgbClr val="6E747A">
                    <a:alpha val="43000"/>
                  </a:srgbClr>
                </a:outerShdw>
              </a:effectLst>
              <a:latin typeface="+mj-lt"/>
            </a:endParaRPr>
          </a:p>
          <a:p>
            <a:pPr algn="ctr">
              <a:lnSpc>
                <a:spcPts val="1500"/>
              </a:lnSpc>
              <a:defRPr sz="3000" b="1">
                <a:solidFill>
                  <a:srgbClr val="1C4598"/>
                </a:solidFill>
                <a:latin typeface="Arial"/>
                <a:ea typeface="Arial"/>
                <a:cs typeface="Arial"/>
                <a:sym typeface="Arial"/>
              </a:defRPr>
            </a:pPr>
            <a:r>
              <a:rPr lang="it-IT" sz="3200" dirty="0">
                <a:ln w="0"/>
                <a:solidFill>
                  <a:schemeClr val="accent1"/>
                </a:solidFill>
                <a:effectLst>
                  <a:outerShdw blurRad="38100" dist="25400" dir="5400000" algn="ctr" rotWithShape="0">
                    <a:srgbClr val="6E747A">
                      <a:alpha val="43000"/>
                    </a:srgbClr>
                  </a:outerShdw>
                </a:effectLst>
                <a:latin typeface="+mj-lt"/>
              </a:rPr>
              <a:t>88</a:t>
            </a:r>
            <a:endParaRPr sz="3200" dirty="0">
              <a:ln w="0"/>
              <a:solidFill>
                <a:schemeClr val="accent1"/>
              </a:solidFill>
              <a:effectLst>
                <a:outerShdw blurRad="38100" dist="25400" dir="5400000" algn="ctr" rotWithShape="0">
                  <a:srgbClr val="6E747A">
                    <a:alpha val="43000"/>
                  </a:srgbClr>
                </a:outerShdw>
              </a:effectLst>
              <a:latin typeface="+mj-lt"/>
            </a:endParaRPr>
          </a:p>
        </p:txBody>
      </p:sp>
      <p:sp>
        <p:nvSpPr>
          <p:cNvPr id="17" name="Rettangolo arrotondato 16"/>
          <p:cNvSpPr/>
          <p:nvPr/>
        </p:nvSpPr>
        <p:spPr>
          <a:xfrm>
            <a:off x="6359952" y="1538479"/>
            <a:ext cx="1360077" cy="632118"/>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defTabSz="914263"/>
            <a:r>
              <a:rPr lang="it-IT" b="1" dirty="0">
                <a:solidFill>
                  <a:srgbClr val="0033A0"/>
                </a:solidFill>
                <a:latin typeface="+mj-lt"/>
              </a:rPr>
              <a:t>Telecamere</a:t>
            </a:r>
            <a:endParaRPr lang="it-IT" sz="2000" b="1" dirty="0">
              <a:solidFill>
                <a:srgbClr val="0033A0"/>
              </a:solidFill>
              <a:latin typeface="+mj-lt"/>
            </a:endParaRPr>
          </a:p>
        </p:txBody>
      </p:sp>
      <p:sp>
        <p:nvSpPr>
          <p:cNvPr id="18" name="Shape 455"/>
          <p:cNvSpPr>
            <a:spLocks noChangeAspect="1"/>
          </p:cNvSpPr>
          <p:nvPr/>
        </p:nvSpPr>
        <p:spPr>
          <a:xfrm>
            <a:off x="5415069" y="1467705"/>
            <a:ext cx="876835" cy="887567"/>
          </a:xfrm>
          <a:prstGeom prst="ellipse">
            <a:avLst/>
          </a:prstGeom>
          <a:ln w="57150">
            <a:solidFill>
              <a:srgbClr val="0033A0"/>
            </a:solidFill>
          </a:ln>
        </p:spPr>
        <p:style>
          <a:lnRef idx="2">
            <a:schemeClr val="accent2"/>
          </a:lnRef>
          <a:fillRef idx="1">
            <a:schemeClr val="lt1"/>
          </a:fillRef>
          <a:effectRef idx="0">
            <a:schemeClr val="accent2"/>
          </a:effectRef>
          <a:fontRef idx="minor">
            <a:schemeClr val="dk1"/>
          </a:fontRef>
        </p:style>
        <p:txBody>
          <a:bodyPr wrap="square" lIns="0" tIns="108000" rIns="0" bIns="0" numCol="1" anchor="t" anchorCtr="0">
            <a:noAutofit/>
          </a:bodyPr>
          <a:lstStyle/>
          <a:p>
            <a:pPr algn="ctr">
              <a:lnSpc>
                <a:spcPts val="1500"/>
              </a:lnSpc>
              <a:defRPr sz="3000" b="1">
                <a:solidFill>
                  <a:srgbClr val="1C4598"/>
                </a:solidFill>
                <a:latin typeface="Arial"/>
                <a:ea typeface="Arial"/>
                <a:cs typeface="Arial"/>
                <a:sym typeface="Arial"/>
              </a:defRPr>
            </a:pPr>
            <a:endParaRPr lang="it-IT" sz="2400" dirty="0">
              <a:ln w="0"/>
              <a:solidFill>
                <a:schemeClr val="accent1"/>
              </a:solidFill>
              <a:effectLst>
                <a:outerShdw blurRad="38100" dist="25400" dir="5400000" algn="ctr" rotWithShape="0">
                  <a:srgbClr val="6E747A">
                    <a:alpha val="43000"/>
                  </a:srgbClr>
                </a:outerShdw>
              </a:effectLst>
              <a:latin typeface="+mj-lt"/>
            </a:endParaRPr>
          </a:p>
          <a:p>
            <a:pPr algn="ctr">
              <a:lnSpc>
                <a:spcPts val="1500"/>
              </a:lnSpc>
              <a:defRPr sz="3000" b="1">
                <a:solidFill>
                  <a:srgbClr val="1C4598"/>
                </a:solidFill>
                <a:latin typeface="Arial"/>
                <a:ea typeface="Arial"/>
                <a:cs typeface="Arial"/>
                <a:sym typeface="Arial"/>
              </a:defRPr>
            </a:pPr>
            <a:r>
              <a:rPr lang="it-IT" sz="2400" dirty="0">
                <a:ln w="0"/>
                <a:solidFill>
                  <a:schemeClr val="accent1"/>
                </a:solidFill>
                <a:effectLst>
                  <a:outerShdw blurRad="38100" dist="25400" dir="5400000" algn="ctr" rotWithShape="0">
                    <a:srgbClr val="6E747A">
                      <a:alpha val="43000"/>
                    </a:srgbClr>
                  </a:outerShdw>
                </a:effectLst>
                <a:latin typeface="+mj-lt"/>
              </a:rPr>
              <a:t>308</a:t>
            </a:r>
            <a:endParaRPr sz="2400" dirty="0">
              <a:ln w="0"/>
              <a:solidFill>
                <a:schemeClr val="accent1"/>
              </a:solidFill>
              <a:effectLst>
                <a:outerShdw blurRad="38100" dist="25400" dir="5400000" algn="ctr" rotWithShape="0">
                  <a:srgbClr val="6E747A">
                    <a:alpha val="43000"/>
                  </a:srgbClr>
                </a:outerShdw>
              </a:effectLst>
              <a:latin typeface="+mj-lt"/>
            </a:endParaRPr>
          </a:p>
        </p:txBody>
      </p:sp>
      <p:graphicFrame>
        <p:nvGraphicFramePr>
          <p:cNvPr id="21" name="Diagramma 20"/>
          <p:cNvGraphicFramePr/>
          <p:nvPr>
            <p:extLst>
              <p:ext uri="{D42A27DB-BD31-4B8C-83A1-F6EECF244321}">
                <p14:modId xmlns:p14="http://schemas.microsoft.com/office/powerpoint/2010/main" val="3131379711"/>
              </p:ext>
            </p:extLst>
          </p:nvPr>
        </p:nvGraphicFramePr>
        <p:xfrm>
          <a:off x="134978" y="16679"/>
          <a:ext cx="8286246" cy="811672"/>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40980332"/>
      </p:ext>
    </p:extLst>
  </p:cSld>
  <p:clrMapOvr>
    <a:masterClrMapping/>
  </p:clrMapOvr>
  <p:transition spd="slow">
    <p:wip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Grafico 6"/>
          <p:cNvGraphicFramePr>
            <a:graphicFrameLocks/>
          </p:cNvGraphicFramePr>
          <p:nvPr/>
        </p:nvGraphicFramePr>
        <p:xfrm>
          <a:off x="3998463" y="888263"/>
          <a:ext cx="4321812" cy="248057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Grafico 8"/>
          <p:cNvGraphicFramePr>
            <a:graphicFrameLocks/>
          </p:cNvGraphicFramePr>
          <p:nvPr/>
        </p:nvGraphicFramePr>
        <p:xfrm>
          <a:off x="3998464" y="3432517"/>
          <a:ext cx="4321812" cy="187803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Grafico 9"/>
          <p:cNvGraphicFramePr>
            <a:graphicFrameLocks/>
          </p:cNvGraphicFramePr>
          <p:nvPr/>
        </p:nvGraphicFramePr>
        <p:xfrm>
          <a:off x="414776" y="3432517"/>
          <a:ext cx="3468449" cy="187803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Grafico 5"/>
          <p:cNvGraphicFramePr>
            <a:graphicFrameLocks/>
          </p:cNvGraphicFramePr>
          <p:nvPr/>
        </p:nvGraphicFramePr>
        <p:xfrm>
          <a:off x="414777" y="1144646"/>
          <a:ext cx="3468449" cy="196781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Diagramma 11"/>
          <p:cNvGraphicFramePr/>
          <p:nvPr>
            <p:extLst>
              <p:ext uri="{D42A27DB-BD31-4B8C-83A1-F6EECF244321}">
                <p14:modId xmlns:p14="http://schemas.microsoft.com/office/powerpoint/2010/main" val="3131379711"/>
              </p:ext>
            </p:extLst>
          </p:nvPr>
        </p:nvGraphicFramePr>
        <p:xfrm>
          <a:off x="134978" y="16679"/>
          <a:ext cx="8286246" cy="81167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2914989761"/>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ttangolo arrotondato 56"/>
          <p:cNvSpPr/>
          <p:nvPr/>
        </p:nvSpPr>
        <p:spPr>
          <a:xfrm>
            <a:off x="6554866" y="1992660"/>
            <a:ext cx="1418462" cy="26008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defTabSz="914263"/>
            <a:r>
              <a:rPr lang="it-IT" sz="1600" b="1" dirty="0">
                <a:solidFill>
                  <a:schemeClr val="bg1">
                    <a:lumMod val="50000"/>
                  </a:schemeClr>
                </a:solidFill>
                <a:latin typeface="+mj-lt"/>
              </a:rPr>
              <a:t>PVG</a:t>
            </a:r>
          </a:p>
        </p:txBody>
      </p:sp>
      <p:sp>
        <p:nvSpPr>
          <p:cNvPr id="56" name="Rettangolo arrotondato 55"/>
          <p:cNvSpPr/>
          <p:nvPr/>
        </p:nvSpPr>
        <p:spPr>
          <a:xfrm>
            <a:off x="6554328" y="1618061"/>
            <a:ext cx="1418462" cy="26008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defTabSz="914263"/>
            <a:r>
              <a:rPr lang="it-IT" sz="1600" b="1" dirty="0" err="1">
                <a:solidFill>
                  <a:schemeClr val="bg1">
                    <a:lumMod val="50000"/>
                  </a:schemeClr>
                </a:solidFill>
                <a:latin typeface="+mj-lt"/>
              </a:rPr>
              <a:t>CdP</a:t>
            </a:r>
            <a:r>
              <a:rPr lang="it-IT" sz="1600" b="1" dirty="0">
                <a:solidFill>
                  <a:schemeClr val="bg1">
                    <a:lumMod val="50000"/>
                  </a:schemeClr>
                </a:solidFill>
                <a:latin typeface="+mj-lt"/>
              </a:rPr>
              <a:t> 16/20</a:t>
            </a:r>
          </a:p>
        </p:txBody>
      </p:sp>
      <p:sp>
        <p:nvSpPr>
          <p:cNvPr id="5" name="Titolo 1"/>
          <p:cNvSpPr txBox="1">
            <a:spLocks/>
          </p:cNvSpPr>
          <p:nvPr/>
        </p:nvSpPr>
        <p:spPr>
          <a:xfrm>
            <a:off x="299404" y="951850"/>
            <a:ext cx="9433414" cy="649775"/>
          </a:xfrm>
          <a:prstGeom prst="rect">
            <a:avLst/>
          </a:prstGeom>
        </p:spPr>
        <p:txBody>
          <a:bodyPr/>
          <a:lst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a:lstStyle>
          <a:p>
            <a:r>
              <a:rPr lang="it-IT" sz="2400" dirty="0"/>
              <a:t>Investimenti Nuove Opere - Manutenzione Programmata</a:t>
            </a:r>
          </a:p>
        </p:txBody>
      </p:sp>
      <p:graphicFrame>
        <p:nvGraphicFramePr>
          <p:cNvPr id="7" name="Grafico 6"/>
          <p:cNvGraphicFramePr>
            <a:graphicFrameLocks/>
          </p:cNvGraphicFramePr>
          <p:nvPr>
            <p:extLst>
              <p:ext uri="{D42A27DB-BD31-4B8C-83A1-F6EECF244321}">
                <p14:modId xmlns:p14="http://schemas.microsoft.com/office/powerpoint/2010/main" val="3964038537"/>
              </p:ext>
            </p:extLst>
          </p:nvPr>
        </p:nvGraphicFramePr>
        <p:xfrm>
          <a:off x="2046601" y="1667026"/>
          <a:ext cx="5098438" cy="3256868"/>
        </p:xfrm>
        <a:graphic>
          <a:graphicData uri="http://schemas.openxmlformats.org/drawingml/2006/chart">
            <c:chart xmlns:c="http://schemas.openxmlformats.org/drawingml/2006/chart" xmlns:r="http://schemas.openxmlformats.org/officeDocument/2006/relationships" r:id="rId2"/>
          </a:graphicData>
        </a:graphic>
      </p:graphicFrame>
      <p:sp>
        <p:nvSpPr>
          <p:cNvPr id="8" name="CasellaDiTesto 7"/>
          <p:cNvSpPr txBox="1"/>
          <p:nvPr/>
        </p:nvSpPr>
        <p:spPr>
          <a:xfrm>
            <a:off x="324607" y="1468310"/>
            <a:ext cx="1101437" cy="253916"/>
          </a:xfrm>
          <a:prstGeom prst="rect">
            <a:avLst/>
          </a:prstGeom>
          <a:noFill/>
        </p:spPr>
        <p:txBody>
          <a:bodyPr wrap="square" rtlCol="0">
            <a:spAutoFit/>
          </a:bodyPr>
          <a:lstStyle/>
          <a:p>
            <a:r>
              <a:rPr lang="it-IT" sz="1050" b="1" dirty="0"/>
              <a:t>€/milioni</a:t>
            </a:r>
          </a:p>
        </p:txBody>
      </p:sp>
      <p:sp>
        <p:nvSpPr>
          <p:cNvPr id="38" name="Rettangolo arrotondato 37"/>
          <p:cNvSpPr/>
          <p:nvPr/>
        </p:nvSpPr>
        <p:spPr>
          <a:xfrm>
            <a:off x="799814" y="3273640"/>
            <a:ext cx="1730760" cy="50969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r" defTabSz="914263"/>
            <a:r>
              <a:rPr lang="it-IT" sz="1200" b="1" dirty="0">
                <a:solidFill>
                  <a:schemeClr val="bg1">
                    <a:lumMod val="50000"/>
                  </a:schemeClr>
                </a:solidFill>
                <a:latin typeface="+mj-lt"/>
              </a:rPr>
              <a:t>Pianificati Extra Piano </a:t>
            </a:r>
          </a:p>
        </p:txBody>
      </p:sp>
      <p:sp>
        <p:nvSpPr>
          <p:cNvPr id="39" name="Shape 455"/>
          <p:cNvSpPr>
            <a:spLocks noChangeAspect="1"/>
          </p:cNvSpPr>
          <p:nvPr/>
        </p:nvSpPr>
        <p:spPr>
          <a:xfrm>
            <a:off x="353223" y="3214542"/>
            <a:ext cx="612000" cy="602395"/>
          </a:xfrm>
          <a:prstGeom prst="ellipse">
            <a:avLst/>
          </a:prstGeom>
          <a:ln w="57150"/>
        </p:spPr>
        <p:style>
          <a:lnRef idx="2">
            <a:schemeClr val="accent2"/>
          </a:lnRef>
          <a:fillRef idx="1">
            <a:schemeClr val="lt1"/>
          </a:fillRef>
          <a:effectRef idx="0">
            <a:schemeClr val="accent2"/>
          </a:effectRef>
          <a:fontRef idx="minor">
            <a:schemeClr val="dk1"/>
          </a:fontRef>
        </p:style>
        <p:txBody>
          <a:bodyPr wrap="square" lIns="0" tIns="108000" rIns="0" bIns="0" numCol="1" anchor="t" anchorCtr="0">
            <a:noAutofit/>
          </a:bodyPr>
          <a:lstStyle/>
          <a:p>
            <a:pPr algn="ctr">
              <a:lnSpc>
                <a:spcPts val="1500"/>
              </a:lnSpc>
              <a:defRPr sz="3000" b="1">
                <a:solidFill>
                  <a:srgbClr val="1C4598"/>
                </a:solidFill>
                <a:latin typeface="Arial"/>
                <a:ea typeface="Arial"/>
                <a:cs typeface="Arial"/>
                <a:sym typeface="Arial"/>
              </a:defRPr>
            </a:pPr>
            <a:r>
              <a:rPr lang="it-IT" sz="1400" dirty="0">
                <a:ln w="0"/>
                <a:solidFill>
                  <a:schemeClr val="accent1"/>
                </a:solidFill>
                <a:effectLst>
                  <a:outerShdw blurRad="38100" dist="25400" dir="5400000" algn="ctr" rotWithShape="0">
                    <a:srgbClr val="6E747A">
                      <a:alpha val="43000"/>
                    </a:srgbClr>
                  </a:outerShdw>
                </a:effectLst>
                <a:latin typeface="+mj-lt"/>
              </a:rPr>
              <a:t>1212</a:t>
            </a:r>
            <a:endParaRPr sz="1050" dirty="0">
              <a:ln w="0"/>
              <a:solidFill>
                <a:schemeClr val="accent1"/>
              </a:solidFill>
              <a:effectLst>
                <a:outerShdw blurRad="38100" dist="25400" dir="5400000" algn="ctr" rotWithShape="0">
                  <a:srgbClr val="6E747A">
                    <a:alpha val="43000"/>
                  </a:srgbClr>
                </a:outerShdw>
              </a:effectLst>
              <a:latin typeface="+mj-lt"/>
            </a:endParaRPr>
          </a:p>
        </p:txBody>
      </p:sp>
      <p:sp>
        <p:nvSpPr>
          <p:cNvPr id="42" name="Rettangolo arrotondato 41"/>
          <p:cNvSpPr/>
          <p:nvPr/>
        </p:nvSpPr>
        <p:spPr>
          <a:xfrm>
            <a:off x="825837" y="2228196"/>
            <a:ext cx="1730760" cy="50969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r" defTabSz="914263"/>
            <a:r>
              <a:rPr lang="it-IT" sz="1200" b="1" dirty="0">
                <a:solidFill>
                  <a:schemeClr val="bg1">
                    <a:lumMod val="50000"/>
                  </a:schemeClr>
                </a:solidFill>
                <a:latin typeface="+mj-lt"/>
              </a:rPr>
              <a:t>Pianificati </a:t>
            </a:r>
            <a:r>
              <a:rPr lang="it-IT" sz="1200" b="1" dirty="0" err="1">
                <a:solidFill>
                  <a:schemeClr val="bg1">
                    <a:lumMod val="50000"/>
                  </a:schemeClr>
                </a:solidFill>
                <a:latin typeface="+mj-lt"/>
              </a:rPr>
              <a:t>CdP</a:t>
            </a:r>
            <a:r>
              <a:rPr lang="it-IT" sz="1200" b="1" dirty="0">
                <a:solidFill>
                  <a:schemeClr val="bg1">
                    <a:lumMod val="50000"/>
                  </a:schemeClr>
                </a:solidFill>
                <a:latin typeface="+mj-lt"/>
              </a:rPr>
              <a:t> 16/20</a:t>
            </a:r>
          </a:p>
        </p:txBody>
      </p:sp>
      <p:sp>
        <p:nvSpPr>
          <p:cNvPr id="43" name="Shape 455"/>
          <p:cNvSpPr>
            <a:spLocks noChangeAspect="1"/>
          </p:cNvSpPr>
          <p:nvPr/>
        </p:nvSpPr>
        <p:spPr>
          <a:xfrm>
            <a:off x="353223" y="2163569"/>
            <a:ext cx="612000" cy="602395"/>
          </a:xfrm>
          <a:prstGeom prst="ellipse">
            <a:avLst/>
          </a:prstGeom>
          <a:ln w="57150"/>
        </p:spPr>
        <p:style>
          <a:lnRef idx="2">
            <a:schemeClr val="accent2"/>
          </a:lnRef>
          <a:fillRef idx="1">
            <a:schemeClr val="lt1"/>
          </a:fillRef>
          <a:effectRef idx="0">
            <a:schemeClr val="accent2"/>
          </a:effectRef>
          <a:fontRef idx="minor">
            <a:schemeClr val="dk1"/>
          </a:fontRef>
        </p:style>
        <p:txBody>
          <a:bodyPr wrap="square" lIns="0" tIns="108000" rIns="0" bIns="0" numCol="1" anchor="t" anchorCtr="0">
            <a:noAutofit/>
          </a:bodyPr>
          <a:lstStyle/>
          <a:p>
            <a:pPr algn="ctr">
              <a:lnSpc>
                <a:spcPts val="1500"/>
              </a:lnSpc>
              <a:defRPr sz="3000" b="1">
                <a:solidFill>
                  <a:srgbClr val="1C4598"/>
                </a:solidFill>
                <a:latin typeface="Arial"/>
                <a:ea typeface="Arial"/>
                <a:cs typeface="Arial"/>
                <a:sym typeface="Arial"/>
              </a:defRPr>
            </a:pPr>
            <a:r>
              <a:rPr lang="it-IT" sz="1400" dirty="0">
                <a:ln w="0"/>
                <a:solidFill>
                  <a:schemeClr val="accent1"/>
                </a:solidFill>
                <a:effectLst>
                  <a:outerShdw blurRad="38100" dist="25400" dir="5400000" algn="ctr" rotWithShape="0">
                    <a:srgbClr val="6E747A">
                      <a:alpha val="43000"/>
                    </a:srgbClr>
                  </a:outerShdw>
                </a:effectLst>
                <a:latin typeface="+mj-lt"/>
              </a:rPr>
              <a:t>1375</a:t>
            </a:r>
            <a:endParaRPr sz="1050" dirty="0">
              <a:ln w="0"/>
              <a:solidFill>
                <a:schemeClr val="accent1"/>
              </a:solidFill>
              <a:effectLst>
                <a:outerShdw blurRad="38100" dist="25400" dir="5400000" algn="ctr" rotWithShape="0">
                  <a:srgbClr val="6E747A">
                    <a:alpha val="43000"/>
                  </a:srgbClr>
                </a:outerShdw>
              </a:effectLst>
              <a:latin typeface="+mj-lt"/>
            </a:endParaRPr>
          </a:p>
        </p:txBody>
      </p:sp>
      <p:sp>
        <p:nvSpPr>
          <p:cNvPr id="44" name="CasellaDiTesto 43"/>
          <p:cNvSpPr txBox="1"/>
          <p:nvPr/>
        </p:nvSpPr>
        <p:spPr>
          <a:xfrm>
            <a:off x="306029" y="1892514"/>
            <a:ext cx="2517339" cy="230832"/>
          </a:xfrm>
          <a:prstGeom prst="rect">
            <a:avLst/>
          </a:prstGeom>
          <a:noFill/>
        </p:spPr>
        <p:txBody>
          <a:bodyPr wrap="square" rtlCol="0">
            <a:spAutoFit/>
          </a:bodyPr>
          <a:lstStyle/>
          <a:p>
            <a:r>
              <a:rPr lang="it-IT" sz="900" b="1" dirty="0">
                <a:solidFill>
                  <a:schemeClr val="tx2"/>
                </a:solidFill>
              </a:rPr>
              <a:t>Pianificazione interventi</a:t>
            </a:r>
          </a:p>
        </p:txBody>
      </p:sp>
      <p:sp>
        <p:nvSpPr>
          <p:cNvPr id="45" name="Parentesi graffa chiusa 44"/>
          <p:cNvSpPr/>
          <p:nvPr/>
        </p:nvSpPr>
        <p:spPr>
          <a:xfrm>
            <a:off x="2504463" y="2105083"/>
            <a:ext cx="582755" cy="1865222"/>
          </a:xfrm>
          <a:prstGeom prst="rightBrace">
            <a:avLst/>
          </a:prstGeom>
        </p:spPr>
        <p:style>
          <a:lnRef idx="3">
            <a:schemeClr val="accent2"/>
          </a:lnRef>
          <a:fillRef idx="0">
            <a:schemeClr val="accent2"/>
          </a:fillRef>
          <a:effectRef idx="2">
            <a:schemeClr val="accent2"/>
          </a:effectRef>
          <a:fontRef idx="minor">
            <a:schemeClr val="tx1"/>
          </a:fontRef>
        </p:style>
        <p:txBody>
          <a:bodyPr rtlCol="0" anchor="ctr"/>
          <a:lstStyle/>
          <a:p>
            <a:pPr algn="ctr"/>
            <a:endParaRPr lang="it-IT"/>
          </a:p>
        </p:txBody>
      </p:sp>
      <p:sp>
        <p:nvSpPr>
          <p:cNvPr id="51" name="Shape 455"/>
          <p:cNvSpPr>
            <a:spLocks noChangeAspect="1"/>
          </p:cNvSpPr>
          <p:nvPr/>
        </p:nvSpPr>
        <p:spPr>
          <a:xfrm>
            <a:off x="8070784" y="1604797"/>
            <a:ext cx="612000" cy="257861"/>
          </a:xfrm>
          <a:prstGeom prst="ellipse">
            <a:avLst/>
          </a:prstGeom>
          <a:ln w="57150">
            <a:solidFill>
              <a:srgbClr val="CC0000"/>
            </a:solidFill>
          </a:ln>
        </p:spPr>
        <p:style>
          <a:lnRef idx="2">
            <a:schemeClr val="accent2"/>
          </a:lnRef>
          <a:fillRef idx="1">
            <a:schemeClr val="lt1"/>
          </a:fillRef>
          <a:effectRef idx="0">
            <a:schemeClr val="accent2"/>
          </a:effectRef>
          <a:fontRef idx="minor">
            <a:schemeClr val="dk1"/>
          </a:fontRef>
        </p:style>
        <p:txBody>
          <a:bodyPr wrap="square" lIns="0" tIns="0" rIns="0" bIns="0" numCol="1" anchor="ctr" anchorCtr="0">
            <a:noAutofit/>
          </a:bodyPr>
          <a:lstStyle/>
          <a:p>
            <a:pPr algn="ctr">
              <a:lnSpc>
                <a:spcPts val="1500"/>
              </a:lnSpc>
              <a:defRPr sz="3000" b="1">
                <a:solidFill>
                  <a:srgbClr val="1C4598"/>
                </a:solidFill>
                <a:latin typeface="Arial"/>
                <a:ea typeface="Arial"/>
                <a:cs typeface="Arial"/>
                <a:sym typeface="Arial"/>
              </a:defRPr>
            </a:pPr>
            <a:r>
              <a:rPr lang="it-IT" sz="1400" dirty="0">
                <a:ln w="0"/>
                <a:solidFill>
                  <a:schemeClr val="accent1"/>
                </a:solidFill>
                <a:effectLst>
                  <a:outerShdw blurRad="38100" dist="25400" dir="5400000" algn="ctr" rotWithShape="0">
                    <a:srgbClr val="6E747A">
                      <a:alpha val="43000"/>
                    </a:srgbClr>
                  </a:outerShdw>
                </a:effectLst>
                <a:latin typeface="+mj-lt"/>
              </a:rPr>
              <a:t>134,8</a:t>
            </a:r>
            <a:endParaRPr sz="1400" dirty="0">
              <a:ln w="0"/>
              <a:solidFill>
                <a:schemeClr val="accent1"/>
              </a:solidFill>
              <a:effectLst>
                <a:outerShdw blurRad="38100" dist="25400" dir="5400000" algn="ctr" rotWithShape="0">
                  <a:srgbClr val="6E747A">
                    <a:alpha val="43000"/>
                  </a:srgbClr>
                </a:outerShdw>
              </a:effectLst>
              <a:latin typeface="+mj-lt"/>
            </a:endParaRPr>
          </a:p>
        </p:txBody>
      </p:sp>
      <p:sp>
        <p:nvSpPr>
          <p:cNvPr id="53" name="Shape 455"/>
          <p:cNvSpPr>
            <a:spLocks noChangeAspect="1"/>
          </p:cNvSpPr>
          <p:nvPr/>
        </p:nvSpPr>
        <p:spPr>
          <a:xfrm>
            <a:off x="8077653" y="1986028"/>
            <a:ext cx="612000" cy="257861"/>
          </a:xfrm>
          <a:prstGeom prst="ellipse">
            <a:avLst/>
          </a:prstGeom>
          <a:ln w="57150">
            <a:solidFill>
              <a:srgbClr val="CC0000"/>
            </a:solidFill>
          </a:ln>
        </p:spPr>
        <p:style>
          <a:lnRef idx="2">
            <a:schemeClr val="accent2"/>
          </a:lnRef>
          <a:fillRef idx="1">
            <a:schemeClr val="lt1"/>
          </a:fillRef>
          <a:effectRef idx="0">
            <a:schemeClr val="accent2"/>
          </a:effectRef>
          <a:fontRef idx="minor">
            <a:schemeClr val="dk1"/>
          </a:fontRef>
        </p:style>
        <p:txBody>
          <a:bodyPr wrap="square" lIns="0" tIns="0" rIns="0" bIns="0" numCol="1" anchor="ctr" anchorCtr="0">
            <a:noAutofit/>
          </a:bodyPr>
          <a:lstStyle/>
          <a:p>
            <a:pPr algn="ctr">
              <a:lnSpc>
                <a:spcPts val="1500"/>
              </a:lnSpc>
              <a:defRPr sz="3000" b="1">
                <a:solidFill>
                  <a:srgbClr val="1C4598"/>
                </a:solidFill>
                <a:latin typeface="Arial"/>
                <a:ea typeface="Arial"/>
                <a:cs typeface="Arial"/>
                <a:sym typeface="Arial"/>
              </a:defRPr>
            </a:pPr>
            <a:r>
              <a:rPr lang="it-IT" sz="1400" dirty="0">
                <a:ln w="0"/>
                <a:solidFill>
                  <a:schemeClr val="accent1"/>
                </a:solidFill>
                <a:effectLst>
                  <a:outerShdw blurRad="38100" dist="25400" dir="5400000" algn="ctr" rotWithShape="0">
                    <a:srgbClr val="6E747A">
                      <a:alpha val="43000"/>
                    </a:srgbClr>
                  </a:outerShdw>
                </a:effectLst>
                <a:latin typeface="+mj-lt"/>
              </a:rPr>
              <a:t>213,0</a:t>
            </a:r>
            <a:endParaRPr sz="1400" dirty="0">
              <a:ln w="0"/>
              <a:solidFill>
                <a:schemeClr val="accent1"/>
              </a:solidFill>
              <a:effectLst>
                <a:outerShdw blurRad="38100" dist="25400" dir="5400000" algn="ctr" rotWithShape="0">
                  <a:srgbClr val="6E747A">
                    <a:alpha val="43000"/>
                  </a:srgbClr>
                </a:outerShdw>
              </a:effectLst>
              <a:latin typeface="+mj-lt"/>
            </a:endParaRPr>
          </a:p>
        </p:txBody>
      </p:sp>
      <p:sp>
        <p:nvSpPr>
          <p:cNvPr id="58" name="Rettangolo arrotondato 57"/>
          <p:cNvSpPr/>
          <p:nvPr/>
        </p:nvSpPr>
        <p:spPr>
          <a:xfrm>
            <a:off x="6554866" y="2353121"/>
            <a:ext cx="1418462" cy="26008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defTabSz="914263"/>
            <a:r>
              <a:rPr lang="it-IT" sz="1400" b="1" dirty="0">
                <a:solidFill>
                  <a:schemeClr val="bg1">
                    <a:lumMod val="50000"/>
                  </a:schemeClr>
                </a:solidFill>
                <a:latin typeface="+mj-lt"/>
              </a:rPr>
              <a:t>Strade </a:t>
            </a:r>
            <a:r>
              <a:rPr lang="it-IT" sz="1600" b="1" dirty="0">
                <a:solidFill>
                  <a:schemeClr val="bg1">
                    <a:lumMod val="50000"/>
                  </a:schemeClr>
                </a:solidFill>
                <a:latin typeface="+mj-lt"/>
              </a:rPr>
              <a:t>Rientro</a:t>
            </a:r>
          </a:p>
        </p:txBody>
      </p:sp>
      <p:sp>
        <p:nvSpPr>
          <p:cNvPr id="59" name="Shape 455"/>
          <p:cNvSpPr>
            <a:spLocks noChangeAspect="1"/>
          </p:cNvSpPr>
          <p:nvPr/>
        </p:nvSpPr>
        <p:spPr>
          <a:xfrm>
            <a:off x="8077653" y="2346376"/>
            <a:ext cx="612000" cy="257861"/>
          </a:xfrm>
          <a:prstGeom prst="ellipse">
            <a:avLst/>
          </a:prstGeom>
          <a:ln w="57150">
            <a:solidFill>
              <a:srgbClr val="CC0000"/>
            </a:solidFill>
          </a:ln>
        </p:spPr>
        <p:style>
          <a:lnRef idx="2">
            <a:schemeClr val="accent2"/>
          </a:lnRef>
          <a:fillRef idx="1">
            <a:schemeClr val="lt1"/>
          </a:fillRef>
          <a:effectRef idx="0">
            <a:schemeClr val="accent2"/>
          </a:effectRef>
          <a:fontRef idx="minor">
            <a:schemeClr val="dk1"/>
          </a:fontRef>
        </p:style>
        <p:txBody>
          <a:bodyPr wrap="square" lIns="0" tIns="0" rIns="0" bIns="0" numCol="1" anchor="ctr" anchorCtr="0">
            <a:noAutofit/>
          </a:bodyPr>
          <a:lstStyle/>
          <a:p>
            <a:pPr algn="ctr">
              <a:lnSpc>
                <a:spcPts val="1500"/>
              </a:lnSpc>
              <a:defRPr sz="3000" b="1">
                <a:solidFill>
                  <a:srgbClr val="1C4598"/>
                </a:solidFill>
                <a:latin typeface="Arial"/>
                <a:ea typeface="Arial"/>
                <a:cs typeface="Arial"/>
                <a:sym typeface="Arial"/>
              </a:defRPr>
            </a:pPr>
            <a:r>
              <a:rPr lang="it-IT" sz="1400" dirty="0">
                <a:ln w="0"/>
                <a:solidFill>
                  <a:schemeClr val="accent1"/>
                </a:solidFill>
                <a:effectLst>
                  <a:outerShdw blurRad="38100" dist="25400" dir="5400000" algn="ctr" rotWithShape="0">
                    <a:srgbClr val="6E747A">
                      <a:alpha val="43000"/>
                    </a:srgbClr>
                  </a:outerShdw>
                </a:effectLst>
                <a:latin typeface="+mj-lt"/>
              </a:rPr>
              <a:t>196,7</a:t>
            </a:r>
            <a:endParaRPr sz="1400" dirty="0">
              <a:ln w="0"/>
              <a:solidFill>
                <a:schemeClr val="accent1"/>
              </a:solidFill>
              <a:effectLst>
                <a:outerShdw blurRad="38100" dist="25400" dir="5400000" algn="ctr" rotWithShape="0">
                  <a:srgbClr val="6E747A">
                    <a:alpha val="43000"/>
                  </a:srgbClr>
                </a:outerShdw>
              </a:effectLst>
              <a:latin typeface="+mj-lt"/>
            </a:endParaRPr>
          </a:p>
        </p:txBody>
      </p:sp>
      <p:sp>
        <p:nvSpPr>
          <p:cNvPr id="60" name="Rettangolo arrotondato 59"/>
          <p:cNvSpPr/>
          <p:nvPr/>
        </p:nvSpPr>
        <p:spPr>
          <a:xfrm>
            <a:off x="6554866" y="2727329"/>
            <a:ext cx="1418462" cy="26008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defTabSz="914263"/>
            <a:r>
              <a:rPr lang="it-IT" sz="1600" b="1" dirty="0">
                <a:solidFill>
                  <a:schemeClr val="bg1">
                    <a:lumMod val="50000"/>
                  </a:schemeClr>
                </a:solidFill>
                <a:latin typeface="+mj-lt"/>
              </a:rPr>
              <a:t>Salaria</a:t>
            </a:r>
          </a:p>
        </p:txBody>
      </p:sp>
      <p:sp>
        <p:nvSpPr>
          <p:cNvPr id="61" name="Shape 455"/>
          <p:cNvSpPr>
            <a:spLocks noChangeAspect="1"/>
          </p:cNvSpPr>
          <p:nvPr/>
        </p:nvSpPr>
        <p:spPr>
          <a:xfrm>
            <a:off x="8077653" y="2720584"/>
            <a:ext cx="612000" cy="257861"/>
          </a:xfrm>
          <a:prstGeom prst="ellipse">
            <a:avLst/>
          </a:prstGeom>
          <a:ln w="57150">
            <a:solidFill>
              <a:srgbClr val="CC0000"/>
            </a:solidFill>
          </a:ln>
        </p:spPr>
        <p:style>
          <a:lnRef idx="2">
            <a:schemeClr val="accent2"/>
          </a:lnRef>
          <a:fillRef idx="1">
            <a:schemeClr val="lt1"/>
          </a:fillRef>
          <a:effectRef idx="0">
            <a:schemeClr val="accent2"/>
          </a:effectRef>
          <a:fontRef idx="minor">
            <a:schemeClr val="dk1"/>
          </a:fontRef>
        </p:style>
        <p:txBody>
          <a:bodyPr wrap="square" lIns="0" tIns="0" rIns="0" bIns="0" numCol="1" anchor="ctr" anchorCtr="0">
            <a:noAutofit/>
          </a:bodyPr>
          <a:lstStyle/>
          <a:p>
            <a:pPr algn="ctr">
              <a:lnSpc>
                <a:spcPts val="1500"/>
              </a:lnSpc>
              <a:defRPr sz="3000" b="1">
                <a:solidFill>
                  <a:srgbClr val="1C4598"/>
                </a:solidFill>
                <a:latin typeface="Arial"/>
                <a:ea typeface="Arial"/>
                <a:cs typeface="Arial"/>
                <a:sym typeface="Arial"/>
              </a:defRPr>
            </a:pPr>
            <a:r>
              <a:rPr lang="it-IT" sz="1400" dirty="0">
                <a:ln w="0"/>
                <a:solidFill>
                  <a:schemeClr val="accent1"/>
                </a:solidFill>
                <a:effectLst>
                  <a:outerShdw blurRad="38100" dist="25400" dir="5400000" algn="ctr" rotWithShape="0">
                    <a:srgbClr val="6E747A">
                      <a:alpha val="43000"/>
                    </a:srgbClr>
                  </a:outerShdw>
                </a:effectLst>
                <a:latin typeface="+mj-lt"/>
              </a:rPr>
              <a:t>117,7</a:t>
            </a:r>
            <a:endParaRPr sz="1400" dirty="0">
              <a:ln w="0"/>
              <a:solidFill>
                <a:schemeClr val="accent1"/>
              </a:solidFill>
              <a:effectLst>
                <a:outerShdw blurRad="38100" dist="25400" dir="5400000" algn="ctr" rotWithShape="0">
                  <a:srgbClr val="6E747A">
                    <a:alpha val="43000"/>
                  </a:srgbClr>
                </a:outerShdw>
              </a:effectLst>
              <a:latin typeface="+mj-lt"/>
            </a:endParaRPr>
          </a:p>
        </p:txBody>
      </p:sp>
      <p:sp>
        <p:nvSpPr>
          <p:cNvPr id="62" name="Rettangolo arrotondato 61"/>
          <p:cNvSpPr/>
          <p:nvPr/>
        </p:nvSpPr>
        <p:spPr>
          <a:xfrm>
            <a:off x="6554866" y="3507309"/>
            <a:ext cx="1418462" cy="26008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defTabSz="914263"/>
            <a:r>
              <a:rPr lang="it-IT" sz="1600" b="1" dirty="0">
                <a:solidFill>
                  <a:schemeClr val="bg1">
                    <a:lumMod val="50000"/>
                  </a:schemeClr>
                </a:solidFill>
                <a:latin typeface="+mj-lt"/>
              </a:rPr>
              <a:t>Altri Piani</a:t>
            </a:r>
          </a:p>
        </p:txBody>
      </p:sp>
      <p:sp>
        <p:nvSpPr>
          <p:cNvPr id="63" name="Shape 455"/>
          <p:cNvSpPr>
            <a:spLocks noChangeAspect="1"/>
          </p:cNvSpPr>
          <p:nvPr/>
        </p:nvSpPr>
        <p:spPr>
          <a:xfrm>
            <a:off x="8077653" y="3500564"/>
            <a:ext cx="612000" cy="257861"/>
          </a:xfrm>
          <a:prstGeom prst="ellipse">
            <a:avLst/>
          </a:prstGeom>
          <a:ln w="57150">
            <a:solidFill>
              <a:srgbClr val="CC0000"/>
            </a:solidFill>
          </a:ln>
        </p:spPr>
        <p:style>
          <a:lnRef idx="2">
            <a:schemeClr val="accent2"/>
          </a:lnRef>
          <a:fillRef idx="1">
            <a:schemeClr val="lt1"/>
          </a:fillRef>
          <a:effectRef idx="0">
            <a:schemeClr val="accent2"/>
          </a:effectRef>
          <a:fontRef idx="minor">
            <a:schemeClr val="dk1"/>
          </a:fontRef>
        </p:style>
        <p:txBody>
          <a:bodyPr wrap="square" lIns="0" tIns="0" rIns="0" bIns="0" numCol="1" anchor="ctr" anchorCtr="0">
            <a:noAutofit/>
          </a:bodyPr>
          <a:lstStyle/>
          <a:p>
            <a:pPr algn="ctr">
              <a:lnSpc>
                <a:spcPts val="1500"/>
              </a:lnSpc>
              <a:defRPr sz="3000" b="1">
                <a:solidFill>
                  <a:srgbClr val="1C4598"/>
                </a:solidFill>
                <a:latin typeface="Arial"/>
                <a:ea typeface="Arial"/>
                <a:cs typeface="Arial"/>
                <a:sym typeface="Arial"/>
              </a:defRPr>
            </a:pPr>
            <a:r>
              <a:rPr lang="it-IT" sz="1400" dirty="0">
                <a:ln w="0"/>
                <a:solidFill>
                  <a:schemeClr val="accent1"/>
                </a:solidFill>
                <a:effectLst>
                  <a:outerShdw blurRad="38100" dist="25400" dir="5400000" algn="ctr" rotWithShape="0">
                    <a:srgbClr val="6E747A">
                      <a:alpha val="43000"/>
                    </a:srgbClr>
                  </a:outerShdw>
                </a:effectLst>
                <a:latin typeface="+mj-lt"/>
              </a:rPr>
              <a:t>22,9</a:t>
            </a:r>
            <a:endParaRPr sz="1400" dirty="0">
              <a:ln w="0"/>
              <a:solidFill>
                <a:schemeClr val="accent1"/>
              </a:solidFill>
              <a:effectLst>
                <a:outerShdw blurRad="38100" dist="25400" dir="5400000" algn="ctr" rotWithShape="0">
                  <a:srgbClr val="6E747A">
                    <a:alpha val="43000"/>
                  </a:srgbClr>
                </a:outerShdw>
              </a:effectLst>
              <a:latin typeface="+mj-lt"/>
            </a:endParaRPr>
          </a:p>
        </p:txBody>
      </p:sp>
      <p:sp>
        <p:nvSpPr>
          <p:cNvPr id="64" name="CasellaDiTesto 63"/>
          <p:cNvSpPr txBox="1"/>
          <p:nvPr/>
        </p:nvSpPr>
        <p:spPr>
          <a:xfrm>
            <a:off x="6480403" y="1329810"/>
            <a:ext cx="2517339" cy="276999"/>
          </a:xfrm>
          <a:prstGeom prst="rect">
            <a:avLst/>
          </a:prstGeom>
          <a:noFill/>
        </p:spPr>
        <p:txBody>
          <a:bodyPr wrap="square" rtlCol="0">
            <a:spAutoFit/>
          </a:bodyPr>
          <a:lstStyle/>
          <a:p>
            <a:r>
              <a:rPr lang="it-IT" sz="1200" b="1" dirty="0">
                <a:solidFill>
                  <a:schemeClr val="tx2"/>
                </a:solidFill>
              </a:rPr>
              <a:t>Piani di finanziamento</a:t>
            </a:r>
          </a:p>
        </p:txBody>
      </p:sp>
      <p:sp>
        <p:nvSpPr>
          <p:cNvPr id="65" name="Parentesi graffa aperta 64"/>
          <p:cNvSpPr/>
          <p:nvPr/>
        </p:nvSpPr>
        <p:spPr>
          <a:xfrm>
            <a:off x="6217920" y="1381028"/>
            <a:ext cx="336946" cy="4058238"/>
          </a:xfrm>
          <a:prstGeom prst="leftBrace">
            <a:avLst>
              <a:gd name="adj1" fmla="val 8333"/>
              <a:gd name="adj2" fmla="val 37689"/>
            </a:avLst>
          </a:prstGeom>
        </p:spPr>
        <p:style>
          <a:lnRef idx="3">
            <a:schemeClr val="accent1"/>
          </a:lnRef>
          <a:fillRef idx="0">
            <a:schemeClr val="accent1"/>
          </a:fillRef>
          <a:effectRef idx="2">
            <a:schemeClr val="accent1"/>
          </a:effectRef>
          <a:fontRef idx="minor">
            <a:schemeClr val="tx1"/>
          </a:fontRef>
        </p:style>
        <p:txBody>
          <a:bodyPr rtlCol="0" anchor="ctr"/>
          <a:lstStyle/>
          <a:p>
            <a:pPr algn="ctr"/>
            <a:endParaRPr lang="it-IT"/>
          </a:p>
        </p:txBody>
      </p:sp>
      <p:sp>
        <p:nvSpPr>
          <p:cNvPr id="26" name="Rettangolo arrotondato 25"/>
          <p:cNvSpPr/>
          <p:nvPr/>
        </p:nvSpPr>
        <p:spPr>
          <a:xfrm>
            <a:off x="6554090" y="3079933"/>
            <a:ext cx="1418462" cy="33446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defTabSz="914263"/>
            <a:r>
              <a:rPr lang="it-IT" sz="1200" b="1" dirty="0" err="1">
                <a:solidFill>
                  <a:schemeClr val="bg1">
                    <a:lumMod val="50000"/>
                  </a:schemeClr>
                </a:solidFill>
              </a:rPr>
              <a:t>CdP</a:t>
            </a:r>
            <a:r>
              <a:rPr lang="it-IT" sz="1200" b="1" dirty="0">
                <a:solidFill>
                  <a:schemeClr val="bg1">
                    <a:lumMod val="50000"/>
                  </a:schemeClr>
                </a:solidFill>
              </a:rPr>
              <a:t> 16/20 – Piano Aggiuntivo</a:t>
            </a:r>
          </a:p>
        </p:txBody>
      </p:sp>
      <p:sp>
        <p:nvSpPr>
          <p:cNvPr id="27" name="Shape 455"/>
          <p:cNvSpPr>
            <a:spLocks noChangeAspect="1"/>
          </p:cNvSpPr>
          <p:nvPr/>
        </p:nvSpPr>
        <p:spPr>
          <a:xfrm>
            <a:off x="8076877" y="3113526"/>
            <a:ext cx="612000" cy="257861"/>
          </a:xfrm>
          <a:prstGeom prst="ellipse">
            <a:avLst/>
          </a:prstGeom>
          <a:ln w="57150">
            <a:solidFill>
              <a:srgbClr val="CC0000"/>
            </a:solidFill>
          </a:ln>
        </p:spPr>
        <p:style>
          <a:lnRef idx="2">
            <a:schemeClr val="accent2"/>
          </a:lnRef>
          <a:fillRef idx="1">
            <a:schemeClr val="lt1"/>
          </a:fillRef>
          <a:effectRef idx="0">
            <a:schemeClr val="accent2"/>
          </a:effectRef>
          <a:fontRef idx="minor">
            <a:schemeClr val="dk1"/>
          </a:fontRef>
        </p:style>
        <p:txBody>
          <a:bodyPr wrap="square" lIns="0" tIns="0" rIns="0" bIns="0" numCol="1" anchor="ctr" anchorCtr="0">
            <a:noAutofit/>
          </a:bodyPr>
          <a:lstStyle/>
          <a:p>
            <a:pPr algn="ctr">
              <a:lnSpc>
                <a:spcPts val="1500"/>
              </a:lnSpc>
              <a:defRPr sz="3000" b="1">
                <a:solidFill>
                  <a:srgbClr val="1C4598"/>
                </a:solidFill>
                <a:latin typeface="Arial"/>
                <a:ea typeface="Arial"/>
                <a:cs typeface="Arial"/>
                <a:sym typeface="Arial"/>
              </a:defRPr>
            </a:pPr>
            <a:r>
              <a:rPr lang="it-IT" sz="1400" dirty="0">
                <a:ln w="0"/>
                <a:solidFill>
                  <a:schemeClr val="accent1"/>
                </a:solidFill>
                <a:effectLst>
                  <a:outerShdw blurRad="38100" dist="25400" dir="5400000" algn="ctr" rotWithShape="0">
                    <a:srgbClr val="6E747A">
                      <a:alpha val="43000"/>
                    </a:srgbClr>
                  </a:outerShdw>
                </a:effectLst>
                <a:latin typeface="+mj-lt"/>
              </a:rPr>
              <a:t>124,4</a:t>
            </a:r>
          </a:p>
        </p:txBody>
      </p:sp>
      <p:sp>
        <p:nvSpPr>
          <p:cNvPr id="28" name="Rettangolo arrotondato 27"/>
          <p:cNvSpPr/>
          <p:nvPr/>
        </p:nvSpPr>
        <p:spPr>
          <a:xfrm>
            <a:off x="6553310" y="4640068"/>
            <a:ext cx="1418462" cy="322771"/>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defTabSz="914263"/>
            <a:r>
              <a:rPr lang="it-IT" sz="1200" b="1" dirty="0">
                <a:solidFill>
                  <a:schemeClr val="bg1">
                    <a:lumMod val="50000"/>
                  </a:schemeClr>
                </a:solidFill>
                <a:latin typeface="+mj-lt"/>
              </a:rPr>
              <a:t>F.I. 2020 e L.B. 2021</a:t>
            </a:r>
          </a:p>
        </p:txBody>
      </p:sp>
      <p:sp>
        <p:nvSpPr>
          <p:cNvPr id="29" name="Shape 455"/>
          <p:cNvSpPr>
            <a:spLocks noChangeAspect="1"/>
          </p:cNvSpPr>
          <p:nvPr/>
        </p:nvSpPr>
        <p:spPr>
          <a:xfrm>
            <a:off x="8076097" y="4660216"/>
            <a:ext cx="612000" cy="257861"/>
          </a:xfrm>
          <a:prstGeom prst="ellipse">
            <a:avLst/>
          </a:prstGeom>
          <a:ln w="57150">
            <a:solidFill>
              <a:srgbClr val="CC0000"/>
            </a:solidFill>
          </a:ln>
        </p:spPr>
        <p:style>
          <a:lnRef idx="2">
            <a:schemeClr val="accent2"/>
          </a:lnRef>
          <a:fillRef idx="1">
            <a:schemeClr val="lt1"/>
          </a:fillRef>
          <a:effectRef idx="0">
            <a:schemeClr val="accent2"/>
          </a:effectRef>
          <a:fontRef idx="minor">
            <a:schemeClr val="dk1"/>
          </a:fontRef>
        </p:style>
        <p:txBody>
          <a:bodyPr wrap="square" lIns="0" tIns="0" rIns="0" bIns="0" numCol="1" anchor="ctr" anchorCtr="0">
            <a:noAutofit/>
          </a:bodyPr>
          <a:lstStyle/>
          <a:p>
            <a:pPr algn="ctr">
              <a:lnSpc>
                <a:spcPts val="1500"/>
              </a:lnSpc>
              <a:defRPr sz="3000" b="1">
                <a:solidFill>
                  <a:srgbClr val="1C4598"/>
                </a:solidFill>
                <a:latin typeface="Arial"/>
                <a:ea typeface="Arial"/>
                <a:cs typeface="Arial"/>
                <a:sym typeface="Arial"/>
              </a:defRPr>
            </a:pPr>
            <a:r>
              <a:rPr lang="it-IT" sz="1400" dirty="0">
                <a:ln w="0"/>
                <a:solidFill>
                  <a:schemeClr val="accent1"/>
                </a:solidFill>
                <a:effectLst>
                  <a:outerShdw blurRad="38100" dist="25400" dir="5400000" algn="ctr" rotWithShape="0">
                    <a:srgbClr val="6E747A">
                      <a:alpha val="43000"/>
                    </a:srgbClr>
                  </a:outerShdw>
                </a:effectLst>
                <a:latin typeface="+mj-lt"/>
              </a:rPr>
              <a:t>72,8</a:t>
            </a:r>
          </a:p>
        </p:txBody>
      </p:sp>
      <p:sp>
        <p:nvSpPr>
          <p:cNvPr id="30" name="Rettangolo arrotondato 29"/>
          <p:cNvSpPr/>
          <p:nvPr/>
        </p:nvSpPr>
        <p:spPr>
          <a:xfrm>
            <a:off x="6553248" y="5062603"/>
            <a:ext cx="1418462" cy="26008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defTabSz="914263"/>
            <a:r>
              <a:rPr lang="it-IT" sz="1600" b="1" dirty="0">
                <a:solidFill>
                  <a:schemeClr val="bg1">
                    <a:lumMod val="50000"/>
                  </a:schemeClr>
                </a:solidFill>
                <a:latin typeface="+mj-lt"/>
              </a:rPr>
              <a:t>Smart Road</a:t>
            </a:r>
          </a:p>
        </p:txBody>
      </p:sp>
      <p:sp>
        <p:nvSpPr>
          <p:cNvPr id="31" name="Shape 455"/>
          <p:cNvSpPr>
            <a:spLocks noChangeAspect="1"/>
          </p:cNvSpPr>
          <p:nvPr/>
        </p:nvSpPr>
        <p:spPr>
          <a:xfrm>
            <a:off x="8076035" y="5055858"/>
            <a:ext cx="612000" cy="257861"/>
          </a:xfrm>
          <a:prstGeom prst="ellipse">
            <a:avLst/>
          </a:prstGeom>
          <a:ln w="57150">
            <a:solidFill>
              <a:srgbClr val="CC0000"/>
            </a:solidFill>
          </a:ln>
        </p:spPr>
        <p:style>
          <a:lnRef idx="2">
            <a:schemeClr val="accent2"/>
          </a:lnRef>
          <a:fillRef idx="1">
            <a:schemeClr val="lt1"/>
          </a:fillRef>
          <a:effectRef idx="0">
            <a:schemeClr val="accent2"/>
          </a:effectRef>
          <a:fontRef idx="minor">
            <a:schemeClr val="dk1"/>
          </a:fontRef>
        </p:style>
        <p:txBody>
          <a:bodyPr wrap="square" lIns="0" tIns="0" rIns="0" bIns="0" numCol="1" anchor="ctr" anchorCtr="0">
            <a:noAutofit/>
          </a:bodyPr>
          <a:lstStyle/>
          <a:p>
            <a:pPr algn="ctr">
              <a:lnSpc>
                <a:spcPts val="1500"/>
              </a:lnSpc>
              <a:defRPr sz="3000" b="1">
                <a:solidFill>
                  <a:srgbClr val="1C4598"/>
                </a:solidFill>
                <a:latin typeface="Arial"/>
                <a:ea typeface="Arial"/>
                <a:cs typeface="Arial"/>
                <a:sym typeface="Arial"/>
              </a:defRPr>
            </a:pPr>
            <a:r>
              <a:rPr lang="it-IT" sz="1400">
                <a:ln w="0"/>
                <a:solidFill>
                  <a:schemeClr val="accent1"/>
                </a:solidFill>
                <a:effectLst>
                  <a:outerShdw blurRad="38100" dist="25400" dir="5400000" algn="ctr" rotWithShape="0">
                    <a:srgbClr val="6E747A">
                      <a:alpha val="43000"/>
                    </a:srgbClr>
                  </a:outerShdw>
                </a:effectLst>
                <a:latin typeface="+mj-lt"/>
              </a:rPr>
              <a:t>54,7</a:t>
            </a:r>
            <a:endParaRPr lang="it-IT" sz="1400" dirty="0">
              <a:ln w="0"/>
              <a:solidFill>
                <a:schemeClr val="accent1"/>
              </a:solidFill>
              <a:effectLst>
                <a:outerShdw blurRad="38100" dist="25400" dir="5400000" algn="ctr" rotWithShape="0">
                  <a:srgbClr val="6E747A">
                    <a:alpha val="43000"/>
                  </a:srgbClr>
                </a:outerShdw>
              </a:effectLst>
              <a:latin typeface="+mj-lt"/>
            </a:endParaRPr>
          </a:p>
        </p:txBody>
      </p:sp>
      <p:sp>
        <p:nvSpPr>
          <p:cNvPr id="32" name="Rettangolo arrotondato 31"/>
          <p:cNvSpPr/>
          <p:nvPr/>
        </p:nvSpPr>
        <p:spPr>
          <a:xfrm>
            <a:off x="6548832" y="3889573"/>
            <a:ext cx="1418462" cy="26008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defTabSz="914263"/>
            <a:r>
              <a:rPr lang="it-IT" sz="1600" b="1" dirty="0">
                <a:solidFill>
                  <a:schemeClr val="bg1">
                    <a:lumMod val="50000"/>
                  </a:schemeClr>
                </a:solidFill>
                <a:latin typeface="+mj-lt"/>
              </a:rPr>
              <a:t>Sisma</a:t>
            </a:r>
          </a:p>
        </p:txBody>
      </p:sp>
      <p:sp>
        <p:nvSpPr>
          <p:cNvPr id="33" name="Shape 455"/>
          <p:cNvSpPr>
            <a:spLocks noChangeAspect="1"/>
          </p:cNvSpPr>
          <p:nvPr/>
        </p:nvSpPr>
        <p:spPr>
          <a:xfrm>
            <a:off x="8071619" y="3882828"/>
            <a:ext cx="612000" cy="257861"/>
          </a:xfrm>
          <a:prstGeom prst="ellipse">
            <a:avLst/>
          </a:prstGeom>
          <a:ln w="57150">
            <a:solidFill>
              <a:srgbClr val="CC0000"/>
            </a:solidFill>
          </a:ln>
        </p:spPr>
        <p:style>
          <a:lnRef idx="2">
            <a:schemeClr val="accent2"/>
          </a:lnRef>
          <a:fillRef idx="1">
            <a:schemeClr val="lt1"/>
          </a:fillRef>
          <a:effectRef idx="0">
            <a:schemeClr val="accent2"/>
          </a:effectRef>
          <a:fontRef idx="minor">
            <a:schemeClr val="dk1"/>
          </a:fontRef>
        </p:style>
        <p:txBody>
          <a:bodyPr wrap="square" lIns="0" tIns="0" rIns="0" bIns="0" numCol="1" anchor="ctr" anchorCtr="0">
            <a:noAutofit/>
          </a:bodyPr>
          <a:lstStyle/>
          <a:p>
            <a:pPr algn="ctr">
              <a:lnSpc>
                <a:spcPts val="1500"/>
              </a:lnSpc>
              <a:defRPr sz="3000" b="1">
                <a:solidFill>
                  <a:srgbClr val="1C4598"/>
                </a:solidFill>
                <a:latin typeface="Arial"/>
                <a:ea typeface="Arial"/>
                <a:cs typeface="Arial"/>
                <a:sym typeface="Arial"/>
              </a:defRPr>
            </a:pPr>
            <a:r>
              <a:rPr lang="it-IT" sz="1400" dirty="0">
                <a:ln w="0"/>
                <a:solidFill>
                  <a:schemeClr val="accent1"/>
                </a:solidFill>
                <a:effectLst>
                  <a:outerShdw blurRad="38100" dist="25400" dir="5400000" algn="ctr" rotWithShape="0">
                    <a:srgbClr val="6E747A">
                      <a:alpha val="43000"/>
                    </a:srgbClr>
                  </a:outerShdw>
                </a:effectLst>
                <a:latin typeface="+mj-lt"/>
              </a:rPr>
              <a:t>33,9</a:t>
            </a:r>
          </a:p>
        </p:txBody>
      </p:sp>
      <p:sp>
        <p:nvSpPr>
          <p:cNvPr id="34" name="Rettangolo arrotondato 33"/>
          <p:cNvSpPr/>
          <p:nvPr/>
        </p:nvSpPr>
        <p:spPr>
          <a:xfrm>
            <a:off x="6540681" y="4262903"/>
            <a:ext cx="1418462" cy="26008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defTabSz="914263"/>
            <a:r>
              <a:rPr lang="it-IT" sz="1100" b="1" dirty="0">
                <a:solidFill>
                  <a:schemeClr val="bg1">
                    <a:lumMod val="50000"/>
                  </a:schemeClr>
                </a:solidFill>
                <a:latin typeface="+mj-lt"/>
              </a:rPr>
              <a:t>SS4 + PNRR</a:t>
            </a:r>
          </a:p>
        </p:txBody>
      </p:sp>
      <p:sp>
        <p:nvSpPr>
          <p:cNvPr id="35" name="Shape 455"/>
          <p:cNvSpPr>
            <a:spLocks noChangeAspect="1"/>
          </p:cNvSpPr>
          <p:nvPr/>
        </p:nvSpPr>
        <p:spPr>
          <a:xfrm>
            <a:off x="8063468" y="4256158"/>
            <a:ext cx="612000" cy="257861"/>
          </a:xfrm>
          <a:prstGeom prst="ellipse">
            <a:avLst/>
          </a:prstGeom>
          <a:ln w="57150">
            <a:solidFill>
              <a:srgbClr val="CC0000"/>
            </a:solidFill>
          </a:ln>
        </p:spPr>
        <p:style>
          <a:lnRef idx="2">
            <a:schemeClr val="accent2"/>
          </a:lnRef>
          <a:fillRef idx="1">
            <a:schemeClr val="lt1"/>
          </a:fillRef>
          <a:effectRef idx="0">
            <a:schemeClr val="accent2"/>
          </a:effectRef>
          <a:fontRef idx="minor">
            <a:schemeClr val="dk1"/>
          </a:fontRef>
        </p:style>
        <p:txBody>
          <a:bodyPr wrap="square" lIns="0" tIns="0" rIns="0" bIns="0" numCol="1" anchor="ctr" anchorCtr="0">
            <a:noAutofit/>
          </a:bodyPr>
          <a:lstStyle/>
          <a:p>
            <a:pPr algn="ctr">
              <a:lnSpc>
                <a:spcPts val="1500"/>
              </a:lnSpc>
              <a:defRPr sz="3000" b="1">
                <a:solidFill>
                  <a:srgbClr val="1C4598"/>
                </a:solidFill>
                <a:latin typeface="Arial"/>
                <a:ea typeface="Arial"/>
                <a:cs typeface="Arial"/>
                <a:sym typeface="Arial"/>
              </a:defRPr>
            </a:pPr>
            <a:r>
              <a:rPr lang="it-IT" sz="1400" dirty="0">
                <a:ln w="0"/>
                <a:solidFill>
                  <a:schemeClr val="accent1"/>
                </a:solidFill>
                <a:effectLst>
                  <a:outerShdw blurRad="38100" dist="25400" dir="5400000" algn="ctr" rotWithShape="0">
                    <a:srgbClr val="6E747A">
                      <a:alpha val="43000"/>
                    </a:srgbClr>
                  </a:outerShdw>
                </a:effectLst>
                <a:latin typeface="+mj-lt"/>
              </a:rPr>
              <a:t>113,3</a:t>
            </a:r>
          </a:p>
        </p:txBody>
      </p:sp>
      <p:sp>
        <p:nvSpPr>
          <p:cNvPr id="49" name="CasellaDiTesto 48"/>
          <p:cNvSpPr txBox="1"/>
          <p:nvPr/>
        </p:nvSpPr>
        <p:spPr>
          <a:xfrm>
            <a:off x="532648" y="2781121"/>
            <a:ext cx="2517339" cy="276999"/>
          </a:xfrm>
          <a:prstGeom prst="rect">
            <a:avLst/>
          </a:prstGeom>
          <a:noFill/>
        </p:spPr>
        <p:txBody>
          <a:bodyPr wrap="square" rtlCol="0">
            <a:spAutoFit/>
          </a:bodyPr>
          <a:lstStyle/>
          <a:p>
            <a:r>
              <a:rPr lang="it-IT" sz="1200" b="1" u="sng" dirty="0">
                <a:solidFill>
                  <a:schemeClr val="tx2"/>
                </a:solidFill>
              </a:rPr>
              <a:t>50% (684 M.€) finanziato </a:t>
            </a:r>
            <a:r>
              <a:rPr lang="it-IT" sz="1200" b="1" u="sng" dirty="0" err="1">
                <a:solidFill>
                  <a:schemeClr val="tx2"/>
                </a:solidFill>
              </a:rPr>
              <a:t>CdP</a:t>
            </a:r>
            <a:endParaRPr lang="it-IT" sz="800" b="1" dirty="0">
              <a:solidFill>
                <a:schemeClr val="tx2"/>
              </a:solidFill>
            </a:endParaRPr>
          </a:p>
        </p:txBody>
      </p:sp>
      <p:graphicFrame>
        <p:nvGraphicFramePr>
          <p:cNvPr id="36" name="Diagramma 35"/>
          <p:cNvGraphicFramePr/>
          <p:nvPr>
            <p:extLst>
              <p:ext uri="{D42A27DB-BD31-4B8C-83A1-F6EECF244321}">
                <p14:modId xmlns:p14="http://schemas.microsoft.com/office/powerpoint/2010/main" val="2826712888"/>
              </p:ext>
            </p:extLst>
          </p:nvPr>
        </p:nvGraphicFramePr>
        <p:xfrm>
          <a:off x="134978" y="16679"/>
          <a:ext cx="8286246" cy="8116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7" name="Shape 455"/>
          <p:cNvSpPr>
            <a:spLocks noChangeAspect="1"/>
          </p:cNvSpPr>
          <p:nvPr/>
        </p:nvSpPr>
        <p:spPr>
          <a:xfrm>
            <a:off x="2857149" y="4185825"/>
            <a:ext cx="2210151" cy="713735"/>
          </a:xfrm>
          <a:prstGeom prst="ellipse">
            <a:avLst/>
          </a:prstGeom>
          <a:ln w="57150">
            <a:solidFill>
              <a:srgbClr val="00B050"/>
            </a:solidFill>
          </a:ln>
        </p:spPr>
        <p:style>
          <a:lnRef idx="2">
            <a:schemeClr val="accent2"/>
          </a:lnRef>
          <a:fillRef idx="1">
            <a:schemeClr val="lt1"/>
          </a:fillRef>
          <a:effectRef idx="0">
            <a:schemeClr val="accent2"/>
          </a:effectRef>
          <a:fontRef idx="minor">
            <a:schemeClr val="dk1"/>
          </a:fontRef>
        </p:style>
        <p:txBody>
          <a:bodyPr wrap="square" lIns="0" tIns="0" rIns="0" bIns="0" numCol="1" anchor="ctr" anchorCtr="0">
            <a:noAutofit/>
          </a:bodyPr>
          <a:lstStyle/>
          <a:p>
            <a:pPr algn="ctr">
              <a:lnSpc>
                <a:spcPts val="1500"/>
              </a:lnSpc>
              <a:defRPr sz="3000" b="1">
                <a:solidFill>
                  <a:srgbClr val="1C4598"/>
                </a:solidFill>
                <a:latin typeface="Arial"/>
                <a:ea typeface="Arial"/>
                <a:cs typeface="Arial"/>
                <a:sym typeface="Arial"/>
              </a:defRPr>
            </a:pPr>
            <a:r>
              <a:rPr lang="it-IT" sz="1200" dirty="0">
                <a:ln w="0"/>
                <a:solidFill>
                  <a:schemeClr val="accent1"/>
                </a:solidFill>
                <a:effectLst>
                  <a:outerShdw blurRad="38100" dist="25400" dir="5400000" algn="ctr" rotWithShape="0">
                    <a:srgbClr val="6E747A">
                      <a:alpha val="43000"/>
                    </a:srgbClr>
                  </a:outerShdw>
                </a:effectLst>
                <a:latin typeface="+mj-lt"/>
              </a:rPr>
              <a:t>di cui 1 292 M.€</a:t>
            </a:r>
          </a:p>
          <a:p>
            <a:pPr algn="ctr">
              <a:lnSpc>
                <a:spcPts val="1500"/>
              </a:lnSpc>
              <a:defRPr sz="3000" b="1">
                <a:solidFill>
                  <a:srgbClr val="1C4598"/>
                </a:solidFill>
                <a:latin typeface="Arial"/>
                <a:ea typeface="Arial"/>
                <a:cs typeface="Arial"/>
                <a:sym typeface="Arial"/>
              </a:defRPr>
            </a:pPr>
            <a:r>
              <a:rPr lang="it-IT" sz="1200" dirty="0">
                <a:ln w="0"/>
                <a:solidFill>
                  <a:schemeClr val="accent1"/>
                </a:solidFill>
                <a:effectLst>
                  <a:outerShdw blurRad="38100" dist="25400" dir="5400000" algn="ctr" rotWithShape="0">
                    <a:srgbClr val="6E747A">
                      <a:alpha val="43000"/>
                    </a:srgbClr>
                  </a:outerShdw>
                </a:effectLst>
                <a:latin typeface="+mj-lt"/>
              </a:rPr>
              <a:t> Interventi commissariati</a:t>
            </a:r>
          </a:p>
        </p:txBody>
      </p:sp>
    </p:spTree>
    <p:extLst>
      <p:ext uri="{BB962C8B-B14F-4D97-AF65-F5344CB8AC3E}">
        <p14:creationId xmlns:p14="http://schemas.microsoft.com/office/powerpoint/2010/main" val="2179481990"/>
      </p:ext>
    </p:extLst>
  </p:cSld>
  <p:clrMapOvr>
    <a:masterClrMapping/>
  </p:clrMapOvr>
  <p:transition spd="slow">
    <p:wip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olo 1"/>
          <p:cNvSpPr txBox="1">
            <a:spLocks/>
          </p:cNvSpPr>
          <p:nvPr/>
        </p:nvSpPr>
        <p:spPr>
          <a:xfrm>
            <a:off x="313544" y="982750"/>
            <a:ext cx="8382465" cy="529326"/>
          </a:xfrm>
          <a:prstGeom prst="rect">
            <a:avLst/>
          </a:prstGeom>
        </p:spPr>
        <p:txBody>
          <a:bodyPr/>
          <a:lst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a:lstStyle>
          <a:p>
            <a:pPr marL="257175" indent="-257175" defTabSz="685800" eaLnBrk="0" fontAlgn="base" hangingPunct="0">
              <a:lnSpc>
                <a:spcPct val="50000"/>
              </a:lnSpc>
              <a:spcBef>
                <a:spcPts val="900"/>
              </a:spcBef>
              <a:spcAft>
                <a:spcPct val="0"/>
              </a:spcAft>
              <a:defRPr/>
            </a:pPr>
            <a:r>
              <a:rPr lang="it-IT" sz="2000" dirty="0">
                <a:solidFill>
                  <a:srgbClr val="C00000"/>
                </a:solidFill>
              </a:rPr>
              <a:t>Manutenzione Programmata</a:t>
            </a:r>
          </a:p>
          <a:p>
            <a:pPr marL="257175" indent="-257175" defTabSz="685800" eaLnBrk="0" fontAlgn="base" hangingPunct="0">
              <a:lnSpc>
                <a:spcPct val="50000"/>
              </a:lnSpc>
              <a:spcBef>
                <a:spcPts val="900"/>
              </a:spcBef>
              <a:spcAft>
                <a:spcPct val="0"/>
              </a:spcAft>
              <a:defRPr/>
            </a:pPr>
            <a:r>
              <a:rPr lang="it-IT" sz="2000" dirty="0">
                <a:solidFill>
                  <a:srgbClr val="C00000"/>
                </a:solidFill>
              </a:rPr>
              <a:t>Stato Avanzamento Commesse</a:t>
            </a:r>
          </a:p>
        </p:txBody>
      </p:sp>
      <p:sp>
        <p:nvSpPr>
          <p:cNvPr id="22" name="CasellaDiTesto 21"/>
          <p:cNvSpPr txBox="1"/>
          <p:nvPr/>
        </p:nvSpPr>
        <p:spPr>
          <a:xfrm>
            <a:off x="313544" y="1479605"/>
            <a:ext cx="1101437" cy="253916"/>
          </a:xfrm>
          <a:prstGeom prst="rect">
            <a:avLst/>
          </a:prstGeom>
          <a:noFill/>
        </p:spPr>
        <p:txBody>
          <a:bodyPr wrap="square" rtlCol="0">
            <a:spAutoFit/>
          </a:bodyPr>
          <a:lstStyle/>
          <a:p>
            <a:r>
              <a:rPr lang="it-IT" sz="1050" b="1" dirty="0"/>
              <a:t>€/milioni</a:t>
            </a:r>
          </a:p>
        </p:txBody>
      </p:sp>
      <p:graphicFrame>
        <p:nvGraphicFramePr>
          <p:cNvPr id="6" name="Grafico 5"/>
          <p:cNvGraphicFramePr>
            <a:graphicFrameLocks/>
          </p:cNvGraphicFramePr>
          <p:nvPr/>
        </p:nvGraphicFramePr>
        <p:xfrm>
          <a:off x="462812" y="1479605"/>
          <a:ext cx="8082733" cy="387055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Diagramma 6"/>
          <p:cNvGraphicFramePr/>
          <p:nvPr>
            <p:extLst>
              <p:ext uri="{D42A27DB-BD31-4B8C-83A1-F6EECF244321}">
                <p14:modId xmlns:p14="http://schemas.microsoft.com/office/powerpoint/2010/main" val="2826712888"/>
              </p:ext>
            </p:extLst>
          </p:nvPr>
        </p:nvGraphicFramePr>
        <p:xfrm>
          <a:off x="134978" y="16679"/>
          <a:ext cx="8286246" cy="8116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63205682"/>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Immagine 18"/>
          <p:cNvPicPr>
            <a:picLocks noChangeAspect="1"/>
          </p:cNvPicPr>
          <p:nvPr/>
        </p:nvPicPr>
        <p:blipFill rotWithShape="1">
          <a:blip r:embed="rId2">
            <a:extLst>
              <a:ext uri="{28A0092B-C50C-407E-A947-70E740481C1C}">
                <a14:useLocalDpi xmlns:a14="http://schemas.microsoft.com/office/drawing/2010/main" val="0"/>
              </a:ext>
            </a:extLst>
          </a:blip>
          <a:srcRect t="2405" b="2839"/>
          <a:stretch/>
        </p:blipFill>
        <p:spPr>
          <a:xfrm>
            <a:off x="2777795" y="1425415"/>
            <a:ext cx="5837034" cy="4177338"/>
          </a:xfrm>
          <a:prstGeom prst="rect">
            <a:avLst/>
          </a:prstGeom>
        </p:spPr>
      </p:pic>
      <p:sp>
        <p:nvSpPr>
          <p:cNvPr id="17" name="Rettangolo arrotondato 16"/>
          <p:cNvSpPr/>
          <p:nvPr/>
        </p:nvSpPr>
        <p:spPr>
          <a:xfrm>
            <a:off x="796198" y="3751270"/>
            <a:ext cx="2139605" cy="598205"/>
          </a:xfrm>
          <a:prstGeom prst="roundRect">
            <a:avLst/>
          </a:prstGeom>
          <a:solidFill>
            <a:schemeClr val="bg1">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3"/>
            <a:r>
              <a:rPr lang="it-IT" sz="1200" b="1" dirty="0">
                <a:solidFill>
                  <a:schemeClr val="bg1">
                    <a:lumMod val="50000"/>
                  </a:schemeClr>
                </a:solidFill>
                <a:latin typeface="+mj-lt"/>
              </a:rPr>
              <a:t>INTERVENTI IN CORSO</a:t>
            </a:r>
          </a:p>
        </p:txBody>
      </p:sp>
      <p:sp>
        <p:nvSpPr>
          <p:cNvPr id="37" name="Rettangolo arrotondato 36"/>
          <p:cNvSpPr/>
          <p:nvPr/>
        </p:nvSpPr>
        <p:spPr>
          <a:xfrm>
            <a:off x="790201" y="1964413"/>
            <a:ext cx="2139605" cy="598205"/>
          </a:xfrm>
          <a:prstGeom prst="roundRect">
            <a:avLst/>
          </a:prstGeom>
          <a:solidFill>
            <a:schemeClr val="bg1">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3"/>
            <a:r>
              <a:rPr lang="it-IT" sz="1200" b="1" dirty="0">
                <a:solidFill>
                  <a:schemeClr val="bg1">
                    <a:lumMod val="50000"/>
                  </a:schemeClr>
                </a:solidFill>
                <a:latin typeface="+mj-lt"/>
              </a:rPr>
              <a:t>INTERVENTI IN PROGETTAZIONE</a:t>
            </a:r>
          </a:p>
        </p:txBody>
      </p:sp>
      <p:sp>
        <p:nvSpPr>
          <p:cNvPr id="38" name="Shape 455"/>
          <p:cNvSpPr>
            <a:spLocks noChangeAspect="1"/>
          </p:cNvSpPr>
          <p:nvPr/>
        </p:nvSpPr>
        <p:spPr>
          <a:xfrm>
            <a:off x="259299" y="1925212"/>
            <a:ext cx="697384" cy="678168"/>
          </a:xfrm>
          <a:prstGeom prst="ellipse">
            <a:avLst/>
          </a:prstGeom>
          <a:ln w="57150"/>
        </p:spPr>
        <p:style>
          <a:lnRef idx="2">
            <a:schemeClr val="accent1"/>
          </a:lnRef>
          <a:fillRef idx="1">
            <a:schemeClr val="lt1"/>
          </a:fillRef>
          <a:effectRef idx="0">
            <a:schemeClr val="accent1"/>
          </a:effectRef>
          <a:fontRef idx="minor">
            <a:schemeClr val="dk1"/>
          </a:fontRef>
        </p:style>
        <p:txBody>
          <a:bodyPr wrap="square" lIns="0" tIns="0" rIns="0" bIns="0" numCol="1" anchor="ctr">
            <a:noAutofit/>
          </a:bodyPr>
          <a:lstStyle/>
          <a:p>
            <a:pPr algn="ctr">
              <a:lnSpc>
                <a:spcPts val="1500"/>
              </a:lnSpc>
              <a:defRPr sz="3000" b="1">
                <a:solidFill>
                  <a:srgbClr val="1C4598"/>
                </a:solidFill>
                <a:latin typeface="Arial"/>
                <a:ea typeface="Arial"/>
                <a:cs typeface="Arial"/>
                <a:sym typeface="Arial"/>
              </a:defRPr>
            </a:pPr>
            <a:r>
              <a:rPr lang="it-IT" sz="1600" dirty="0">
                <a:solidFill>
                  <a:schemeClr val="tx1">
                    <a:lumMod val="65000"/>
                    <a:lumOff val="35000"/>
                  </a:schemeClr>
                </a:solidFill>
                <a:latin typeface="+mj-lt"/>
              </a:rPr>
              <a:t>371,8</a:t>
            </a:r>
            <a:endParaRPr sz="1600" dirty="0">
              <a:solidFill>
                <a:schemeClr val="tx1">
                  <a:lumMod val="65000"/>
                  <a:lumOff val="35000"/>
                </a:schemeClr>
              </a:solidFill>
              <a:latin typeface="+mj-lt"/>
            </a:endParaRPr>
          </a:p>
        </p:txBody>
      </p:sp>
      <p:sp>
        <p:nvSpPr>
          <p:cNvPr id="39" name="CasellaDiTesto 38"/>
          <p:cNvSpPr txBox="1"/>
          <p:nvPr/>
        </p:nvSpPr>
        <p:spPr>
          <a:xfrm>
            <a:off x="222392" y="1594087"/>
            <a:ext cx="1468582" cy="276999"/>
          </a:xfrm>
          <a:prstGeom prst="rect">
            <a:avLst/>
          </a:prstGeom>
          <a:noFill/>
        </p:spPr>
        <p:txBody>
          <a:bodyPr wrap="square" rtlCol="0">
            <a:spAutoFit/>
          </a:bodyPr>
          <a:lstStyle/>
          <a:p>
            <a:r>
              <a:rPr lang="it-IT" sz="1200" b="1" dirty="0"/>
              <a:t>€/milioni</a:t>
            </a:r>
          </a:p>
        </p:txBody>
      </p:sp>
      <p:sp>
        <p:nvSpPr>
          <p:cNvPr id="40" name="Rettangolo 39"/>
          <p:cNvSpPr/>
          <p:nvPr/>
        </p:nvSpPr>
        <p:spPr>
          <a:xfrm>
            <a:off x="251730" y="1070359"/>
            <a:ext cx="5233484" cy="369332"/>
          </a:xfrm>
          <a:prstGeom prst="rect">
            <a:avLst/>
          </a:prstGeom>
        </p:spPr>
        <p:txBody>
          <a:bodyPr wrap="none">
            <a:spAutoFit/>
          </a:bodyPr>
          <a:lstStyle/>
          <a:p>
            <a:r>
              <a:rPr lang="it-IT" dirty="0">
                <a:solidFill>
                  <a:srgbClr val="C00000"/>
                </a:solidFill>
              </a:rPr>
              <a:t>Localizzazione Principali interventi nella Regione Lazio</a:t>
            </a:r>
          </a:p>
        </p:txBody>
      </p:sp>
      <p:sp>
        <p:nvSpPr>
          <p:cNvPr id="14" name="Rettangolo arrotondato 13"/>
          <p:cNvSpPr/>
          <p:nvPr/>
        </p:nvSpPr>
        <p:spPr>
          <a:xfrm>
            <a:off x="896471" y="2881716"/>
            <a:ext cx="2032053" cy="509694"/>
          </a:xfrm>
          <a:prstGeom prst="roundRect">
            <a:avLst/>
          </a:prstGeom>
          <a:solidFill>
            <a:schemeClr val="bg1">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3"/>
            <a:r>
              <a:rPr lang="it-IT" sz="1200" b="1" dirty="0">
                <a:solidFill>
                  <a:schemeClr val="bg1">
                    <a:lumMod val="50000"/>
                  </a:schemeClr>
                </a:solidFill>
                <a:latin typeface="+mj-lt"/>
              </a:rPr>
              <a:t>INTERVENTI DI </a:t>
            </a:r>
          </a:p>
          <a:p>
            <a:pPr algn="ctr" defTabSz="914263"/>
            <a:r>
              <a:rPr lang="it-IT" sz="1200" b="1" dirty="0">
                <a:solidFill>
                  <a:schemeClr val="bg1">
                    <a:lumMod val="50000"/>
                  </a:schemeClr>
                </a:solidFill>
                <a:latin typeface="+mj-lt"/>
              </a:rPr>
              <a:t>PROSSIMO AVVIO</a:t>
            </a:r>
          </a:p>
        </p:txBody>
      </p:sp>
      <p:sp>
        <p:nvSpPr>
          <p:cNvPr id="15" name="Shape 455"/>
          <p:cNvSpPr>
            <a:spLocks noChangeAspect="1"/>
          </p:cNvSpPr>
          <p:nvPr/>
        </p:nvSpPr>
        <p:spPr>
          <a:xfrm>
            <a:off x="259299" y="2814944"/>
            <a:ext cx="703381" cy="684000"/>
          </a:xfrm>
          <a:prstGeom prst="ellipse">
            <a:avLst/>
          </a:prstGeom>
          <a:ln w="57150">
            <a:solidFill>
              <a:srgbClr val="FF9900"/>
            </a:solidFill>
          </a:ln>
        </p:spPr>
        <p:style>
          <a:lnRef idx="2">
            <a:schemeClr val="accent4"/>
          </a:lnRef>
          <a:fillRef idx="1">
            <a:schemeClr val="lt1"/>
          </a:fillRef>
          <a:effectRef idx="0">
            <a:schemeClr val="accent4"/>
          </a:effectRef>
          <a:fontRef idx="minor">
            <a:schemeClr val="dk1"/>
          </a:fontRef>
        </p:style>
        <p:txBody>
          <a:bodyPr wrap="square" lIns="0" tIns="0" rIns="0" bIns="0" numCol="1" anchor="ctr">
            <a:noAutofit/>
          </a:bodyPr>
          <a:lstStyle/>
          <a:p>
            <a:pPr algn="ctr">
              <a:lnSpc>
                <a:spcPts val="1500"/>
              </a:lnSpc>
              <a:defRPr sz="3000" b="1">
                <a:solidFill>
                  <a:srgbClr val="1C4598"/>
                </a:solidFill>
                <a:latin typeface="Arial"/>
                <a:ea typeface="Arial"/>
                <a:cs typeface="Arial"/>
                <a:sym typeface="Arial"/>
              </a:defRPr>
            </a:pPr>
            <a:r>
              <a:rPr lang="it-IT" sz="1600" dirty="0">
                <a:solidFill>
                  <a:schemeClr val="tx1">
                    <a:lumMod val="65000"/>
                    <a:lumOff val="35000"/>
                  </a:schemeClr>
                </a:solidFill>
                <a:latin typeface="+mj-lt"/>
              </a:rPr>
              <a:t>123,9</a:t>
            </a:r>
            <a:endParaRPr sz="1600" dirty="0">
              <a:solidFill>
                <a:schemeClr val="tx1">
                  <a:lumMod val="65000"/>
                  <a:lumOff val="35000"/>
                </a:schemeClr>
              </a:solidFill>
              <a:latin typeface="+mj-lt"/>
            </a:endParaRPr>
          </a:p>
        </p:txBody>
      </p:sp>
      <p:sp>
        <p:nvSpPr>
          <p:cNvPr id="16" name="Rettangolo 15"/>
          <p:cNvSpPr/>
          <p:nvPr/>
        </p:nvSpPr>
        <p:spPr>
          <a:xfrm>
            <a:off x="256220" y="809734"/>
            <a:ext cx="2929969" cy="369332"/>
          </a:xfrm>
          <a:prstGeom prst="rect">
            <a:avLst/>
          </a:prstGeom>
        </p:spPr>
        <p:txBody>
          <a:bodyPr wrap="none">
            <a:spAutoFit/>
          </a:bodyPr>
          <a:lstStyle/>
          <a:p>
            <a:r>
              <a:rPr lang="it-IT" b="1" dirty="0">
                <a:solidFill>
                  <a:srgbClr val="C00000"/>
                </a:solidFill>
              </a:rPr>
              <a:t>Manutenzione Programmata</a:t>
            </a:r>
          </a:p>
        </p:txBody>
      </p:sp>
      <p:sp>
        <p:nvSpPr>
          <p:cNvPr id="13" name="Shape 455"/>
          <p:cNvSpPr>
            <a:spLocks noChangeAspect="1"/>
          </p:cNvSpPr>
          <p:nvPr/>
        </p:nvSpPr>
        <p:spPr>
          <a:xfrm>
            <a:off x="259299" y="3710508"/>
            <a:ext cx="710660" cy="691078"/>
          </a:xfrm>
          <a:prstGeom prst="ellipse">
            <a:avLst/>
          </a:prstGeom>
          <a:ln w="57150">
            <a:solidFill>
              <a:srgbClr val="00B050"/>
            </a:solidFill>
          </a:ln>
        </p:spPr>
        <p:style>
          <a:lnRef idx="2">
            <a:schemeClr val="accent5"/>
          </a:lnRef>
          <a:fillRef idx="1">
            <a:schemeClr val="lt1"/>
          </a:fillRef>
          <a:effectRef idx="0">
            <a:schemeClr val="accent5"/>
          </a:effectRef>
          <a:fontRef idx="minor">
            <a:schemeClr val="dk1"/>
          </a:fontRef>
        </p:style>
        <p:txBody>
          <a:bodyPr wrap="square" lIns="0" tIns="0" rIns="0" bIns="0" numCol="1" anchor="ctr">
            <a:noAutofit/>
          </a:bodyPr>
          <a:lstStyle/>
          <a:p>
            <a:pPr algn="ctr">
              <a:lnSpc>
                <a:spcPts val="1500"/>
              </a:lnSpc>
              <a:defRPr sz="3000" b="1">
                <a:solidFill>
                  <a:srgbClr val="1C4598"/>
                </a:solidFill>
                <a:latin typeface="Arial"/>
                <a:ea typeface="Arial"/>
                <a:cs typeface="Arial"/>
                <a:sym typeface="Arial"/>
              </a:defRPr>
            </a:pPr>
            <a:r>
              <a:rPr lang="it-IT" sz="1600" dirty="0">
                <a:solidFill>
                  <a:schemeClr val="tx1">
                    <a:lumMod val="65000"/>
                    <a:lumOff val="35000"/>
                  </a:schemeClr>
                </a:solidFill>
                <a:latin typeface="+mj-lt"/>
              </a:rPr>
              <a:t>159,2</a:t>
            </a:r>
            <a:endParaRPr sz="1600" dirty="0">
              <a:solidFill>
                <a:schemeClr val="tx1">
                  <a:lumMod val="65000"/>
                  <a:lumOff val="35000"/>
                </a:schemeClr>
              </a:solidFill>
              <a:latin typeface="+mj-lt"/>
            </a:endParaRPr>
          </a:p>
        </p:txBody>
      </p:sp>
      <p:sp>
        <p:nvSpPr>
          <p:cNvPr id="35" name="Ovale 34"/>
          <p:cNvSpPr/>
          <p:nvPr/>
        </p:nvSpPr>
        <p:spPr>
          <a:xfrm>
            <a:off x="4843996" y="2379480"/>
            <a:ext cx="144000" cy="144000"/>
          </a:xfrm>
          <a:prstGeom prst="ellipse">
            <a:avLst/>
          </a:prstGeom>
          <a:solidFill>
            <a:srgbClr val="D900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it-IT" sz="900" b="1" dirty="0"/>
              <a:t>1</a:t>
            </a:r>
          </a:p>
        </p:txBody>
      </p:sp>
      <p:sp>
        <p:nvSpPr>
          <p:cNvPr id="36" name="Ovale 35"/>
          <p:cNvSpPr/>
          <p:nvPr/>
        </p:nvSpPr>
        <p:spPr>
          <a:xfrm>
            <a:off x="4983817" y="2363037"/>
            <a:ext cx="144000" cy="144000"/>
          </a:xfrm>
          <a:prstGeom prst="ellipse">
            <a:avLst/>
          </a:prstGeom>
          <a:solidFill>
            <a:srgbClr val="D900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it-IT" sz="900" b="1" dirty="0"/>
              <a:t>2</a:t>
            </a:r>
          </a:p>
        </p:txBody>
      </p:sp>
      <p:sp>
        <p:nvSpPr>
          <p:cNvPr id="41" name="Ovale 40"/>
          <p:cNvSpPr/>
          <p:nvPr/>
        </p:nvSpPr>
        <p:spPr>
          <a:xfrm>
            <a:off x="6750714" y="1853212"/>
            <a:ext cx="144000" cy="144000"/>
          </a:xfrm>
          <a:prstGeom prst="ellipse">
            <a:avLst/>
          </a:prstGeom>
          <a:solidFill>
            <a:srgbClr val="D900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it-IT" sz="900" b="1" dirty="0"/>
              <a:t>3</a:t>
            </a:r>
          </a:p>
        </p:txBody>
      </p:sp>
      <p:sp>
        <p:nvSpPr>
          <p:cNvPr id="42" name="Ovale 41"/>
          <p:cNvSpPr/>
          <p:nvPr/>
        </p:nvSpPr>
        <p:spPr>
          <a:xfrm>
            <a:off x="7796889" y="5363935"/>
            <a:ext cx="144000" cy="144000"/>
          </a:xfrm>
          <a:prstGeom prst="ellipse">
            <a:avLst/>
          </a:prstGeom>
          <a:solidFill>
            <a:srgbClr val="D900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it-IT" sz="900" b="1" dirty="0"/>
              <a:t>4</a:t>
            </a:r>
          </a:p>
        </p:txBody>
      </p:sp>
      <p:sp>
        <p:nvSpPr>
          <p:cNvPr id="43" name="Ovale 42"/>
          <p:cNvSpPr/>
          <p:nvPr/>
        </p:nvSpPr>
        <p:spPr>
          <a:xfrm>
            <a:off x="4759454" y="4144152"/>
            <a:ext cx="144000" cy="144000"/>
          </a:xfrm>
          <a:prstGeom prst="ellipse">
            <a:avLst/>
          </a:prstGeom>
          <a:solidFill>
            <a:srgbClr val="D900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it-IT" sz="900" b="1" dirty="0"/>
              <a:t>5</a:t>
            </a:r>
          </a:p>
        </p:txBody>
      </p:sp>
      <p:sp>
        <p:nvSpPr>
          <p:cNvPr id="44" name="Ovale 43"/>
          <p:cNvSpPr/>
          <p:nvPr/>
        </p:nvSpPr>
        <p:spPr>
          <a:xfrm>
            <a:off x="5123638" y="2346594"/>
            <a:ext cx="144000" cy="144000"/>
          </a:xfrm>
          <a:prstGeom prst="ellipse">
            <a:avLst/>
          </a:prstGeom>
          <a:solidFill>
            <a:srgbClr val="D900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it-IT" sz="900" b="1" dirty="0"/>
              <a:t>6</a:t>
            </a:r>
          </a:p>
        </p:txBody>
      </p:sp>
      <p:sp>
        <p:nvSpPr>
          <p:cNvPr id="45" name="Ovale 44"/>
          <p:cNvSpPr/>
          <p:nvPr/>
        </p:nvSpPr>
        <p:spPr>
          <a:xfrm>
            <a:off x="6374781" y="2394712"/>
            <a:ext cx="144000" cy="144000"/>
          </a:xfrm>
          <a:prstGeom prst="ellipse">
            <a:avLst/>
          </a:prstGeom>
          <a:solidFill>
            <a:srgbClr val="D900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it-IT" sz="900" b="1" dirty="0"/>
              <a:t>7</a:t>
            </a:r>
          </a:p>
        </p:txBody>
      </p:sp>
      <p:sp>
        <p:nvSpPr>
          <p:cNvPr id="46" name="Ovale 45"/>
          <p:cNvSpPr/>
          <p:nvPr/>
        </p:nvSpPr>
        <p:spPr>
          <a:xfrm>
            <a:off x="6097507" y="2463217"/>
            <a:ext cx="144000" cy="144000"/>
          </a:xfrm>
          <a:prstGeom prst="ellipse">
            <a:avLst/>
          </a:prstGeom>
          <a:solidFill>
            <a:srgbClr val="D900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it-IT" sz="900" b="1" dirty="0"/>
              <a:t>8</a:t>
            </a:r>
          </a:p>
        </p:txBody>
      </p:sp>
      <p:sp>
        <p:nvSpPr>
          <p:cNvPr id="47" name="Ovale 46"/>
          <p:cNvSpPr/>
          <p:nvPr/>
        </p:nvSpPr>
        <p:spPr>
          <a:xfrm>
            <a:off x="6606714" y="2847158"/>
            <a:ext cx="144000" cy="144000"/>
          </a:xfrm>
          <a:prstGeom prst="ellipse">
            <a:avLst/>
          </a:prstGeom>
          <a:solidFill>
            <a:srgbClr val="FF99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it-IT" sz="900" b="1" dirty="0"/>
              <a:t>1</a:t>
            </a:r>
          </a:p>
        </p:txBody>
      </p:sp>
      <p:sp>
        <p:nvSpPr>
          <p:cNvPr id="48" name="Ovale 47"/>
          <p:cNvSpPr/>
          <p:nvPr/>
        </p:nvSpPr>
        <p:spPr>
          <a:xfrm>
            <a:off x="6462045" y="2258540"/>
            <a:ext cx="144000" cy="144000"/>
          </a:xfrm>
          <a:prstGeom prst="ellipse">
            <a:avLst/>
          </a:prstGeom>
          <a:solidFill>
            <a:srgbClr val="FF99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it-IT" sz="900" b="1" dirty="0"/>
              <a:t>2</a:t>
            </a:r>
          </a:p>
        </p:txBody>
      </p:sp>
      <p:sp>
        <p:nvSpPr>
          <p:cNvPr id="49" name="Ovale 48"/>
          <p:cNvSpPr/>
          <p:nvPr/>
        </p:nvSpPr>
        <p:spPr>
          <a:xfrm>
            <a:off x="4441656" y="2363037"/>
            <a:ext cx="144000" cy="144000"/>
          </a:xfrm>
          <a:prstGeom prst="ellipse">
            <a:avLst/>
          </a:prstGeom>
          <a:solidFill>
            <a:srgbClr val="FF99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it-IT" sz="900" b="1" dirty="0"/>
              <a:t>3</a:t>
            </a:r>
          </a:p>
        </p:txBody>
      </p:sp>
      <p:sp>
        <p:nvSpPr>
          <p:cNvPr id="50" name="Ovale 49"/>
          <p:cNvSpPr/>
          <p:nvPr/>
        </p:nvSpPr>
        <p:spPr>
          <a:xfrm>
            <a:off x="4051688" y="3458820"/>
            <a:ext cx="144000" cy="144000"/>
          </a:xfrm>
          <a:prstGeom prst="ellipse">
            <a:avLst/>
          </a:prstGeom>
          <a:solidFill>
            <a:srgbClr val="FF99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it-IT" sz="900" b="1" dirty="0"/>
              <a:t>4</a:t>
            </a:r>
          </a:p>
        </p:txBody>
      </p:sp>
      <p:sp>
        <p:nvSpPr>
          <p:cNvPr id="51" name="Ovale 50"/>
          <p:cNvSpPr/>
          <p:nvPr/>
        </p:nvSpPr>
        <p:spPr>
          <a:xfrm>
            <a:off x="4926032" y="4103613"/>
            <a:ext cx="144000" cy="144000"/>
          </a:xfrm>
          <a:prstGeom prst="ellipse">
            <a:avLst/>
          </a:prstGeom>
          <a:solidFill>
            <a:srgbClr val="FF99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it-IT" sz="900" b="1" dirty="0"/>
              <a:t>5</a:t>
            </a:r>
          </a:p>
        </p:txBody>
      </p:sp>
      <p:sp>
        <p:nvSpPr>
          <p:cNvPr id="52" name="Ovale 51"/>
          <p:cNvSpPr/>
          <p:nvPr/>
        </p:nvSpPr>
        <p:spPr>
          <a:xfrm>
            <a:off x="5410540" y="4467878"/>
            <a:ext cx="144000" cy="144000"/>
          </a:xfrm>
          <a:prstGeom prst="ellipse">
            <a:avLst/>
          </a:prstGeom>
          <a:solidFill>
            <a:srgbClr val="FF99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it-IT" sz="900" b="1" dirty="0"/>
              <a:t>6</a:t>
            </a:r>
          </a:p>
        </p:txBody>
      </p:sp>
      <p:sp>
        <p:nvSpPr>
          <p:cNvPr id="53" name="Ovale 52"/>
          <p:cNvSpPr/>
          <p:nvPr/>
        </p:nvSpPr>
        <p:spPr>
          <a:xfrm>
            <a:off x="6304626" y="5056708"/>
            <a:ext cx="144000" cy="144000"/>
          </a:xfrm>
          <a:prstGeom prst="ellipse">
            <a:avLst/>
          </a:prstGeom>
          <a:solidFill>
            <a:srgbClr val="FF99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it-IT" sz="900" b="1" dirty="0"/>
              <a:t>7</a:t>
            </a:r>
          </a:p>
        </p:txBody>
      </p:sp>
      <p:sp>
        <p:nvSpPr>
          <p:cNvPr id="54" name="Ovale 53"/>
          <p:cNvSpPr/>
          <p:nvPr/>
        </p:nvSpPr>
        <p:spPr>
          <a:xfrm>
            <a:off x="6390045" y="2119515"/>
            <a:ext cx="144000" cy="144000"/>
          </a:xfrm>
          <a:prstGeom prst="ellipse">
            <a:avLst/>
          </a:prstGeom>
          <a:solidFill>
            <a:srgbClr val="FF99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it-IT" sz="900" b="1" dirty="0"/>
              <a:t>8</a:t>
            </a:r>
          </a:p>
        </p:txBody>
      </p:sp>
      <p:sp>
        <p:nvSpPr>
          <p:cNvPr id="55" name="Ovale 54"/>
          <p:cNvSpPr/>
          <p:nvPr/>
        </p:nvSpPr>
        <p:spPr>
          <a:xfrm>
            <a:off x="5714661" y="4288152"/>
            <a:ext cx="144000" cy="144000"/>
          </a:xfrm>
          <a:prstGeom prst="ellipse">
            <a:avLst/>
          </a:prstGeom>
          <a:solidFill>
            <a:srgbClr val="00B05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it-IT" sz="900" b="1" dirty="0"/>
              <a:t>1</a:t>
            </a:r>
          </a:p>
        </p:txBody>
      </p:sp>
      <p:sp>
        <p:nvSpPr>
          <p:cNvPr id="56" name="Ovale 55"/>
          <p:cNvSpPr/>
          <p:nvPr/>
        </p:nvSpPr>
        <p:spPr>
          <a:xfrm>
            <a:off x="5268130" y="4048164"/>
            <a:ext cx="144000" cy="144000"/>
          </a:xfrm>
          <a:prstGeom prst="ellipse">
            <a:avLst/>
          </a:prstGeom>
          <a:solidFill>
            <a:srgbClr val="00B05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it-IT" sz="900" b="1" dirty="0"/>
              <a:t>2</a:t>
            </a:r>
          </a:p>
        </p:txBody>
      </p:sp>
      <p:sp>
        <p:nvSpPr>
          <p:cNvPr id="57" name="Ovale 56"/>
          <p:cNvSpPr/>
          <p:nvPr/>
        </p:nvSpPr>
        <p:spPr>
          <a:xfrm>
            <a:off x="5029552" y="4002147"/>
            <a:ext cx="144000" cy="144000"/>
          </a:xfrm>
          <a:prstGeom prst="ellipse">
            <a:avLst/>
          </a:prstGeom>
          <a:solidFill>
            <a:srgbClr val="00B05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it-IT" sz="900" b="1" dirty="0"/>
              <a:t>9</a:t>
            </a:r>
          </a:p>
        </p:txBody>
      </p:sp>
      <p:sp>
        <p:nvSpPr>
          <p:cNvPr id="58" name="Ovale 57"/>
          <p:cNvSpPr/>
          <p:nvPr/>
        </p:nvSpPr>
        <p:spPr>
          <a:xfrm>
            <a:off x="5639021" y="3103275"/>
            <a:ext cx="144000" cy="144000"/>
          </a:xfrm>
          <a:prstGeom prst="ellipse">
            <a:avLst/>
          </a:prstGeom>
          <a:solidFill>
            <a:srgbClr val="00B05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it-IT" sz="900" b="1" dirty="0"/>
              <a:t>3</a:t>
            </a:r>
          </a:p>
        </p:txBody>
      </p:sp>
      <p:sp>
        <p:nvSpPr>
          <p:cNvPr id="59" name="Ovale 58"/>
          <p:cNvSpPr/>
          <p:nvPr/>
        </p:nvSpPr>
        <p:spPr>
          <a:xfrm>
            <a:off x="5906062" y="2599228"/>
            <a:ext cx="144000" cy="144000"/>
          </a:xfrm>
          <a:prstGeom prst="ellipse">
            <a:avLst/>
          </a:prstGeom>
          <a:solidFill>
            <a:srgbClr val="00B05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it-IT" sz="900" b="1" dirty="0"/>
              <a:t>4</a:t>
            </a:r>
          </a:p>
        </p:txBody>
      </p:sp>
      <p:sp>
        <p:nvSpPr>
          <p:cNvPr id="60" name="Ovale 59"/>
          <p:cNvSpPr/>
          <p:nvPr/>
        </p:nvSpPr>
        <p:spPr>
          <a:xfrm>
            <a:off x="6328771" y="2246810"/>
            <a:ext cx="144000" cy="144000"/>
          </a:xfrm>
          <a:prstGeom prst="ellipse">
            <a:avLst/>
          </a:prstGeom>
          <a:solidFill>
            <a:srgbClr val="00B05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it-IT" sz="900" b="1" dirty="0"/>
              <a:t>5</a:t>
            </a:r>
          </a:p>
        </p:txBody>
      </p:sp>
      <p:sp>
        <p:nvSpPr>
          <p:cNvPr id="61" name="Ovale 60"/>
          <p:cNvSpPr/>
          <p:nvPr/>
        </p:nvSpPr>
        <p:spPr>
          <a:xfrm>
            <a:off x="6097507" y="1964413"/>
            <a:ext cx="144000" cy="144000"/>
          </a:xfrm>
          <a:prstGeom prst="ellipse">
            <a:avLst/>
          </a:prstGeom>
          <a:solidFill>
            <a:srgbClr val="00B05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it-IT" sz="900" b="1" dirty="0"/>
              <a:t>6</a:t>
            </a:r>
          </a:p>
        </p:txBody>
      </p:sp>
      <p:sp>
        <p:nvSpPr>
          <p:cNvPr id="62" name="Ovale 61"/>
          <p:cNvSpPr/>
          <p:nvPr/>
        </p:nvSpPr>
        <p:spPr>
          <a:xfrm>
            <a:off x="6757443" y="2967439"/>
            <a:ext cx="144000" cy="144000"/>
          </a:xfrm>
          <a:prstGeom prst="ellipse">
            <a:avLst/>
          </a:prstGeom>
          <a:solidFill>
            <a:srgbClr val="00B05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it-IT" sz="900" b="1" dirty="0"/>
              <a:t>7</a:t>
            </a:r>
          </a:p>
        </p:txBody>
      </p:sp>
      <p:sp>
        <p:nvSpPr>
          <p:cNvPr id="63" name="Ovale 62"/>
          <p:cNvSpPr/>
          <p:nvPr/>
        </p:nvSpPr>
        <p:spPr>
          <a:xfrm>
            <a:off x="7652889" y="5363935"/>
            <a:ext cx="144000" cy="144000"/>
          </a:xfrm>
          <a:prstGeom prst="ellipse">
            <a:avLst/>
          </a:prstGeom>
          <a:solidFill>
            <a:srgbClr val="00B05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it-IT" sz="900" b="1" dirty="0"/>
              <a:t>8</a:t>
            </a:r>
          </a:p>
        </p:txBody>
      </p:sp>
      <p:graphicFrame>
        <p:nvGraphicFramePr>
          <p:cNvPr id="64" name="Diagramma 63"/>
          <p:cNvGraphicFramePr/>
          <p:nvPr>
            <p:extLst>
              <p:ext uri="{D42A27DB-BD31-4B8C-83A1-F6EECF244321}">
                <p14:modId xmlns:p14="http://schemas.microsoft.com/office/powerpoint/2010/main" val="2826712888"/>
              </p:ext>
            </p:extLst>
          </p:nvPr>
        </p:nvGraphicFramePr>
        <p:xfrm>
          <a:off x="134978" y="16679"/>
          <a:ext cx="8286246" cy="8116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61989590"/>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ttangolo arrotondato 23"/>
          <p:cNvSpPr/>
          <p:nvPr/>
        </p:nvSpPr>
        <p:spPr>
          <a:xfrm>
            <a:off x="1112742" y="1103204"/>
            <a:ext cx="2049843" cy="509694"/>
          </a:xfrm>
          <a:prstGeom prst="roundRect">
            <a:avLst/>
          </a:prstGeom>
          <a:solidFill>
            <a:schemeClr val="bg1">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914263"/>
            <a:r>
              <a:rPr lang="it-IT" sz="1600" b="1" dirty="0">
                <a:solidFill>
                  <a:schemeClr val="bg1">
                    <a:lumMod val="50000"/>
                  </a:schemeClr>
                </a:solidFill>
                <a:latin typeface="+mj-lt"/>
              </a:rPr>
              <a:t> IN PROGETTAZIONE</a:t>
            </a:r>
          </a:p>
        </p:txBody>
      </p:sp>
      <p:sp>
        <p:nvSpPr>
          <p:cNvPr id="26" name="Rettangolo 25"/>
          <p:cNvSpPr/>
          <p:nvPr/>
        </p:nvSpPr>
        <p:spPr>
          <a:xfrm>
            <a:off x="2776705" y="777056"/>
            <a:ext cx="3592074" cy="369332"/>
          </a:xfrm>
          <a:prstGeom prst="rect">
            <a:avLst/>
          </a:prstGeom>
        </p:spPr>
        <p:txBody>
          <a:bodyPr wrap="none">
            <a:spAutoFit/>
          </a:bodyPr>
          <a:lstStyle/>
          <a:p>
            <a:r>
              <a:rPr lang="it-IT" dirty="0">
                <a:solidFill>
                  <a:srgbClr val="C00000"/>
                </a:solidFill>
              </a:rPr>
              <a:t>Principali interventi in Progettazione</a:t>
            </a:r>
          </a:p>
        </p:txBody>
      </p:sp>
      <p:sp>
        <p:nvSpPr>
          <p:cNvPr id="7" name="Shape 455"/>
          <p:cNvSpPr>
            <a:spLocks noChangeAspect="1"/>
          </p:cNvSpPr>
          <p:nvPr/>
        </p:nvSpPr>
        <p:spPr>
          <a:xfrm>
            <a:off x="324413" y="888263"/>
            <a:ext cx="926871" cy="901332"/>
          </a:xfrm>
          <a:prstGeom prst="ellipse">
            <a:avLst/>
          </a:prstGeom>
          <a:ln w="57150"/>
        </p:spPr>
        <p:style>
          <a:lnRef idx="2">
            <a:schemeClr val="accent1"/>
          </a:lnRef>
          <a:fillRef idx="1">
            <a:schemeClr val="lt1"/>
          </a:fillRef>
          <a:effectRef idx="0">
            <a:schemeClr val="accent1"/>
          </a:effectRef>
          <a:fontRef idx="minor">
            <a:schemeClr val="dk1"/>
          </a:fontRef>
        </p:style>
        <p:txBody>
          <a:bodyPr wrap="square" lIns="0" tIns="108000" rIns="0" bIns="0" numCol="1" anchor="ctr">
            <a:noAutofit/>
          </a:bodyPr>
          <a:lstStyle/>
          <a:p>
            <a:pPr algn="ctr">
              <a:lnSpc>
                <a:spcPts val="1500"/>
              </a:lnSpc>
              <a:defRPr sz="3000" b="1">
                <a:solidFill>
                  <a:srgbClr val="1C4598"/>
                </a:solidFill>
                <a:latin typeface="Arial"/>
                <a:ea typeface="Arial"/>
                <a:cs typeface="Arial"/>
                <a:sym typeface="Arial"/>
              </a:defRPr>
            </a:pPr>
            <a:r>
              <a:rPr lang="it-IT" sz="2200" dirty="0">
                <a:solidFill>
                  <a:schemeClr val="tx1">
                    <a:lumMod val="65000"/>
                    <a:lumOff val="35000"/>
                  </a:schemeClr>
                </a:solidFill>
                <a:latin typeface="+mj-lt"/>
              </a:rPr>
              <a:t>371,8</a:t>
            </a:r>
            <a:endParaRPr sz="2200" dirty="0">
              <a:solidFill>
                <a:schemeClr val="tx1">
                  <a:lumMod val="65000"/>
                  <a:lumOff val="35000"/>
                </a:schemeClr>
              </a:solidFill>
              <a:latin typeface="+mj-lt"/>
            </a:endParaRPr>
          </a:p>
        </p:txBody>
      </p:sp>
      <p:sp>
        <p:nvSpPr>
          <p:cNvPr id="8" name="CasellaDiTesto 7"/>
          <p:cNvSpPr txBox="1"/>
          <p:nvPr/>
        </p:nvSpPr>
        <p:spPr>
          <a:xfrm>
            <a:off x="327161" y="1882162"/>
            <a:ext cx="1468582" cy="276999"/>
          </a:xfrm>
          <a:prstGeom prst="rect">
            <a:avLst/>
          </a:prstGeom>
          <a:noFill/>
        </p:spPr>
        <p:txBody>
          <a:bodyPr wrap="square" rtlCol="0">
            <a:spAutoFit/>
          </a:bodyPr>
          <a:lstStyle/>
          <a:p>
            <a:r>
              <a:rPr lang="it-IT" sz="1200" b="1" dirty="0"/>
              <a:t>€/milioni</a:t>
            </a:r>
          </a:p>
        </p:txBody>
      </p:sp>
      <p:graphicFrame>
        <p:nvGraphicFramePr>
          <p:cNvPr id="6" name="Tabella 5"/>
          <p:cNvGraphicFramePr>
            <a:graphicFrameLocks noGrp="1"/>
          </p:cNvGraphicFramePr>
          <p:nvPr>
            <p:extLst>
              <p:ext uri="{D42A27DB-BD31-4B8C-83A1-F6EECF244321}">
                <p14:modId xmlns:p14="http://schemas.microsoft.com/office/powerpoint/2010/main" val="1433175957"/>
              </p:ext>
            </p:extLst>
          </p:nvPr>
        </p:nvGraphicFramePr>
        <p:xfrm>
          <a:off x="1319391" y="1767008"/>
          <a:ext cx="6786456" cy="3630017"/>
        </p:xfrm>
        <a:graphic>
          <a:graphicData uri="http://schemas.openxmlformats.org/drawingml/2006/table">
            <a:tbl>
              <a:tblPr/>
              <a:tblGrid>
                <a:gridCol w="850752">
                  <a:extLst>
                    <a:ext uri="{9D8B030D-6E8A-4147-A177-3AD203B41FA5}">
                      <a16:colId xmlns:a16="http://schemas.microsoft.com/office/drawing/2014/main" val="20000"/>
                    </a:ext>
                  </a:extLst>
                </a:gridCol>
                <a:gridCol w="469380">
                  <a:extLst>
                    <a:ext uri="{9D8B030D-6E8A-4147-A177-3AD203B41FA5}">
                      <a16:colId xmlns:a16="http://schemas.microsoft.com/office/drawing/2014/main" val="20001"/>
                    </a:ext>
                  </a:extLst>
                </a:gridCol>
                <a:gridCol w="713849">
                  <a:extLst>
                    <a:ext uri="{9D8B030D-6E8A-4147-A177-3AD203B41FA5}">
                      <a16:colId xmlns:a16="http://schemas.microsoft.com/office/drawing/2014/main" val="20002"/>
                    </a:ext>
                  </a:extLst>
                </a:gridCol>
                <a:gridCol w="469380">
                  <a:extLst>
                    <a:ext uri="{9D8B030D-6E8A-4147-A177-3AD203B41FA5}">
                      <a16:colId xmlns:a16="http://schemas.microsoft.com/office/drawing/2014/main" val="20003"/>
                    </a:ext>
                  </a:extLst>
                </a:gridCol>
                <a:gridCol w="3618140">
                  <a:extLst>
                    <a:ext uri="{9D8B030D-6E8A-4147-A177-3AD203B41FA5}">
                      <a16:colId xmlns:a16="http://schemas.microsoft.com/office/drawing/2014/main" val="20004"/>
                    </a:ext>
                  </a:extLst>
                </a:gridCol>
                <a:gridCol w="664955">
                  <a:extLst>
                    <a:ext uri="{9D8B030D-6E8A-4147-A177-3AD203B41FA5}">
                      <a16:colId xmlns:a16="http://schemas.microsoft.com/office/drawing/2014/main" val="20005"/>
                    </a:ext>
                  </a:extLst>
                </a:gridCol>
              </a:tblGrid>
              <a:tr h="345716">
                <a:tc gridSpan="6">
                  <a:txBody>
                    <a:bodyPr/>
                    <a:lstStyle/>
                    <a:p>
                      <a:pPr algn="ctr" fontAlgn="ctr"/>
                      <a:r>
                        <a:rPr lang="it-IT" sz="900" b="1" i="0" u="none" strike="noStrike" dirty="0">
                          <a:solidFill>
                            <a:srgbClr val="FFFFFF"/>
                          </a:solidFill>
                          <a:effectLst/>
                          <a:latin typeface="Calibri" panose="020F0502020204030204" pitchFamily="34" charset="0"/>
                        </a:rPr>
                        <a:t>PRINCIPALI INTERVENTI IN PROGETTAZIONE</a:t>
                      </a:r>
                    </a:p>
                  </a:txBody>
                  <a:tcPr marL="6945" marR="6945" marT="6945" marB="0" anchor="ctr">
                    <a:lnL w="6350" cap="flat" cmpd="sng" algn="ctr">
                      <a:solidFill>
                        <a:srgbClr val="A6A6A6"/>
                      </a:solidFill>
                      <a:prstDash val="solid"/>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DC002E"/>
                    </a:solidFill>
                  </a:tcPr>
                </a:tc>
                <a:tc hMerge="1">
                  <a:txBody>
                    <a:bodyPr/>
                    <a:lstStyle/>
                    <a:p>
                      <a:endParaRPr lang="it-IT"/>
                    </a:p>
                  </a:txBody>
                  <a:tcPr/>
                </a:tc>
                <a:tc hMerge="1">
                  <a:txBody>
                    <a:bodyPr/>
                    <a:lstStyle/>
                    <a:p>
                      <a:endParaRPr lang="it-IT"/>
                    </a:p>
                  </a:txBody>
                  <a:tcPr/>
                </a:tc>
                <a:tc hMerge="1">
                  <a:txBody>
                    <a:bodyPr/>
                    <a:lstStyle/>
                    <a:p>
                      <a:endParaRPr lang="it-IT"/>
                    </a:p>
                  </a:txBody>
                  <a:tcPr/>
                </a:tc>
                <a:tc hMerge="1">
                  <a:txBody>
                    <a:bodyPr/>
                    <a:lstStyle/>
                    <a:p>
                      <a:endParaRPr lang="it-IT"/>
                    </a:p>
                  </a:txBody>
                  <a:tcPr/>
                </a:tc>
                <a:tc hMerge="1">
                  <a:txBody>
                    <a:bodyPr/>
                    <a:lstStyle/>
                    <a:p>
                      <a:endParaRPr lang="it-IT"/>
                    </a:p>
                  </a:txBody>
                  <a:tcPr/>
                </a:tc>
                <a:extLst>
                  <a:ext uri="{0D108BD9-81ED-4DB2-BD59-A6C34878D82A}">
                    <a16:rowId xmlns:a16="http://schemas.microsoft.com/office/drawing/2014/main" val="10000"/>
                  </a:ext>
                </a:extLst>
              </a:tr>
              <a:tr h="345716">
                <a:tc>
                  <a:txBody>
                    <a:bodyPr/>
                    <a:lstStyle/>
                    <a:p>
                      <a:pPr algn="ctr" fontAlgn="ctr"/>
                      <a:r>
                        <a:rPr lang="it-IT" sz="700" b="1" i="0" u="none" strike="noStrike">
                          <a:solidFill>
                            <a:srgbClr val="FFFFFF"/>
                          </a:solidFill>
                          <a:effectLst/>
                          <a:latin typeface="Calibri" panose="020F0502020204030204" pitchFamily="34" charset="0"/>
                        </a:rPr>
                        <a:t>Prog.</a:t>
                      </a:r>
                    </a:p>
                  </a:txBody>
                  <a:tcPr marL="6945" marR="6945" marT="6945" marB="0" anchor="ctr">
                    <a:lnL w="6350" cap="flat" cmpd="sng" algn="ctr">
                      <a:solidFill>
                        <a:srgbClr val="A6A6A6"/>
                      </a:solidFill>
                      <a:prstDash val="solid"/>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002E"/>
                    </a:solidFill>
                  </a:tcPr>
                </a:tc>
                <a:tc>
                  <a:txBody>
                    <a:bodyPr/>
                    <a:lstStyle/>
                    <a:p>
                      <a:pPr algn="ctr" fontAlgn="ctr"/>
                      <a:r>
                        <a:rPr lang="it-IT" sz="700" b="1" i="0" u="none" strike="noStrike">
                          <a:solidFill>
                            <a:srgbClr val="FFFFFF"/>
                          </a:solidFill>
                          <a:effectLst/>
                          <a:latin typeface="Calibri" panose="020F0502020204030204" pitchFamily="34" charset="0"/>
                        </a:rPr>
                        <a:t>ST</a:t>
                      </a:r>
                    </a:p>
                  </a:txBody>
                  <a:tcPr marL="6945" marR="6945" marT="6945" marB="0" anchor="ctr">
                    <a:lnL w="6350" cap="flat" cmpd="sng" algn="ctr">
                      <a:solidFill>
                        <a:srgbClr val="A6A6A6"/>
                      </a:solidFill>
                      <a:prstDash val="solid"/>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002E"/>
                    </a:solidFill>
                  </a:tcPr>
                </a:tc>
                <a:tc>
                  <a:txBody>
                    <a:bodyPr/>
                    <a:lstStyle/>
                    <a:p>
                      <a:pPr algn="ctr" fontAlgn="ctr"/>
                      <a:r>
                        <a:rPr lang="it-IT" sz="700" b="1" i="0" u="none" strike="noStrike">
                          <a:solidFill>
                            <a:srgbClr val="FFFFFF"/>
                          </a:solidFill>
                          <a:effectLst/>
                          <a:latin typeface="Calibri" panose="020F0502020204030204" pitchFamily="34" charset="0"/>
                        </a:rPr>
                        <a:t>Tipologia</a:t>
                      </a:r>
                    </a:p>
                  </a:txBody>
                  <a:tcPr marL="6945" marR="6945" marT="6945" marB="0" anchor="ctr">
                    <a:lnL w="6350" cap="flat" cmpd="sng" algn="ctr">
                      <a:solidFill>
                        <a:srgbClr val="A6A6A6"/>
                      </a:solidFill>
                      <a:prstDash val="solid"/>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002E"/>
                    </a:solidFill>
                  </a:tcPr>
                </a:tc>
                <a:tc>
                  <a:txBody>
                    <a:bodyPr/>
                    <a:lstStyle/>
                    <a:p>
                      <a:pPr algn="ctr" fontAlgn="ctr"/>
                      <a:r>
                        <a:rPr lang="it-IT" sz="700" b="1" i="0" u="none" strike="noStrike">
                          <a:solidFill>
                            <a:srgbClr val="FFFFFF"/>
                          </a:solidFill>
                          <a:effectLst/>
                          <a:latin typeface="Calibri" panose="020F0502020204030204" pitchFamily="34" charset="0"/>
                        </a:rPr>
                        <a:t>Strada</a:t>
                      </a:r>
                    </a:p>
                  </a:txBody>
                  <a:tcPr marL="6945" marR="6945" marT="6945" marB="0" anchor="ctr">
                    <a:lnL w="6350" cap="flat" cmpd="sng" algn="ctr">
                      <a:solidFill>
                        <a:srgbClr val="A6A6A6"/>
                      </a:solidFill>
                      <a:prstDash val="solid"/>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002E"/>
                    </a:solidFill>
                  </a:tcPr>
                </a:tc>
                <a:tc>
                  <a:txBody>
                    <a:bodyPr/>
                    <a:lstStyle/>
                    <a:p>
                      <a:pPr algn="ctr" fontAlgn="ctr"/>
                      <a:r>
                        <a:rPr lang="it-IT" sz="700" b="1" i="0" u="none" strike="noStrike">
                          <a:solidFill>
                            <a:srgbClr val="FFFFFF"/>
                          </a:solidFill>
                          <a:effectLst/>
                          <a:latin typeface="Calibri" panose="020F0502020204030204" pitchFamily="34" charset="0"/>
                        </a:rPr>
                        <a:t>Titolo</a:t>
                      </a:r>
                    </a:p>
                  </a:txBody>
                  <a:tcPr marL="6945" marR="6945" marT="6945" marB="0" anchor="ctr">
                    <a:lnL w="6350" cap="flat" cmpd="sng" algn="ctr">
                      <a:solidFill>
                        <a:srgbClr val="A6A6A6"/>
                      </a:solidFill>
                      <a:prstDash val="solid"/>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002E"/>
                    </a:solidFill>
                  </a:tcPr>
                </a:tc>
                <a:tc>
                  <a:txBody>
                    <a:bodyPr/>
                    <a:lstStyle/>
                    <a:p>
                      <a:pPr algn="ctr" fontAlgn="ctr"/>
                      <a:r>
                        <a:rPr lang="it-IT" sz="700" b="1" i="0" u="none" strike="noStrike">
                          <a:solidFill>
                            <a:srgbClr val="FFFFFF"/>
                          </a:solidFill>
                          <a:effectLst/>
                          <a:latin typeface="Calibri" panose="020F0502020204030204" pitchFamily="34" charset="0"/>
                        </a:rPr>
                        <a:t>Investimento</a:t>
                      </a:r>
                      <a:br>
                        <a:rPr lang="it-IT" sz="700" b="1" i="0" u="none" strike="noStrike">
                          <a:solidFill>
                            <a:srgbClr val="FFFFFF"/>
                          </a:solidFill>
                          <a:effectLst/>
                          <a:latin typeface="Calibri" panose="020F0502020204030204" pitchFamily="34" charset="0"/>
                        </a:rPr>
                      </a:br>
                      <a:r>
                        <a:rPr lang="it-IT" sz="700" b="1" i="0" u="none" strike="noStrike">
                          <a:solidFill>
                            <a:srgbClr val="FFFFFF"/>
                          </a:solidFill>
                          <a:effectLst/>
                          <a:latin typeface="Calibri" panose="020F0502020204030204" pitchFamily="34" charset="0"/>
                        </a:rPr>
                        <a:t>(€/Milioni)</a:t>
                      </a:r>
                    </a:p>
                  </a:txBody>
                  <a:tcPr marL="6945" marR="6945" marT="6945" marB="0" anchor="ctr">
                    <a:lnL w="6350" cap="flat" cmpd="sng" algn="ctr">
                      <a:solidFill>
                        <a:srgbClr val="A6A6A6"/>
                      </a:solidFill>
                      <a:prstDash val="solid"/>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002E"/>
                    </a:solidFill>
                  </a:tcPr>
                </a:tc>
                <a:extLst>
                  <a:ext uri="{0D108BD9-81ED-4DB2-BD59-A6C34878D82A}">
                    <a16:rowId xmlns:a16="http://schemas.microsoft.com/office/drawing/2014/main" val="10001"/>
                  </a:ext>
                </a:extLst>
              </a:tr>
              <a:tr h="345716">
                <a:tc>
                  <a:txBody>
                    <a:bodyPr/>
                    <a:lstStyle/>
                    <a:p>
                      <a:pPr algn="ctr" fontAlgn="ctr"/>
                      <a:r>
                        <a:rPr lang="it-IT" sz="800" b="0" i="0" u="none" strike="noStrike" dirty="0">
                          <a:solidFill>
                            <a:srgbClr val="000000"/>
                          </a:solidFill>
                          <a:effectLst/>
                          <a:latin typeface="Calibri" panose="020F0502020204030204" pitchFamily="34" charset="0"/>
                        </a:rPr>
                        <a:t>1</a:t>
                      </a:r>
                    </a:p>
                  </a:txBody>
                  <a:tcPr marL="6945" marR="6945" marT="694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00"/>
                    </a:solidFill>
                  </a:tcPr>
                </a:tc>
                <a:tc>
                  <a:txBody>
                    <a:bodyPr/>
                    <a:lstStyle/>
                    <a:p>
                      <a:pPr algn="ctr" fontAlgn="ctr"/>
                      <a:r>
                        <a:rPr lang="it-IT" sz="800" b="0" i="0" u="none" strike="noStrike" dirty="0">
                          <a:solidFill>
                            <a:srgbClr val="000000"/>
                          </a:solidFill>
                          <a:effectLst/>
                          <a:latin typeface="Calibri" panose="020F0502020204030204" pitchFamily="34" charset="0"/>
                        </a:rPr>
                        <a:t>Lazio</a:t>
                      </a:r>
                    </a:p>
                  </a:txBody>
                  <a:tcPr marL="6945" marR="6945" marT="694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00"/>
                    </a:solidFill>
                  </a:tcPr>
                </a:tc>
                <a:tc>
                  <a:txBody>
                    <a:bodyPr/>
                    <a:lstStyle/>
                    <a:p>
                      <a:pPr algn="ctr" fontAlgn="ctr"/>
                      <a:r>
                        <a:rPr lang="it-IT" sz="700" b="0" i="0" u="none" strike="noStrike" dirty="0">
                          <a:solidFill>
                            <a:srgbClr val="000000"/>
                          </a:solidFill>
                          <a:effectLst/>
                          <a:latin typeface="Calibri" panose="020F0502020204030204" pitchFamily="34" charset="0"/>
                        </a:rPr>
                        <a:t>Opere d'arte maggiori</a:t>
                      </a:r>
                    </a:p>
                  </a:txBody>
                  <a:tcPr marL="6945" marR="6945" marT="694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00"/>
                    </a:solidFill>
                  </a:tcPr>
                </a:tc>
                <a:tc>
                  <a:txBody>
                    <a:bodyPr/>
                    <a:lstStyle/>
                    <a:p>
                      <a:pPr algn="ctr" fontAlgn="ctr"/>
                      <a:r>
                        <a:rPr lang="it-IT" sz="700" b="0" i="0" u="none" strike="noStrike" dirty="0">
                          <a:solidFill>
                            <a:srgbClr val="000000"/>
                          </a:solidFill>
                          <a:effectLst/>
                          <a:latin typeface="Calibri" panose="020F0502020204030204" pitchFamily="34" charset="0"/>
                        </a:rPr>
                        <a:t>SS675</a:t>
                      </a:r>
                    </a:p>
                  </a:txBody>
                  <a:tcPr marL="6945" marR="6945" marT="694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00"/>
                    </a:solidFill>
                  </a:tcPr>
                </a:tc>
                <a:tc>
                  <a:txBody>
                    <a:bodyPr/>
                    <a:lstStyle/>
                    <a:p>
                      <a:pPr algn="ctr" fontAlgn="ctr"/>
                      <a:r>
                        <a:rPr lang="it-IT" sz="700" b="0" i="0" u="none" strike="noStrike" dirty="0">
                          <a:solidFill>
                            <a:srgbClr val="000000"/>
                          </a:solidFill>
                          <a:effectLst/>
                          <a:latin typeface="Calibri" panose="020F0502020204030204" pitchFamily="34" charset="0"/>
                        </a:rPr>
                        <a:t>Lavori straordinari di risanamento del Viadotto Tevere posto al km 33+088 della S.S. 675 Umbro-Laziale. LOTTO 1 - Impalcato</a:t>
                      </a:r>
                    </a:p>
                  </a:txBody>
                  <a:tcPr marL="6945" marR="6945" marT="694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00"/>
                    </a:solidFill>
                  </a:tcPr>
                </a:tc>
                <a:tc>
                  <a:txBody>
                    <a:bodyPr/>
                    <a:lstStyle/>
                    <a:p>
                      <a:pPr algn="ctr" fontAlgn="ctr"/>
                      <a:r>
                        <a:rPr lang="it-IT" sz="700" b="0" i="0" u="none" strike="noStrike" dirty="0">
                          <a:solidFill>
                            <a:srgbClr val="000000"/>
                          </a:solidFill>
                          <a:effectLst/>
                          <a:latin typeface="Calibri" panose="020F0502020204030204" pitchFamily="34" charset="0"/>
                        </a:rPr>
                        <a:t>23,50</a:t>
                      </a:r>
                    </a:p>
                  </a:txBody>
                  <a:tcPr marL="6945" marR="6945" marT="694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00"/>
                    </a:solidFill>
                  </a:tcPr>
                </a:tc>
                <a:extLst>
                  <a:ext uri="{0D108BD9-81ED-4DB2-BD59-A6C34878D82A}">
                    <a16:rowId xmlns:a16="http://schemas.microsoft.com/office/drawing/2014/main" val="10002"/>
                  </a:ext>
                </a:extLst>
              </a:tr>
              <a:tr h="345716">
                <a:tc>
                  <a:txBody>
                    <a:bodyPr/>
                    <a:lstStyle/>
                    <a:p>
                      <a:pPr algn="ctr" fontAlgn="ctr"/>
                      <a:r>
                        <a:rPr lang="it-IT" sz="800" b="0" i="0" u="none" strike="noStrike" dirty="0">
                          <a:solidFill>
                            <a:srgbClr val="000000"/>
                          </a:solidFill>
                          <a:effectLst/>
                          <a:latin typeface="Calibri" panose="020F0502020204030204" pitchFamily="34" charset="0"/>
                        </a:rPr>
                        <a:t>2</a:t>
                      </a:r>
                    </a:p>
                  </a:txBody>
                  <a:tcPr marL="6945" marR="6945" marT="694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800" b="0" i="0" u="none" strike="noStrike">
                          <a:solidFill>
                            <a:srgbClr val="000000"/>
                          </a:solidFill>
                          <a:effectLst/>
                          <a:latin typeface="Calibri" panose="020F0502020204030204" pitchFamily="34" charset="0"/>
                        </a:rPr>
                        <a:t>Lazio</a:t>
                      </a:r>
                    </a:p>
                  </a:txBody>
                  <a:tcPr marL="6945" marR="6945" marT="694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Opere d'arte maggiori</a:t>
                      </a:r>
                    </a:p>
                  </a:txBody>
                  <a:tcPr marL="6945" marR="6945" marT="694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SS675</a:t>
                      </a:r>
                    </a:p>
                  </a:txBody>
                  <a:tcPr marL="6945" marR="6945" marT="694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Lavori straordinari di risanamento del Viadotto Malle posto al km 35+713 della S.S. 675 Umbro-Laziale</a:t>
                      </a:r>
                    </a:p>
                  </a:txBody>
                  <a:tcPr marL="6945" marR="6945" marT="694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16,20</a:t>
                      </a:r>
                    </a:p>
                  </a:txBody>
                  <a:tcPr marL="6945" marR="6945" marT="694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0003"/>
                  </a:ext>
                </a:extLst>
              </a:tr>
              <a:tr h="345716">
                <a:tc>
                  <a:txBody>
                    <a:bodyPr/>
                    <a:lstStyle/>
                    <a:p>
                      <a:pPr algn="ctr" fontAlgn="ctr"/>
                      <a:r>
                        <a:rPr lang="it-IT" sz="800" b="0" i="0" u="none" strike="noStrike">
                          <a:solidFill>
                            <a:srgbClr val="000000"/>
                          </a:solidFill>
                          <a:effectLst/>
                          <a:latin typeface="Calibri" panose="020F0502020204030204" pitchFamily="34" charset="0"/>
                        </a:rPr>
                        <a:t>3</a:t>
                      </a:r>
                    </a:p>
                  </a:txBody>
                  <a:tcPr marL="6945" marR="6945" marT="694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800" b="0" i="0" u="none" strike="noStrike">
                          <a:solidFill>
                            <a:srgbClr val="000000"/>
                          </a:solidFill>
                          <a:effectLst/>
                          <a:latin typeface="Calibri" panose="020F0502020204030204" pitchFamily="34" charset="0"/>
                        </a:rPr>
                        <a:t>Lazio</a:t>
                      </a:r>
                    </a:p>
                  </a:txBody>
                  <a:tcPr marL="6945" marR="6945" marT="694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Opere complementari</a:t>
                      </a:r>
                    </a:p>
                  </a:txBody>
                  <a:tcPr marL="6945" marR="6945" marT="694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SS260</a:t>
                      </a:r>
                    </a:p>
                  </a:txBody>
                  <a:tcPr marL="6945" marR="6945" marT="694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dirty="0">
                          <a:solidFill>
                            <a:srgbClr val="000000"/>
                          </a:solidFill>
                          <a:effectLst/>
                          <a:latin typeface="Calibri" panose="020F0502020204030204" pitchFamily="34" charset="0"/>
                        </a:rPr>
                        <a:t>Lavori di costruzione della variante alla SS 260 "</a:t>
                      </a:r>
                      <a:r>
                        <a:rPr lang="it-IT" sz="700" b="0" i="0" u="none" strike="noStrike" dirty="0" err="1">
                          <a:solidFill>
                            <a:srgbClr val="000000"/>
                          </a:solidFill>
                          <a:effectLst/>
                          <a:latin typeface="Calibri" panose="020F0502020204030204" pitchFamily="34" charset="0"/>
                        </a:rPr>
                        <a:t>Picente</a:t>
                      </a:r>
                      <a:r>
                        <a:rPr lang="it-IT" sz="700" b="0" i="0" u="none" strike="noStrike" dirty="0">
                          <a:solidFill>
                            <a:srgbClr val="000000"/>
                          </a:solidFill>
                          <a:effectLst/>
                          <a:latin typeface="Calibri" panose="020F0502020204030204" pitchFamily="34" charset="0"/>
                        </a:rPr>
                        <a:t>" tra la zona ospedaliera e l'ingresso al centro storico di Amatrice</a:t>
                      </a:r>
                    </a:p>
                  </a:txBody>
                  <a:tcPr marL="6945" marR="6945" marT="694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12,56</a:t>
                      </a:r>
                    </a:p>
                  </a:txBody>
                  <a:tcPr marL="6945" marR="6945" marT="694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0004"/>
                  </a:ext>
                </a:extLst>
              </a:tr>
              <a:tr h="345716">
                <a:tc>
                  <a:txBody>
                    <a:bodyPr/>
                    <a:lstStyle/>
                    <a:p>
                      <a:pPr algn="ctr" fontAlgn="ctr"/>
                      <a:r>
                        <a:rPr lang="it-IT" sz="800" b="0" i="0" u="none" strike="noStrike">
                          <a:solidFill>
                            <a:srgbClr val="000000"/>
                          </a:solidFill>
                          <a:effectLst/>
                          <a:latin typeface="Calibri" panose="020F0502020204030204" pitchFamily="34" charset="0"/>
                        </a:rPr>
                        <a:t>4</a:t>
                      </a:r>
                    </a:p>
                  </a:txBody>
                  <a:tcPr marL="6945" marR="6945" marT="694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800" b="0" i="0" u="none" strike="noStrike" dirty="0">
                          <a:solidFill>
                            <a:srgbClr val="000000"/>
                          </a:solidFill>
                          <a:effectLst/>
                          <a:latin typeface="Calibri" panose="020F0502020204030204" pitchFamily="34" charset="0"/>
                        </a:rPr>
                        <a:t>Lazio</a:t>
                      </a:r>
                    </a:p>
                  </a:txBody>
                  <a:tcPr marL="6945" marR="6945" marT="694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Opere d'arte maggiori</a:t>
                      </a:r>
                    </a:p>
                  </a:txBody>
                  <a:tcPr marL="6945" marR="6945" marT="694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SS7</a:t>
                      </a:r>
                    </a:p>
                  </a:txBody>
                  <a:tcPr marL="6945" marR="6945" marT="694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Interventi di adeguamento al DLgs 264/06 degli impianti della galleria Tempio di Giove - Canna direzione nord</a:t>
                      </a:r>
                    </a:p>
                  </a:txBody>
                  <a:tcPr marL="6945" marR="6945" marT="694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13,57</a:t>
                      </a:r>
                    </a:p>
                  </a:txBody>
                  <a:tcPr marL="6945" marR="6945" marT="694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0005"/>
                  </a:ext>
                </a:extLst>
              </a:tr>
              <a:tr h="345716">
                <a:tc>
                  <a:txBody>
                    <a:bodyPr/>
                    <a:lstStyle/>
                    <a:p>
                      <a:pPr algn="ctr" fontAlgn="ctr"/>
                      <a:r>
                        <a:rPr lang="it-IT" sz="800" b="0" i="0" u="none" strike="noStrike" dirty="0">
                          <a:solidFill>
                            <a:srgbClr val="000000"/>
                          </a:solidFill>
                          <a:effectLst/>
                          <a:latin typeface="Calibri" panose="020F0502020204030204" pitchFamily="34" charset="0"/>
                        </a:rPr>
                        <a:t>5</a:t>
                      </a:r>
                    </a:p>
                  </a:txBody>
                  <a:tcPr marL="6945" marR="6945" marT="694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00"/>
                    </a:solidFill>
                  </a:tcPr>
                </a:tc>
                <a:tc>
                  <a:txBody>
                    <a:bodyPr/>
                    <a:lstStyle/>
                    <a:p>
                      <a:pPr algn="ctr" fontAlgn="ctr"/>
                      <a:r>
                        <a:rPr lang="it-IT" sz="800" b="0" i="0" u="none" strike="noStrike" dirty="0">
                          <a:solidFill>
                            <a:srgbClr val="000000"/>
                          </a:solidFill>
                          <a:effectLst/>
                          <a:latin typeface="Calibri" panose="020F0502020204030204" pitchFamily="34" charset="0"/>
                        </a:rPr>
                        <a:t>Lazio</a:t>
                      </a:r>
                    </a:p>
                  </a:txBody>
                  <a:tcPr marL="6945" marR="6945" marT="694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00"/>
                    </a:solidFill>
                  </a:tcPr>
                </a:tc>
                <a:tc>
                  <a:txBody>
                    <a:bodyPr/>
                    <a:lstStyle/>
                    <a:p>
                      <a:pPr algn="ctr" fontAlgn="ctr"/>
                      <a:r>
                        <a:rPr lang="it-IT" sz="700" b="0" i="0" u="none" strike="noStrike" dirty="0">
                          <a:solidFill>
                            <a:srgbClr val="000000"/>
                          </a:solidFill>
                          <a:effectLst/>
                          <a:latin typeface="Calibri" panose="020F0502020204030204" pitchFamily="34" charset="0"/>
                        </a:rPr>
                        <a:t>Opere d'arte maggiori</a:t>
                      </a:r>
                    </a:p>
                  </a:txBody>
                  <a:tcPr marL="6945" marR="6945" marT="694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00"/>
                    </a:solidFill>
                  </a:tcPr>
                </a:tc>
                <a:tc>
                  <a:txBody>
                    <a:bodyPr/>
                    <a:lstStyle/>
                    <a:p>
                      <a:pPr algn="ctr" fontAlgn="ctr"/>
                      <a:r>
                        <a:rPr lang="it-IT" sz="700" b="0" i="0" u="none" strike="noStrike" dirty="0">
                          <a:solidFill>
                            <a:srgbClr val="000000"/>
                          </a:solidFill>
                          <a:effectLst/>
                          <a:latin typeface="Calibri" panose="020F0502020204030204" pitchFamily="34" charset="0"/>
                        </a:rPr>
                        <a:t>SS296</a:t>
                      </a:r>
                    </a:p>
                  </a:txBody>
                  <a:tcPr marL="6945" marR="6945" marT="694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00"/>
                    </a:solidFill>
                  </a:tcPr>
                </a:tc>
                <a:tc>
                  <a:txBody>
                    <a:bodyPr/>
                    <a:lstStyle/>
                    <a:p>
                      <a:pPr algn="ctr" fontAlgn="ctr"/>
                      <a:r>
                        <a:rPr lang="it-IT" sz="700" b="0" i="0" u="none" strike="noStrike" dirty="0">
                          <a:solidFill>
                            <a:srgbClr val="000000"/>
                          </a:solidFill>
                          <a:effectLst/>
                          <a:latin typeface="Calibri" panose="020F0502020204030204" pitchFamily="34" charset="0"/>
                        </a:rPr>
                        <a:t>SS 296 -Lavori di manutenzione programmata per la demolizione e ricostruzione della prima parte del Viadotto dell'Aeroporto. Lavori anche notturni</a:t>
                      </a:r>
                    </a:p>
                  </a:txBody>
                  <a:tcPr marL="6945" marR="6945" marT="694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00"/>
                    </a:solidFill>
                  </a:tcPr>
                </a:tc>
                <a:tc>
                  <a:txBody>
                    <a:bodyPr/>
                    <a:lstStyle/>
                    <a:p>
                      <a:pPr algn="ctr" fontAlgn="ctr"/>
                      <a:r>
                        <a:rPr lang="it-IT" sz="700" b="0" i="0" u="none" strike="noStrike" dirty="0">
                          <a:solidFill>
                            <a:srgbClr val="000000"/>
                          </a:solidFill>
                          <a:effectLst/>
                          <a:latin typeface="Calibri" panose="020F0502020204030204" pitchFamily="34" charset="0"/>
                        </a:rPr>
                        <a:t>26,80</a:t>
                      </a:r>
                    </a:p>
                  </a:txBody>
                  <a:tcPr marL="6945" marR="6945" marT="694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00"/>
                    </a:solidFill>
                  </a:tcPr>
                </a:tc>
                <a:extLst>
                  <a:ext uri="{0D108BD9-81ED-4DB2-BD59-A6C34878D82A}">
                    <a16:rowId xmlns:a16="http://schemas.microsoft.com/office/drawing/2014/main" val="10006"/>
                  </a:ext>
                </a:extLst>
              </a:tr>
              <a:tr h="345716">
                <a:tc>
                  <a:txBody>
                    <a:bodyPr/>
                    <a:lstStyle/>
                    <a:p>
                      <a:pPr algn="ctr" fontAlgn="ctr"/>
                      <a:r>
                        <a:rPr lang="it-IT" sz="800" b="0" i="0" u="none" strike="noStrike">
                          <a:solidFill>
                            <a:srgbClr val="000000"/>
                          </a:solidFill>
                          <a:effectLst/>
                          <a:latin typeface="Calibri" panose="020F0502020204030204" pitchFamily="34" charset="0"/>
                        </a:rPr>
                        <a:t>6</a:t>
                      </a:r>
                    </a:p>
                  </a:txBody>
                  <a:tcPr marL="6945" marR="6945" marT="694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800" b="0" i="0" u="none" strike="noStrike">
                          <a:solidFill>
                            <a:srgbClr val="000000"/>
                          </a:solidFill>
                          <a:effectLst/>
                          <a:latin typeface="Calibri" panose="020F0502020204030204" pitchFamily="34" charset="0"/>
                        </a:rPr>
                        <a:t>Lazio</a:t>
                      </a:r>
                    </a:p>
                  </a:txBody>
                  <a:tcPr marL="6945" marR="6945" marT="694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Opere d'arte maggiori</a:t>
                      </a:r>
                    </a:p>
                  </a:txBody>
                  <a:tcPr marL="6945" marR="6945" marT="694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SS675</a:t>
                      </a:r>
                    </a:p>
                  </a:txBody>
                  <a:tcPr marL="6945" marR="6945" marT="694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Lavori straordinari di risanamento del Viadotto Paranza posto al km 35+028 della S.S. 675 Umbro-Laziale</a:t>
                      </a:r>
                    </a:p>
                  </a:txBody>
                  <a:tcPr marL="6945" marR="6945" marT="694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14,00</a:t>
                      </a:r>
                    </a:p>
                  </a:txBody>
                  <a:tcPr marL="6945" marR="6945" marT="694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0007"/>
                  </a:ext>
                </a:extLst>
              </a:tr>
              <a:tr h="345716">
                <a:tc>
                  <a:txBody>
                    <a:bodyPr/>
                    <a:lstStyle/>
                    <a:p>
                      <a:pPr algn="ctr" fontAlgn="ctr"/>
                      <a:r>
                        <a:rPr lang="it-IT" sz="800" b="0" i="0" u="none" strike="noStrike" dirty="0">
                          <a:solidFill>
                            <a:srgbClr val="000000"/>
                          </a:solidFill>
                          <a:effectLst/>
                          <a:latin typeface="Calibri" panose="020F0502020204030204" pitchFamily="34" charset="0"/>
                        </a:rPr>
                        <a:t>7</a:t>
                      </a:r>
                    </a:p>
                  </a:txBody>
                  <a:tcPr marL="6945" marR="6945" marT="694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00"/>
                    </a:solidFill>
                  </a:tcPr>
                </a:tc>
                <a:tc>
                  <a:txBody>
                    <a:bodyPr/>
                    <a:lstStyle/>
                    <a:p>
                      <a:pPr algn="ctr" fontAlgn="ctr"/>
                      <a:r>
                        <a:rPr lang="it-IT" sz="800" b="0" i="0" u="none" strike="noStrike" dirty="0">
                          <a:solidFill>
                            <a:srgbClr val="000000"/>
                          </a:solidFill>
                          <a:effectLst/>
                          <a:latin typeface="Calibri" panose="020F0502020204030204" pitchFamily="34" charset="0"/>
                        </a:rPr>
                        <a:t>Lazio</a:t>
                      </a:r>
                    </a:p>
                  </a:txBody>
                  <a:tcPr marL="6945" marR="6945" marT="694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00"/>
                    </a:solidFill>
                  </a:tcPr>
                </a:tc>
                <a:tc>
                  <a:txBody>
                    <a:bodyPr/>
                    <a:lstStyle/>
                    <a:p>
                      <a:pPr algn="ctr" fontAlgn="ctr"/>
                      <a:r>
                        <a:rPr lang="it-IT" sz="700" b="0" i="0" u="none" strike="noStrike" dirty="0">
                          <a:solidFill>
                            <a:srgbClr val="000000"/>
                          </a:solidFill>
                          <a:effectLst/>
                          <a:latin typeface="Calibri" panose="020F0502020204030204" pitchFamily="34" charset="0"/>
                        </a:rPr>
                        <a:t>Opere complementari</a:t>
                      </a:r>
                    </a:p>
                  </a:txBody>
                  <a:tcPr marL="6945" marR="6945" marT="694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00"/>
                    </a:solidFill>
                  </a:tcPr>
                </a:tc>
                <a:tc>
                  <a:txBody>
                    <a:bodyPr/>
                    <a:lstStyle/>
                    <a:p>
                      <a:pPr algn="ctr" fontAlgn="ctr"/>
                      <a:r>
                        <a:rPr lang="it-IT" sz="700" b="0" i="0" u="none" strike="noStrike" dirty="0">
                          <a:solidFill>
                            <a:srgbClr val="000000"/>
                          </a:solidFill>
                          <a:effectLst/>
                          <a:latin typeface="Calibri" panose="020F0502020204030204" pitchFamily="34" charset="0"/>
                        </a:rPr>
                        <a:t>SS4</a:t>
                      </a:r>
                    </a:p>
                  </a:txBody>
                  <a:tcPr marL="6945" marR="6945" marT="694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00"/>
                    </a:solidFill>
                  </a:tcPr>
                </a:tc>
                <a:tc>
                  <a:txBody>
                    <a:bodyPr/>
                    <a:lstStyle/>
                    <a:p>
                      <a:pPr algn="ctr" fontAlgn="ctr"/>
                      <a:r>
                        <a:rPr lang="it-IT" sz="700" b="0" i="0" u="none" strike="noStrike" dirty="0">
                          <a:solidFill>
                            <a:srgbClr val="000000"/>
                          </a:solidFill>
                          <a:effectLst/>
                          <a:latin typeface="Calibri" panose="020F0502020204030204" pitchFamily="34" charset="0"/>
                        </a:rPr>
                        <a:t>S.S. 4 “Salaria” Adeguamento nel tratto tra Rieti e Sigillo - 2° Lotto 2° Stralcio – Tratto tra le </a:t>
                      </a:r>
                      <a:r>
                        <a:rPr lang="it-IT" sz="700" b="0" i="0" u="none" strike="noStrike" dirty="0" err="1">
                          <a:solidFill>
                            <a:srgbClr val="000000"/>
                          </a:solidFill>
                          <a:effectLst/>
                          <a:latin typeface="Calibri" panose="020F0502020204030204" pitchFamily="34" charset="0"/>
                        </a:rPr>
                        <a:t>prog</a:t>
                      </a:r>
                      <a:r>
                        <a:rPr lang="it-IT" sz="700" b="0" i="0" u="none" strike="noStrike" dirty="0">
                          <a:solidFill>
                            <a:srgbClr val="000000"/>
                          </a:solidFill>
                          <a:effectLst/>
                          <a:latin typeface="Calibri" panose="020F0502020204030204" pitchFamily="34" charset="0"/>
                        </a:rPr>
                        <a:t>. Km 96+500 e km 99+600 con eliminazione del passaggio a livello ferroviario</a:t>
                      </a:r>
                    </a:p>
                  </a:txBody>
                  <a:tcPr marL="6945" marR="6945" marT="694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00"/>
                    </a:solidFill>
                  </a:tcPr>
                </a:tc>
                <a:tc>
                  <a:txBody>
                    <a:bodyPr/>
                    <a:lstStyle/>
                    <a:p>
                      <a:pPr algn="ctr" fontAlgn="ctr"/>
                      <a:r>
                        <a:rPr lang="it-IT" sz="700" b="0" i="0" u="none" strike="noStrike" dirty="0">
                          <a:solidFill>
                            <a:srgbClr val="000000"/>
                          </a:solidFill>
                          <a:effectLst/>
                          <a:latin typeface="Calibri" panose="020F0502020204030204" pitchFamily="34" charset="0"/>
                        </a:rPr>
                        <a:t>82,30</a:t>
                      </a:r>
                    </a:p>
                  </a:txBody>
                  <a:tcPr marL="6945" marR="6945" marT="694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00"/>
                    </a:solidFill>
                  </a:tcPr>
                </a:tc>
                <a:extLst>
                  <a:ext uri="{0D108BD9-81ED-4DB2-BD59-A6C34878D82A}">
                    <a16:rowId xmlns:a16="http://schemas.microsoft.com/office/drawing/2014/main" val="10008"/>
                  </a:ext>
                </a:extLst>
              </a:tr>
              <a:tr h="345716">
                <a:tc>
                  <a:txBody>
                    <a:bodyPr/>
                    <a:lstStyle/>
                    <a:p>
                      <a:pPr algn="ctr" fontAlgn="ctr"/>
                      <a:r>
                        <a:rPr lang="it-IT" sz="800" b="0" i="0" u="none" strike="noStrike">
                          <a:solidFill>
                            <a:srgbClr val="000000"/>
                          </a:solidFill>
                          <a:effectLst/>
                          <a:latin typeface="Calibri" panose="020F0502020204030204" pitchFamily="34" charset="0"/>
                        </a:rPr>
                        <a:t>8</a:t>
                      </a:r>
                    </a:p>
                  </a:txBody>
                  <a:tcPr marL="6945" marR="6945" marT="694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2F2F2"/>
                    </a:solidFill>
                  </a:tcPr>
                </a:tc>
                <a:tc>
                  <a:txBody>
                    <a:bodyPr/>
                    <a:lstStyle/>
                    <a:p>
                      <a:pPr algn="ctr" fontAlgn="ctr"/>
                      <a:r>
                        <a:rPr lang="it-IT" sz="800" b="0" i="0" u="none" strike="noStrike">
                          <a:solidFill>
                            <a:srgbClr val="000000"/>
                          </a:solidFill>
                          <a:effectLst/>
                          <a:latin typeface="Calibri" panose="020F0502020204030204" pitchFamily="34" charset="0"/>
                        </a:rPr>
                        <a:t>Lazio</a:t>
                      </a:r>
                    </a:p>
                  </a:txBody>
                  <a:tcPr marL="6945" marR="6945" marT="694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Opere complementari</a:t>
                      </a:r>
                    </a:p>
                  </a:txBody>
                  <a:tcPr marL="6945" marR="6945" marT="694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SS4</a:t>
                      </a:r>
                    </a:p>
                  </a:txBody>
                  <a:tcPr marL="6945" marR="6945" marT="694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S.S. 4 “Salaria” Adeguamento nel tratto tra Rieti e Sigillo - 3° Lotto 1° Stralcio - Tratto di adeguamento in sede dal km 82+200 al km 85+325</a:t>
                      </a:r>
                    </a:p>
                  </a:txBody>
                  <a:tcPr marL="6945" marR="6945" marT="694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2F2F2"/>
                    </a:solidFill>
                  </a:tcPr>
                </a:tc>
                <a:tc>
                  <a:txBody>
                    <a:bodyPr/>
                    <a:lstStyle/>
                    <a:p>
                      <a:pPr algn="ctr" fontAlgn="ctr"/>
                      <a:r>
                        <a:rPr lang="it-IT" sz="700" b="0" i="0" u="none" strike="noStrike">
                          <a:solidFill>
                            <a:srgbClr val="000000"/>
                          </a:solidFill>
                          <a:effectLst/>
                          <a:latin typeface="Calibri" panose="020F0502020204030204" pitchFamily="34" charset="0"/>
                        </a:rPr>
                        <a:t>25,00</a:t>
                      </a:r>
                    </a:p>
                  </a:txBody>
                  <a:tcPr marL="6945" marR="6945" marT="694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2F2F2"/>
                    </a:solidFill>
                  </a:tcPr>
                </a:tc>
                <a:extLst>
                  <a:ext uri="{0D108BD9-81ED-4DB2-BD59-A6C34878D82A}">
                    <a16:rowId xmlns:a16="http://schemas.microsoft.com/office/drawing/2014/main" val="10009"/>
                  </a:ext>
                </a:extLst>
              </a:tr>
              <a:tr h="172857">
                <a:tc gridSpan="6">
                  <a:txBody>
                    <a:bodyPr/>
                    <a:lstStyle/>
                    <a:p>
                      <a:pPr algn="ctr" fontAlgn="ctr"/>
                      <a:r>
                        <a:rPr lang="it-IT" sz="700" b="1" i="0" u="none" strike="noStrike" dirty="0">
                          <a:solidFill>
                            <a:srgbClr val="FFFFFF"/>
                          </a:solidFill>
                          <a:effectLst/>
                          <a:latin typeface="Calibri" panose="020F0502020204030204" pitchFamily="34" charset="0"/>
                        </a:rPr>
                        <a:t> </a:t>
                      </a:r>
                    </a:p>
                  </a:txBody>
                  <a:tcPr marL="6945" marR="6945" marT="6945" marB="0" anchor="ctr">
                    <a:lnL w="6350" cap="flat" cmpd="sng" algn="ctr">
                      <a:solidFill>
                        <a:srgbClr val="A6A6A6"/>
                      </a:solidFill>
                      <a:prstDash val="solid"/>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DC002E"/>
                    </a:solidFill>
                  </a:tcPr>
                </a:tc>
                <a:tc hMerge="1">
                  <a:txBody>
                    <a:bodyPr/>
                    <a:lstStyle/>
                    <a:p>
                      <a:endParaRPr lang="it-IT"/>
                    </a:p>
                  </a:txBody>
                  <a:tcPr/>
                </a:tc>
                <a:tc hMerge="1">
                  <a:txBody>
                    <a:bodyPr/>
                    <a:lstStyle/>
                    <a:p>
                      <a:endParaRPr lang="it-IT"/>
                    </a:p>
                  </a:txBody>
                  <a:tcPr/>
                </a:tc>
                <a:tc hMerge="1">
                  <a:txBody>
                    <a:bodyPr/>
                    <a:lstStyle/>
                    <a:p>
                      <a:endParaRPr lang="it-IT"/>
                    </a:p>
                  </a:txBody>
                  <a:tcPr/>
                </a:tc>
                <a:tc hMerge="1">
                  <a:txBody>
                    <a:bodyPr/>
                    <a:lstStyle/>
                    <a:p>
                      <a:endParaRPr lang="it-IT"/>
                    </a:p>
                  </a:txBody>
                  <a:tcPr/>
                </a:tc>
                <a:tc hMerge="1">
                  <a:txBody>
                    <a:bodyPr/>
                    <a:lstStyle/>
                    <a:p>
                      <a:endParaRPr lang="it-IT"/>
                    </a:p>
                  </a:txBody>
                  <a:tcPr/>
                </a:tc>
                <a:extLst>
                  <a:ext uri="{0D108BD9-81ED-4DB2-BD59-A6C34878D82A}">
                    <a16:rowId xmlns:a16="http://schemas.microsoft.com/office/drawing/2014/main" val="10010"/>
                  </a:ext>
                </a:extLst>
              </a:tr>
            </a:tbl>
          </a:graphicData>
        </a:graphic>
      </p:graphicFrame>
      <p:graphicFrame>
        <p:nvGraphicFramePr>
          <p:cNvPr id="9" name="Diagramma 8"/>
          <p:cNvGraphicFramePr/>
          <p:nvPr>
            <p:extLst>
              <p:ext uri="{D42A27DB-BD31-4B8C-83A1-F6EECF244321}">
                <p14:modId xmlns:p14="http://schemas.microsoft.com/office/powerpoint/2010/main" val="2826712888"/>
              </p:ext>
            </p:extLst>
          </p:nvPr>
        </p:nvGraphicFramePr>
        <p:xfrm>
          <a:off x="134978" y="16679"/>
          <a:ext cx="8286246" cy="8116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846105093"/>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yb3Gk7j9TnGf.koqnj8rQ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AS_UNIQUEID" val="288"/>
</p:tagLst>
</file>

<file path=ppt/tags/tag23.xml><?xml version="1.0" encoding="utf-8"?>
<p:tagLst xmlns:a="http://schemas.openxmlformats.org/drawingml/2006/main" xmlns:r="http://schemas.openxmlformats.org/officeDocument/2006/relationships" xmlns:p="http://schemas.openxmlformats.org/presentationml/2006/main">
  <p:tag name="AS_UNIQUEID" val="289"/>
</p:tagLst>
</file>

<file path=ppt/tags/tag24.xml><?xml version="1.0" encoding="utf-8"?>
<p:tagLst xmlns:a="http://schemas.openxmlformats.org/drawingml/2006/main" xmlns:r="http://schemas.openxmlformats.org/officeDocument/2006/relationships" xmlns:p="http://schemas.openxmlformats.org/presentationml/2006/main">
  <p:tag name="AS_UNIQUEID" val="125"/>
</p:tagLst>
</file>

<file path=ppt/tags/tag25.xml><?xml version="1.0" encoding="utf-8"?>
<p:tagLst xmlns:a="http://schemas.openxmlformats.org/drawingml/2006/main" xmlns:r="http://schemas.openxmlformats.org/officeDocument/2006/relationships" xmlns:p="http://schemas.openxmlformats.org/presentationml/2006/main">
  <p:tag name="AS_UNIQUEID" val="126"/>
</p:tagLst>
</file>

<file path=ppt/tags/tag26.xml><?xml version="1.0" encoding="utf-8"?>
<p:tagLst xmlns:a="http://schemas.openxmlformats.org/drawingml/2006/main" xmlns:r="http://schemas.openxmlformats.org/officeDocument/2006/relationships" xmlns:p="http://schemas.openxmlformats.org/presentationml/2006/main">
  <p:tag name="AS_UNIQUEID" val="127"/>
</p:tagLst>
</file>

<file path=ppt/tags/tag27.xml><?xml version="1.0" encoding="utf-8"?>
<p:tagLst xmlns:a="http://schemas.openxmlformats.org/drawingml/2006/main" xmlns:r="http://schemas.openxmlformats.org/officeDocument/2006/relationships" xmlns:p="http://schemas.openxmlformats.org/presentationml/2006/main">
  <p:tag name="AS_UNIQUEID" val="130"/>
</p:tagLst>
</file>

<file path=ppt/tags/tag28.xml><?xml version="1.0" encoding="utf-8"?>
<p:tagLst xmlns:a="http://schemas.openxmlformats.org/drawingml/2006/main" xmlns:r="http://schemas.openxmlformats.org/officeDocument/2006/relationships" xmlns:p="http://schemas.openxmlformats.org/presentationml/2006/main">
  <p:tag name="AS_UNIQUEID" val="301"/>
</p:tagLst>
</file>

<file path=ppt/tags/tag29.xml><?xml version="1.0" encoding="utf-8"?>
<p:tagLst xmlns:a="http://schemas.openxmlformats.org/drawingml/2006/main" xmlns:r="http://schemas.openxmlformats.org/officeDocument/2006/relationships" xmlns:p="http://schemas.openxmlformats.org/presentationml/2006/main">
  <p:tag name="AS_UNIQUEID" val="302"/>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AS_UNIQUEID" val="303"/>
</p:tagLst>
</file>

<file path=ppt/tags/tag31.xml><?xml version="1.0" encoding="utf-8"?>
<p:tagLst xmlns:a="http://schemas.openxmlformats.org/drawingml/2006/main" xmlns:r="http://schemas.openxmlformats.org/officeDocument/2006/relationships" xmlns:p="http://schemas.openxmlformats.org/presentationml/2006/main">
  <p:tag name="AS_UNIQUEID" val="304"/>
</p:tagLst>
</file>

<file path=ppt/tags/tag32.xml><?xml version="1.0" encoding="utf-8"?>
<p:tagLst xmlns:a="http://schemas.openxmlformats.org/drawingml/2006/main" xmlns:r="http://schemas.openxmlformats.org/officeDocument/2006/relationships" xmlns:p="http://schemas.openxmlformats.org/presentationml/2006/main">
  <p:tag name="AS_UNIQUEID" val="305"/>
</p:tagLst>
</file>

<file path=ppt/tags/tag33.xml><?xml version="1.0" encoding="utf-8"?>
<p:tagLst xmlns:a="http://schemas.openxmlformats.org/drawingml/2006/main" xmlns:r="http://schemas.openxmlformats.org/officeDocument/2006/relationships" xmlns:p="http://schemas.openxmlformats.org/presentationml/2006/main">
  <p:tag name="AS_UNIQUEID" val="306"/>
</p:tagLst>
</file>

<file path=ppt/tags/tag34.xml><?xml version="1.0" encoding="utf-8"?>
<p:tagLst xmlns:a="http://schemas.openxmlformats.org/drawingml/2006/main" xmlns:r="http://schemas.openxmlformats.org/officeDocument/2006/relationships" xmlns:p="http://schemas.openxmlformats.org/presentationml/2006/main">
  <p:tag name="AS_UNIQUEID" val="83"/>
</p:tagLst>
</file>

<file path=ppt/tags/tag35.xml><?xml version="1.0" encoding="utf-8"?>
<p:tagLst xmlns:a="http://schemas.openxmlformats.org/drawingml/2006/main" xmlns:r="http://schemas.openxmlformats.org/officeDocument/2006/relationships" xmlns:p="http://schemas.openxmlformats.org/presentationml/2006/main">
  <p:tag name="AS_UNIQUEID" val="84"/>
</p:tagLst>
</file>

<file path=ppt/tags/tag36.xml><?xml version="1.0" encoding="utf-8"?>
<p:tagLst xmlns:a="http://schemas.openxmlformats.org/drawingml/2006/main" xmlns:r="http://schemas.openxmlformats.org/officeDocument/2006/relationships" xmlns:p="http://schemas.openxmlformats.org/presentationml/2006/main">
  <p:tag name="AS_UNIQUEID" val="85"/>
</p:tagLst>
</file>

<file path=ppt/tags/tag37.xml><?xml version="1.0" encoding="utf-8"?>
<p:tagLst xmlns:a="http://schemas.openxmlformats.org/drawingml/2006/main" xmlns:r="http://schemas.openxmlformats.org/officeDocument/2006/relationships" xmlns:p="http://schemas.openxmlformats.org/presentationml/2006/main">
  <p:tag name="AS_UNIQUEID" val="86"/>
</p:tagLst>
</file>

<file path=ppt/tags/tag38.xml><?xml version="1.0" encoding="utf-8"?>
<p:tagLst xmlns:a="http://schemas.openxmlformats.org/drawingml/2006/main" xmlns:r="http://schemas.openxmlformats.org/officeDocument/2006/relationships" xmlns:p="http://schemas.openxmlformats.org/presentationml/2006/main">
  <p:tag name="AS_UNIQUEID" val="87"/>
</p:tagLst>
</file>

<file path=ppt/tags/tag39.xml><?xml version="1.0" encoding="utf-8"?>
<p:tagLst xmlns:a="http://schemas.openxmlformats.org/drawingml/2006/main" xmlns:r="http://schemas.openxmlformats.org/officeDocument/2006/relationships" xmlns:p="http://schemas.openxmlformats.org/presentationml/2006/main">
  <p:tag name="AS_UNIQUEID" val="88"/>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AS_UNIQUEID" val="89"/>
</p:tagLst>
</file>

<file path=ppt/tags/tag41.xml><?xml version="1.0" encoding="utf-8"?>
<p:tagLst xmlns:a="http://schemas.openxmlformats.org/drawingml/2006/main" xmlns:r="http://schemas.openxmlformats.org/officeDocument/2006/relationships" xmlns:p="http://schemas.openxmlformats.org/presentationml/2006/main">
  <p:tag name="AS_UNIQUEID" val="90"/>
</p:tagLst>
</file>

<file path=ppt/tags/tag42.xml><?xml version="1.0" encoding="utf-8"?>
<p:tagLst xmlns:a="http://schemas.openxmlformats.org/drawingml/2006/main" xmlns:r="http://schemas.openxmlformats.org/officeDocument/2006/relationships" xmlns:p="http://schemas.openxmlformats.org/presentationml/2006/main">
  <p:tag name="AS_UNIQUEID" val="91"/>
</p:tagLst>
</file>

<file path=ppt/tags/tag43.xml><?xml version="1.0" encoding="utf-8"?>
<p:tagLst xmlns:a="http://schemas.openxmlformats.org/drawingml/2006/main" xmlns:r="http://schemas.openxmlformats.org/officeDocument/2006/relationships" xmlns:p="http://schemas.openxmlformats.org/presentationml/2006/main">
  <p:tag name="AS_UNIQUEID" val="92"/>
</p:tagLst>
</file>

<file path=ppt/tags/tag44.xml><?xml version="1.0" encoding="utf-8"?>
<p:tagLst xmlns:a="http://schemas.openxmlformats.org/drawingml/2006/main" xmlns:r="http://schemas.openxmlformats.org/officeDocument/2006/relationships" xmlns:p="http://schemas.openxmlformats.org/presentationml/2006/main">
  <p:tag name="AS_UNIQUEID" val="93"/>
</p:tagLst>
</file>

<file path=ppt/tags/tag45.xml><?xml version="1.0" encoding="utf-8"?>
<p:tagLst xmlns:a="http://schemas.openxmlformats.org/drawingml/2006/main" xmlns:r="http://schemas.openxmlformats.org/officeDocument/2006/relationships" xmlns:p="http://schemas.openxmlformats.org/presentationml/2006/main">
  <p:tag name="AS_UNIQUEID" val="94"/>
</p:tagLst>
</file>

<file path=ppt/tags/tag46.xml><?xml version="1.0" encoding="utf-8"?>
<p:tagLst xmlns:a="http://schemas.openxmlformats.org/drawingml/2006/main" xmlns:r="http://schemas.openxmlformats.org/officeDocument/2006/relationships" xmlns:p="http://schemas.openxmlformats.org/presentationml/2006/main">
  <p:tag name="AS_UNIQUEID" val="95"/>
</p:tagLst>
</file>

<file path=ppt/tags/tag47.xml><?xml version="1.0" encoding="utf-8"?>
<p:tagLst xmlns:a="http://schemas.openxmlformats.org/drawingml/2006/main" xmlns:r="http://schemas.openxmlformats.org/officeDocument/2006/relationships" xmlns:p="http://schemas.openxmlformats.org/presentationml/2006/main">
  <p:tag name="AS_UNIQUEID" val="96"/>
</p:tagLst>
</file>

<file path=ppt/tags/tag48.xml><?xml version="1.0" encoding="utf-8"?>
<p:tagLst xmlns:a="http://schemas.openxmlformats.org/drawingml/2006/main" xmlns:r="http://schemas.openxmlformats.org/officeDocument/2006/relationships" xmlns:p="http://schemas.openxmlformats.org/presentationml/2006/main">
  <p:tag name="AS_UNIQUEID" val="97"/>
</p:tagLst>
</file>

<file path=ppt/tags/tag49.xml><?xml version="1.0" encoding="utf-8"?>
<p:tagLst xmlns:a="http://schemas.openxmlformats.org/drawingml/2006/main" xmlns:r="http://schemas.openxmlformats.org/officeDocument/2006/relationships" xmlns:p="http://schemas.openxmlformats.org/presentationml/2006/main">
  <p:tag name="AS_UNIQUEID" val="98"/>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AS_UNIQUEID" val="99"/>
</p:tagLst>
</file>

<file path=ppt/tags/tag51.xml><?xml version="1.0" encoding="utf-8"?>
<p:tagLst xmlns:a="http://schemas.openxmlformats.org/drawingml/2006/main" xmlns:r="http://schemas.openxmlformats.org/officeDocument/2006/relationships" xmlns:p="http://schemas.openxmlformats.org/presentationml/2006/main">
  <p:tag name="AS_UNIQUEID" val="100"/>
</p:tagLst>
</file>

<file path=ppt/tags/tag52.xml><?xml version="1.0" encoding="utf-8"?>
<p:tagLst xmlns:a="http://schemas.openxmlformats.org/drawingml/2006/main" xmlns:r="http://schemas.openxmlformats.org/officeDocument/2006/relationships" xmlns:p="http://schemas.openxmlformats.org/presentationml/2006/main">
  <p:tag name="AS_UNIQUEID" val="101"/>
</p:tagLst>
</file>

<file path=ppt/tags/tag53.xml><?xml version="1.0" encoding="utf-8"?>
<p:tagLst xmlns:a="http://schemas.openxmlformats.org/drawingml/2006/main" xmlns:r="http://schemas.openxmlformats.org/officeDocument/2006/relationships" xmlns:p="http://schemas.openxmlformats.org/presentationml/2006/main">
  <p:tag name="AS_UNIQUEID" val="102"/>
</p:tagLst>
</file>

<file path=ppt/tags/tag54.xml><?xml version="1.0" encoding="utf-8"?>
<p:tagLst xmlns:a="http://schemas.openxmlformats.org/drawingml/2006/main" xmlns:r="http://schemas.openxmlformats.org/officeDocument/2006/relationships" xmlns:p="http://schemas.openxmlformats.org/presentationml/2006/main">
  <p:tag name="AS_UNIQUEID" val="103"/>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Cover 1 - Proiezione">
  <a:themeElements>
    <a:clrScheme name="FS">
      <a:dk1>
        <a:srgbClr val="000000"/>
      </a:dk1>
      <a:lt1>
        <a:srgbClr val="FFFFFF"/>
      </a:lt1>
      <a:dk2>
        <a:srgbClr val="DC002E"/>
      </a:dk2>
      <a:lt2>
        <a:srgbClr val="717073"/>
      </a:lt2>
      <a:accent1>
        <a:srgbClr val="DC002E"/>
      </a:accent1>
      <a:accent2>
        <a:srgbClr val="006666"/>
      </a:accent2>
      <a:accent3>
        <a:srgbClr val="004687"/>
      </a:accent3>
      <a:accent4>
        <a:srgbClr val="F8B322"/>
      </a:accent4>
      <a:accent5>
        <a:srgbClr val="00BE7D"/>
      </a:accent5>
      <a:accent6>
        <a:srgbClr val="5A068C"/>
      </a:accent6>
      <a:hlink>
        <a:srgbClr val="E01F38"/>
      </a:hlink>
      <a:folHlink>
        <a:srgbClr val="E01F38"/>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T CAM Ing Montesano Novembre 2019" id="{20DCDAB5-ADFA-4DEC-B402-82295AF068E6}" vid="{DA1A65E0-C4A0-4723-9FAF-773846544B2E}"/>
    </a:ext>
  </a:extLst>
</a:theme>
</file>

<file path=ppt/theme/theme2.xml><?xml version="1.0" encoding="utf-8"?>
<a:theme xmlns:a="http://schemas.openxmlformats.org/drawingml/2006/main" name="Indice">
  <a:themeElements>
    <a:clrScheme name="FS">
      <a:dk1>
        <a:srgbClr val="000000"/>
      </a:dk1>
      <a:lt1>
        <a:srgbClr val="FFFFFF"/>
      </a:lt1>
      <a:dk2>
        <a:srgbClr val="DC002E"/>
      </a:dk2>
      <a:lt2>
        <a:srgbClr val="717073"/>
      </a:lt2>
      <a:accent1>
        <a:srgbClr val="DC002E"/>
      </a:accent1>
      <a:accent2>
        <a:srgbClr val="006666"/>
      </a:accent2>
      <a:accent3>
        <a:srgbClr val="004687"/>
      </a:accent3>
      <a:accent4>
        <a:srgbClr val="F8B322"/>
      </a:accent4>
      <a:accent5>
        <a:srgbClr val="00BE7D"/>
      </a:accent5>
      <a:accent6>
        <a:srgbClr val="5A068C"/>
      </a:accent6>
      <a:hlink>
        <a:srgbClr val="E01F38"/>
      </a:hlink>
      <a:folHlink>
        <a:srgbClr val="E01F38"/>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T CAM Ing Montesano Novembre 2019" id="{20DCDAB5-ADFA-4DEC-B402-82295AF068E6}" vid="{FD89D4D0-5CC3-4FC8-83B2-FD6489A62ED8}"/>
    </a:ext>
  </a:extLst>
</a:theme>
</file>

<file path=ppt/theme/theme3.xml><?xml version="1.0" encoding="utf-8"?>
<a:theme xmlns:a="http://schemas.openxmlformats.org/drawingml/2006/main" name="1_Indice">
  <a:themeElements>
    <a:clrScheme name="FS">
      <a:dk1>
        <a:srgbClr val="000000"/>
      </a:dk1>
      <a:lt1>
        <a:srgbClr val="FFFFFF"/>
      </a:lt1>
      <a:dk2>
        <a:srgbClr val="DC002E"/>
      </a:dk2>
      <a:lt2>
        <a:srgbClr val="717073"/>
      </a:lt2>
      <a:accent1>
        <a:srgbClr val="DC002E"/>
      </a:accent1>
      <a:accent2>
        <a:srgbClr val="006666"/>
      </a:accent2>
      <a:accent3>
        <a:srgbClr val="004687"/>
      </a:accent3>
      <a:accent4>
        <a:srgbClr val="F8B322"/>
      </a:accent4>
      <a:accent5>
        <a:srgbClr val="00BE7D"/>
      </a:accent5>
      <a:accent6>
        <a:srgbClr val="5A068C"/>
      </a:accent6>
      <a:hlink>
        <a:srgbClr val="E01F38"/>
      </a:hlink>
      <a:folHlink>
        <a:srgbClr val="E01F38"/>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T CAM Ing Montesano Novembre 2019" id="{20DCDAB5-ADFA-4DEC-B402-82295AF068E6}" vid="{1AB0F165-9B47-42CD-BC41-8AC66BC38367}"/>
    </a:ext>
  </a:extLst>
</a:theme>
</file>

<file path=ppt/theme/theme4.xml><?xml version="1.0" encoding="utf-8"?>
<a:theme xmlns:a="http://schemas.openxmlformats.org/drawingml/2006/main" name="Master Presentazione FSI">
  <a:themeElements>
    <a:clrScheme name="FS">
      <a:dk1>
        <a:srgbClr val="000000"/>
      </a:dk1>
      <a:lt1>
        <a:srgbClr val="FFFFFF"/>
      </a:lt1>
      <a:dk2>
        <a:srgbClr val="DC002E"/>
      </a:dk2>
      <a:lt2>
        <a:srgbClr val="717073"/>
      </a:lt2>
      <a:accent1>
        <a:srgbClr val="DC002E"/>
      </a:accent1>
      <a:accent2>
        <a:srgbClr val="006666"/>
      </a:accent2>
      <a:accent3>
        <a:srgbClr val="004687"/>
      </a:accent3>
      <a:accent4>
        <a:srgbClr val="F8B322"/>
      </a:accent4>
      <a:accent5>
        <a:srgbClr val="00BE7D"/>
      </a:accent5>
      <a:accent6>
        <a:srgbClr val="5A068C"/>
      </a:accent6>
      <a:hlink>
        <a:srgbClr val="E01F38"/>
      </a:hlink>
      <a:folHlink>
        <a:srgbClr val="E01F38"/>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T CAM Ing Montesano Novembre 2019" id="{20DCDAB5-ADFA-4DEC-B402-82295AF068E6}" vid="{8B38A881-ECFA-40B5-9C1F-33877F1A5966}"/>
    </a:ext>
  </a:extLst>
</a:theme>
</file>

<file path=ppt/theme/theme5.xml><?xml version="1.0" encoding="utf-8"?>
<a:theme xmlns:a="http://schemas.openxmlformats.org/drawingml/2006/main" name="8_Master Presentazione FSI">
  <a:themeElements>
    <a:clrScheme name="FS">
      <a:dk1>
        <a:srgbClr val="000000"/>
      </a:dk1>
      <a:lt1>
        <a:srgbClr val="FFFFFF"/>
      </a:lt1>
      <a:dk2>
        <a:srgbClr val="DC002E"/>
      </a:dk2>
      <a:lt2>
        <a:srgbClr val="717073"/>
      </a:lt2>
      <a:accent1>
        <a:srgbClr val="DC002E"/>
      </a:accent1>
      <a:accent2>
        <a:srgbClr val="006666"/>
      </a:accent2>
      <a:accent3>
        <a:srgbClr val="004687"/>
      </a:accent3>
      <a:accent4>
        <a:srgbClr val="F8B322"/>
      </a:accent4>
      <a:accent5>
        <a:srgbClr val="00BE7D"/>
      </a:accent5>
      <a:accent6>
        <a:srgbClr val="5A068C"/>
      </a:accent6>
      <a:hlink>
        <a:srgbClr val="E01F38"/>
      </a:hlink>
      <a:folHlink>
        <a:srgbClr val="E01F38"/>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0_ABB - 18.IT1">
  <a:themeElements>
    <a:clrScheme name="Custom 1">
      <a:dk1>
        <a:srgbClr val="000000"/>
      </a:dk1>
      <a:lt1>
        <a:srgbClr val="FFFFFF"/>
      </a:lt1>
      <a:dk2>
        <a:srgbClr val="D90000"/>
      </a:dk2>
      <a:lt2>
        <a:srgbClr val="DC002E"/>
      </a:lt2>
      <a:accent1>
        <a:srgbClr val="D2D2D2"/>
      </a:accent1>
      <a:accent2>
        <a:srgbClr val="7F7F7F"/>
      </a:accent2>
      <a:accent3>
        <a:srgbClr val="006666"/>
      </a:accent3>
      <a:accent4>
        <a:srgbClr val="F9B023"/>
      </a:accent4>
      <a:accent5>
        <a:srgbClr val="1BB8DB"/>
      </a:accent5>
      <a:accent6>
        <a:srgbClr val="7F7F7F"/>
      </a:accent6>
      <a:hlink>
        <a:srgbClr val="006666"/>
      </a:hlink>
      <a:folHlink>
        <a:srgbClr val="F9B023"/>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9525">
          <a:noFill/>
        </a:ln>
      </a:spPr>
      <a:bodyPr rtlCol="0" anchor="ctr"/>
      <a:lstStyle>
        <a:defPPr algn="ctr">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D90000"/>
        </a:dk2>
        <a:lt2>
          <a:srgbClr val="FF000F"/>
        </a:lt2>
        <a:accent1>
          <a:srgbClr val="3C3C3C"/>
        </a:accent1>
        <a:accent2>
          <a:srgbClr val="505050"/>
        </a:accent2>
        <a:accent3>
          <a:srgbClr val="808080"/>
        </a:accent3>
        <a:accent4>
          <a:srgbClr val="A0A0A0"/>
        </a:accent4>
        <a:accent5>
          <a:srgbClr val="D2D2D2"/>
        </a:accent5>
        <a:accent6>
          <a:srgbClr val="F0F0F0"/>
        </a:accent6>
        <a:hlink>
          <a:srgbClr val="808080"/>
        </a:hlink>
        <a:folHlink>
          <a:srgbClr val="A0A0A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ERROVIE DELLO STATO - 18.IT1.pptx" id="{E6123BE7-84CB-4372-9672-2D6B67EA5CC5}" vid="{15999272-85BF-40EA-9660-4AFE85B54B82}"/>
    </a:ext>
  </a:extLst>
</a:theme>
</file>

<file path=ppt/theme/theme7.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3E9929B8378C3C439C6E71F25558820F" ma:contentTypeVersion="0" ma:contentTypeDescription="Creare un nuovo documento." ma:contentTypeScope="" ma:versionID="f78650976a4978dbe86c5c85e5aa7c07">
  <xsd:schema xmlns:xsd="http://www.w3.org/2001/XMLSchema" xmlns:xs="http://www.w3.org/2001/XMLSchema" xmlns:p="http://schemas.microsoft.com/office/2006/metadata/properties" targetNamespace="http://schemas.microsoft.com/office/2006/metadata/properties" ma:root="true" ma:fieldsID="de2c2bff39701977361371fca1d1563b">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i contenuto"/>
        <xsd:element ref="dc:title" minOccurs="0" maxOccurs="1" ma:index="4" ma:displayName="Tito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D0ED0F3-4EE1-4061-A31A-49AB87B728D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A69717B9-00C1-4B65-AD4F-6FFCD8922328}">
  <ds:schemaRefs>
    <ds:schemaRef ds:uri="http://schemas.microsoft.com/sharepoint/v3/contenttype/forms"/>
  </ds:schemaRefs>
</ds:datastoreItem>
</file>

<file path=customXml/itemProps3.xml><?xml version="1.0" encoding="utf-8"?>
<ds:datastoreItem xmlns:ds="http://schemas.openxmlformats.org/officeDocument/2006/customXml" ds:itemID="{6AF7202B-7F62-4C9E-A1B1-2D144739923C}">
  <ds:schemaRefs>
    <ds:schemaRef ds:uri="http://purl.org/dc/dcmitype/"/>
    <ds:schemaRef ds:uri="http://schemas.microsoft.com/office/2006/documentManagement/types"/>
    <ds:schemaRef ds:uri="http://schemas.microsoft.com/office/2006/metadata/properties"/>
    <ds:schemaRef ds:uri="http://schemas.microsoft.com/office/infopath/2007/PartnerControls"/>
    <ds:schemaRef ds:uri="http://purl.org/dc/terms/"/>
    <ds:schemaRef ds:uri="http://purl.org/dc/elements/1.1/"/>
    <ds:schemaRef ds:uri="http://www.w3.org/XML/1998/namespace"/>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emplate/>
  <TotalTime>8507</TotalTime>
  <Words>8175</Words>
  <Application>Microsoft Office PowerPoint</Application>
  <PresentationFormat>Presentazione su schermo (16:10)</PresentationFormat>
  <Paragraphs>1178</Paragraphs>
  <Slides>33</Slides>
  <Notes>3</Notes>
  <HiddenSlides>0</HiddenSlides>
  <MMClips>0</MMClips>
  <ScaleCrop>false</ScaleCrop>
  <HeadingPairs>
    <vt:vector size="8" baseType="variant">
      <vt:variant>
        <vt:lpstr>Caratteri utilizzati</vt:lpstr>
      </vt:variant>
      <vt:variant>
        <vt:i4>7</vt:i4>
      </vt:variant>
      <vt:variant>
        <vt:lpstr>Tema</vt:lpstr>
      </vt:variant>
      <vt:variant>
        <vt:i4>6</vt:i4>
      </vt:variant>
      <vt:variant>
        <vt:lpstr>Server OLE incorporati</vt:lpstr>
      </vt:variant>
      <vt:variant>
        <vt:i4>1</vt:i4>
      </vt:variant>
      <vt:variant>
        <vt:lpstr>Titoli diapositive</vt:lpstr>
      </vt:variant>
      <vt:variant>
        <vt:i4>33</vt:i4>
      </vt:variant>
    </vt:vector>
  </HeadingPairs>
  <TitlesOfParts>
    <vt:vector size="47" baseType="lpstr">
      <vt:lpstr>Arial</vt:lpstr>
      <vt:lpstr>Calibri</vt:lpstr>
      <vt:lpstr>Courier New</vt:lpstr>
      <vt:lpstr>Open Sans Light</vt:lpstr>
      <vt:lpstr>Raleway</vt:lpstr>
      <vt:lpstr>Times New Roman</vt:lpstr>
      <vt:lpstr>Wingdings</vt:lpstr>
      <vt:lpstr>Cover 1 - Proiezione</vt:lpstr>
      <vt:lpstr>Indice</vt:lpstr>
      <vt:lpstr>1_Indice</vt:lpstr>
      <vt:lpstr>Master Presentazione FSI</vt:lpstr>
      <vt:lpstr>8_Master Presentazione FSI</vt:lpstr>
      <vt:lpstr>10_ABB - 18.IT1</vt:lpstr>
      <vt:lpstr>think-cell Slide</vt:lpstr>
      <vt:lpstr>Struttura Territoriale Lazio </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Interventi Nuove Opere – In corso di esecuzione</vt:lpstr>
      <vt:lpstr>Presentazione standard di PowerPoint</vt:lpstr>
      <vt:lpstr>Presentazione standard di PowerPoint</vt:lpstr>
      <vt:lpstr>Presentazione standard di PowerPoint</vt:lpstr>
      <vt:lpstr>Localizzazione progettazioni</vt:lpstr>
      <vt:lpstr>Progettazioni Nuove Opere - Inserite nel CdP 2016-2020 Rimodulazione Approvata dal CIPE nella seduta del 24 luglio 2019</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ATTIVITÀ UNITÀ OPERATIVA ISPEZIONE OPERE D’ARTE</vt:lpstr>
      <vt:lpstr>Presentazione standard di PowerPoint</vt:lpstr>
      <vt:lpstr>Presentazione standard di PowerPoint</vt:lpstr>
      <vt:lpstr>Presentazione standard di PowerPoint</vt:lpstr>
      <vt:lpstr>Presentazione standard di PowerPoint</vt:lpstr>
      <vt:lpstr>Presentazione standard di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dministrator</dc:creator>
  <cp:lastModifiedBy>Patrizia Falerno</cp:lastModifiedBy>
  <cp:revision>769</cp:revision>
  <cp:lastPrinted>2022-05-11T10:22:01Z</cp:lastPrinted>
  <dcterms:created xsi:type="dcterms:W3CDTF">2018-01-22T15:29:58Z</dcterms:created>
  <dcterms:modified xsi:type="dcterms:W3CDTF">2022-10-03T13:43: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E9929B8378C3C439C6E71F25558820F</vt:lpwstr>
  </property>
  <property fmtid="{D5CDD505-2E9C-101B-9397-08002B2CF9AE}" pid="3" name="MSIP_Label_311191d5-0cff-4bc7-bf97-050fb798ef11_Enabled">
    <vt:lpwstr>true</vt:lpwstr>
  </property>
  <property fmtid="{D5CDD505-2E9C-101B-9397-08002B2CF9AE}" pid="4" name="MSIP_Label_311191d5-0cff-4bc7-bf97-050fb798ef11_SetDate">
    <vt:lpwstr>2022-05-11T10:23:29Z</vt:lpwstr>
  </property>
  <property fmtid="{D5CDD505-2E9C-101B-9397-08002B2CF9AE}" pid="5" name="MSIP_Label_311191d5-0cff-4bc7-bf97-050fb798ef11_Method">
    <vt:lpwstr>Privileged</vt:lpwstr>
  </property>
  <property fmtid="{D5CDD505-2E9C-101B-9397-08002B2CF9AE}" pid="6" name="MSIP_Label_311191d5-0cff-4bc7-bf97-050fb798ef11_Name">
    <vt:lpwstr>Internal use without protection</vt:lpwstr>
  </property>
  <property fmtid="{D5CDD505-2E9C-101B-9397-08002B2CF9AE}" pid="7" name="MSIP_Label_311191d5-0cff-4bc7-bf97-050fb798ef11_SiteId">
    <vt:lpwstr>f57babab-d7b5-4fb8-8ddd-057ce542d039</vt:lpwstr>
  </property>
  <property fmtid="{D5CDD505-2E9C-101B-9397-08002B2CF9AE}" pid="8" name="MSIP_Label_311191d5-0cff-4bc7-bf97-050fb798ef11_ActionId">
    <vt:lpwstr>e8b671d4-a35a-48d4-b860-c920940f928e</vt:lpwstr>
  </property>
  <property fmtid="{D5CDD505-2E9C-101B-9397-08002B2CF9AE}" pid="9" name="MSIP_Label_311191d5-0cff-4bc7-bf97-050fb798ef11_ContentBits">
    <vt:lpwstr>2</vt:lpwstr>
  </property>
</Properties>
</file>